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0.xml" ContentType="application/inkml+xml"/>
  <Override PartName="/ppt/ink/ink21.xml" ContentType="application/inkml+xml"/>
  <Override PartName="/ppt/ink/ink22.xml" ContentType="application/inkml+xml"/>
  <Override PartName="/ppt/ink/ink23.xml" ContentType="application/inkml+xml"/>
  <Override PartName="/ppt/ink/ink24.xml" ContentType="application/inkml+xml"/>
  <Override PartName="/ppt/ink/ink25.xml" ContentType="application/inkml+xml"/>
  <Override PartName="/ppt/ink/ink26.xml" ContentType="application/inkml+xml"/>
  <Override PartName="/ppt/ink/ink27.xml" ContentType="application/inkml+xml"/>
  <Override PartName="/ppt/ink/ink28.xml" ContentType="application/inkml+xml"/>
  <Override PartName="/ppt/ink/ink29.xml" ContentType="application/inkml+xml"/>
  <Override PartName="/ppt/ink/ink30.xml" ContentType="application/inkml+xml"/>
  <Override PartName="/ppt/ink/ink31.xml" ContentType="application/inkml+xml"/>
  <Override PartName="/ppt/ink/ink32.xml" ContentType="application/inkml+xml"/>
  <Override PartName="/ppt/ink/ink33.xml" ContentType="application/inkml+xml"/>
  <Override PartName="/ppt/ink/ink34.xml" ContentType="application/inkml+xml"/>
  <Override PartName="/ppt/ink/ink35.xml" ContentType="application/inkml+xml"/>
  <Override PartName="/ppt/ink/ink36.xml" ContentType="application/inkml+xml"/>
  <Override PartName="/ppt/ink/ink37.xml" ContentType="application/inkml+xml"/>
  <Override PartName="/ppt/ink/ink38.xml" ContentType="application/inkml+xml"/>
  <Override PartName="/ppt/ink/ink39.xml" ContentType="application/inkml+xml"/>
  <Override PartName="/ppt/ink/ink40.xml" ContentType="application/inkml+xml"/>
  <Override PartName="/ppt/ink/ink41.xml" ContentType="application/inkml+xml"/>
  <Override PartName="/ppt/ink/ink42.xml" ContentType="application/inkml+xml"/>
  <Override PartName="/ppt/ink/ink43.xml" ContentType="application/inkml+xml"/>
  <Override PartName="/ppt/ink/ink44.xml" ContentType="application/inkml+xml"/>
  <Override PartName="/ppt/ink/ink45.xml" ContentType="application/inkml+xml"/>
  <Override PartName="/ppt/ink/ink46.xml" ContentType="application/inkml+xml"/>
  <Override PartName="/ppt/ink/ink47.xml" ContentType="application/inkml+xml"/>
  <Override PartName="/ppt/ink/ink48.xml" ContentType="application/inkml+xml"/>
  <Override PartName="/ppt/ink/ink49.xml" ContentType="application/inkml+xml"/>
  <Override PartName="/ppt/ink/ink50.xml" ContentType="application/inkml+xml"/>
  <Override PartName="/ppt/ink/ink51.xml" ContentType="application/inkml+xml"/>
  <Override PartName="/ppt/ink/ink52.xml" ContentType="application/inkml+xml"/>
  <Override PartName="/ppt/ink/ink53.xml" ContentType="application/inkml+xml"/>
  <Override PartName="/ppt/ink/ink54.xml" ContentType="application/inkml+xml"/>
  <Override PartName="/ppt/ink/ink55.xml" ContentType="application/inkml+xml"/>
  <Override PartName="/ppt/ink/ink56.xml" ContentType="application/inkml+xml"/>
  <Override PartName="/ppt/ink/ink57.xml" ContentType="application/inkml+xml"/>
  <Override PartName="/ppt/ink/ink58.xml" ContentType="application/inkml+xml"/>
  <Override PartName="/ppt/ink/ink59.xml" ContentType="application/inkml+xml"/>
  <Override PartName="/ppt/ink/ink60.xml" ContentType="application/inkml+xml"/>
  <Override PartName="/ppt/ink/ink61.xml" ContentType="application/inkml+xml"/>
  <Override PartName="/ppt/ink/ink62.xml" ContentType="application/inkml+xml"/>
  <Override PartName="/ppt/ink/ink63.xml" ContentType="application/inkml+xml"/>
  <Override PartName="/ppt/ink/ink64.xml" ContentType="application/inkml+xml"/>
  <Override PartName="/ppt/ink/ink65.xml" ContentType="application/inkml+xml"/>
  <Override PartName="/ppt/ink/ink66.xml" ContentType="application/inkml+xml"/>
  <Override PartName="/ppt/ink/ink67.xml" ContentType="application/inkml+xml"/>
  <Override PartName="/ppt/ink/ink68.xml" ContentType="application/inkml+xml"/>
  <Override PartName="/ppt/ink/ink69.xml" ContentType="application/inkml+xml"/>
  <Override PartName="/ppt/ink/ink70.xml" ContentType="application/inkml+xml"/>
  <Override PartName="/ppt/ink/ink71.xml" ContentType="application/inkml+xml"/>
  <Override PartName="/ppt/ink/ink72.xml" ContentType="application/inkml+xml"/>
  <Override PartName="/ppt/ink/ink73.xml" ContentType="application/inkml+xml"/>
  <Override PartName="/ppt/ink/ink74.xml" ContentType="application/inkml+xml"/>
  <Override PartName="/ppt/ink/ink75.xml" ContentType="application/inkml+xml"/>
  <Override PartName="/ppt/ink/ink76.xml" ContentType="application/inkml+xml"/>
  <Override PartName="/ppt/ink/ink77.xml" ContentType="application/inkml+xml"/>
  <Override PartName="/ppt/ink/ink78.xml" ContentType="application/inkml+xml"/>
  <Override PartName="/ppt/ink/ink79.xml" ContentType="application/inkml+xml"/>
  <Override PartName="/ppt/ink/ink80.xml" ContentType="application/inkml+xml"/>
  <Override PartName="/ppt/ink/ink81.xml" ContentType="application/inkml+xml"/>
  <Override PartName="/ppt/ink/ink82.xml" ContentType="application/inkml+xml"/>
  <Override PartName="/ppt/ink/ink83.xml" ContentType="application/inkml+xml"/>
  <Override PartName="/ppt/ink/ink84.xml" ContentType="application/inkml+xml"/>
  <Override PartName="/ppt/ink/ink85.xml" ContentType="application/inkml+xml"/>
  <Override PartName="/ppt/ink/ink86.xml" ContentType="application/inkml+xml"/>
  <Override PartName="/ppt/ink/ink87.xml" ContentType="application/inkml+xml"/>
  <Override PartName="/ppt/ink/ink88.xml" ContentType="application/inkml+xml"/>
  <Override PartName="/ppt/ink/ink89.xml" ContentType="application/inkml+xml"/>
  <Override PartName="/ppt/ink/ink90.xml" ContentType="application/inkml+xml"/>
  <Override PartName="/ppt/ink/ink91.xml" ContentType="application/inkml+xml"/>
  <Override PartName="/ppt/ink/ink92.xml" ContentType="application/inkml+xml"/>
  <Override PartName="/ppt/ink/ink93.xml" ContentType="application/inkml+xml"/>
  <Override PartName="/ppt/ink/ink94.xml" ContentType="application/inkml+xml"/>
  <Override PartName="/ppt/ink/ink95.xml" ContentType="application/inkml+xml"/>
  <Override PartName="/ppt/ink/ink96.xml" ContentType="application/inkml+xml"/>
  <Override PartName="/ppt/ink/ink97.xml" ContentType="application/inkml+xml"/>
  <Override PartName="/ppt/ink/ink98.xml" ContentType="application/inkml+xml"/>
  <Override PartName="/ppt/ink/ink99.xml" ContentType="application/inkml+xml"/>
  <Override PartName="/ppt/ink/ink100.xml" ContentType="application/inkml+xml"/>
  <Override PartName="/ppt/ink/ink101.xml" ContentType="application/inkml+xml"/>
  <Override PartName="/ppt/ink/ink102.xml" ContentType="application/inkml+xml"/>
  <Override PartName="/ppt/ink/ink103.xml" ContentType="application/inkml+xml"/>
  <Override PartName="/ppt/ink/ink104.xml" ContentType="application/inkml+xml"/>
  <Override PartName="/ppt/ink/ink105.xml" ContentType="application/inkml+xml"/>
  <Override PartName="/ppt/ink/ink106.xml" ContentType="application/inkml+xml"/>
  <Override PartName="/ppt/ink/ink107.xml" ContentType="application/inkml+xml"/>
  <Override PartName="/ppt/ink/ink108.xml" ContentType="application/inkml+xml"/>
  <Override PartName="/ppt/ink/ink109.xml" ContentType="application/inkml+xml"/>
  <Override PartName="/ppt/ink/ink110.xml" ContentType="application/inkml+xml"/>
  <Override PartName="/ppt/ink/ink111.xml" ContentType="application/inkml+xml"/>
  <Override PartName="/ppt/ink/ink112.xml" ContentType="application/inkml+xml"/>
  <Override PartName="/ppt/ink/ink113.xml" ContentType="application/inkml+xml"/>
  <Override PartName="/ppt/ink/ink114.xml" ContentType="application/inkml+xml"/>
  <Override PartName="/ppt/ink/ink115.xml" ContentType="application/inkml+xml"/>
  <Override PartName="/ppt/ink/ink116.xml" ContentType="application/inkml+xml"/>
  <Override PartName="/ppt/ink/ink117.xml" ContentType="application/inkml+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ink/ink118.xml" ContentType="application/inkml+xml"/>
  <Override PartName="/ppt/ink/ink119.xml" ContentType="application/inkml+xml"/>
  <Override PartName="/ppt/ink/ink120.xml" ContentType="application/inkml+xml"/>
  <Override PartName="/ppt/ink/ink121.xml" ContentType="application/inkml+xml"/>
  <Override PartName="/ppt/ink/ink122.xml" ContentType="application/inkml+xml"/>
  <Override PartName="/ppt/ink/ink123.xml" ContentType="application/inkml+xml"/>
  <Override PartName="/ppt/ink/ink124.xml" ContentType="application/inkml+xml"/>
  <Override PartName="/ppt/ink/ink125.xml" ContentType="application/inkml+xml"/>
  <Override PartName="/ppt/ink/ink126.xml" ContentType="application/inkml+xml"/>
  <Override PartName="/ppt/ink/ink127.xml" ContentType="application/inkml+xml"/>
  <Override PartName="/ppt/ink/ink128.xml" ContentType="application/inkml+xml"/>
  <Override PartName="/ppt/ink/ink129.xml" ContentType="application/inkml+xml"/>
  <Override PartName="/ppt/ink/ink130.xml" ContentType="application/inkml+xml"/>
  <Override PartName="/ppt/ink/ink131.xml" ContentType="application/inkml+xml"/>
  <Override PartName="/ppt/ink/ink132.xml" ContentType="application/inkml+xml"/>
  <Override PartName="/ppt/ink/ink133.xml" ContentType="application/inkml+xml"/>
  <Override PartName="/ppt/ink/ink134.xml" ContentType="application/inkml+xml"/>
  <Override PartName="/ppt/ink/ink135.xml" ContentType="application/inkml+xml"/>
  <Override PartName="/ppt/ink/ink136.xml" ContentType="application/inkml+xml"/>
  <Override PartName="/ppt/ink/ink137.xml" ContentType="application/inkml+xml"/>
  <Override PartName="/ppt/ink/ink138.xml" ContentType="application/inkml+xml"/>
  <Override PartName="/ppt/ink/ink139.xml" ContentType="application/inkml+xml"/>
  <Override PartName="/ppt/ink/ink140.xml" ContentType="application/inkml+xml"/>
  <Override PartName="/ppt/ink/ink141.xml" ContentType="application/inkml+xml"/>
  <Override PartName="/ppt/ink/ink142.xml" ContentType="application/inkml+xml"/>
  <Override PartName="/ppt/ink/ink143.xml" ContentType="application/inkml+xml"/>
  <Override PartName="/ppt/ink/ink144.xml" ContentType="application/inkml+xml"/>
  <Override PartName="/ppt/ink/ink145.xml" ContentType="application/inkml+xml"/>
  <Override PartName="/ppt/ink/ink146.xml" ContentType="application/inkml+xml"/>
  <Override PartName="/ppt/ink/ink147.xml" ContentType="application/inkml+xml"/>
  <Override PartName="/ppt/ink/ink148.xml" ContentType="application/inkml+xml"/>
  <Override PartName="/ppt/ink/ink149.xml" ContentType="application/inkml+xml"/>
  <Override PartName="/ppt/ink/ink150.xml" ContentType="application/inkml+xml"/>
  <Override PartName="/ppt/ink/ink151.xml" ContentType="application/inkml+xml"/>
  <Override PartName="/ppt/ink/ink152.xml" ContentType="application/inkml+xml"/>
  <Override PartName="/ppt/ink/ink153.xml" ContentType="application/inkml+xml"/>
  <Override PartName="/ppt/ink/ink154.xml" ContentType="application/inkml+xml"/>
  <Override PartName="/ppt/ink/ink155.xml" ContentType="application/inkml+xml"/>
  <Override PartName="/ppt/ink/ink156.xml" ContentType="application/inkml+xml"/>
  <Override PartName="/ppt/ink/ink157.xml" ContentType="application/inkml+xml"/>
  <Override PartName="/ppt/ink/ink158.xml" ContentType="application/inkml+xml"/>
  <Override PartName="/ppt/ink/ink159.xml" ContentType="application/inkml+xml"/>
  <Override PartName="/ppt/ink/ink160.xml" ContentType="application/inkml+xml"/>
  <Override PartName="/ppt/ink/ink161.xml" ContentType="application/inkml+xml"/>
  <Override PartName="/ppt/ink/ink162.xml" ContentType="application/inkml+xml"/>
  <Override PartName="/ppt/ink/ink163.xml" ContentType="application/inkml+xml"/>
  <Override PartName="/ppt/ink/ink164.xml" ContentType="application/inkml+xml"/>
  <Override PartName="/ppt/ink/ink165.xml" ContentType="application/inkml+xml"/>
  <Override PartName="/ppt/ink/ink166.xml" ContentType="application/inkml+xml"/>
  <Override PartName="/ppt/ink/ink167.xml" ContentType="application/inkml+xml"/>
  <Override PartName="/ppt/ink/ink168.xml" ContentType="application/inkml+xml"/>
  <Override PartName="/ppt/ink/ink169.xml" ContentType="application/inkml+xml"/>
  <Override PartName="/ppt/ink/ink170.xml" ContentType="application/inkml+xml"/>
  <Override PartName="/ppt/notesSlides/notesSlide12.xml" ContentType="application/vnd.openxmlformats-officedocument.presentationml.notesSlide+xml"/>
  <Override PartName="/ppt/ink/ink171.xml" ContentType="application/inkml+xml"/>
  <Override PartName="/ppt/ink/ink172.xml" ContentType="application/inkml+xml"/>
  <Override PartName="/ppt/ink/ink173.xml" ContentType="application/inkml+xml"/>
  <Override PartName="/ppt/ink/ink174.xml" ContentType="application/inkml+xml"/>
  <Override PartName="/ppt/ink/ink175.xml" ContentType="application/inkml+xml"/>
  <Override PartName="/ppt/ink/ink176.xml" ContentType="application/inkml+xml"/>
  <Override PartName="/ppt/ink/ink177.xml" ContentType="application/inkml+xml"/>
  <Override PartName="/ppt/ink/ink178.xml" ContentType="application/inkml+xml"/>
  <Override PartName="/ppt/ink/ink179.xml" ContentType="application/inkml+xml"/>
  <Override PartName="/ppt/ink/ink180.xml" ContentType="application/inkml+xml"/>
  <Override PartName="/ppt/ink/ink181.xml" ContentType="application/inkml+xml"/>
  <Override PartName="/ppt/ink/ink182.xml" ContentType="application/inkml+xml"/>
  <Override PartName="/ppt/ink/ink183.xml" ContentType="application/inkml+xml"/>
  <Override PartName="/ppt/ink/ink184.xml" ContentType="application/inkml+xml"/>
  <Override PartName="/ppt/ink/ink185.xml" ContentType="application/inkml+xml"/>
  <Override PartName="/ppt/ink/ink186.xml" ContentType="application/inkml+xml"/>
  <Override PartName="/ppt/ink/ink187.xml" ContentType="application/inkml+xml"/>
  <Override PartName="/ppt/ink/ink188.xml" ContentType="application/inkml+xml"/>
  <Override PartName="/ppt/ink/ink189.xml" ContentType="application/inkml+xml"/>
  <Override PartName="/ppt/ink/ink190.xml" ContentType="application/inkml+xml"/>
  <Override PartName="/ppt/ink/ink191.xml" ContentType="application/inkml+xml"/>
  <Override PartName="/ppt/ink/ink192.xml" ContentType="application/inkml+xml"/>
  <Override PartName="/ppt/notesSlides/notesSlide13.xml" ContentType="application/vnd.openxmlformats-officedocument.presentationml.notesSlide+xml"/>
  <Override PartName="/ppt/ink/ink193.xml" ContentType="application/inkml+xml"/>
  <Override PartName="/ppt/ink/ink194.xml" ContentType="application/inkml+xml"/>
  <Override PartName="/ppt/ink/ink195.xml" ContentType="application/inkml+xml"/>
  <Override PartName="/ppt/ink/ink196.xml" ContentType="application/inkml+xml"/>
  <Override PartName="/ppt/ink/ink197.xml" ContentType="application/inkml+xml"/>
  <Override PartName="/ppt/ink/ink198.xml" ContentType="application/inkml+xml"/>
  <Override PartName="/ppt/ink/ink199.xml" ContentType="application/inkml+xml"/>
  <Override PartName="/ppt/ink/ink200.xml" ContentType="application/inkml+xml"/>
  <Override PartName="/ppt/ink/ink201.xml" ContentType="application/inkml+xml"/>
  <Override PartName="/ppt/ink/ink202.xml" ContentType="application/inkml+xml"/>
  <Override PartName="/ppt/ink/ink203.xml" ContentType="application/inkml+xml"/>
  <Override PartName="/ppt/ink/ink204.xml" ContentType="application/inkml+xml"/>
  <Override PartName="/ppt/ink/ink205.xml" ContentType="application/inkml+xml"/>
  <Override PartName="/ppt/ink/ink206.xml" ContentType="application/inkml+xml"/>
  <Override PartName="/ppt/ink/ink207.xml" ContentType="application/inkml+xml"/>
  <Override PartName="/ppt/ink/ink208.xml" ContentType="application/inkml+xml"/>
  <Override PartName="/ppt/ink/ink209.xml" ContentType="application/inkml+xml"/>
  <Override PartName="/ppt/ink/ink210.xml" ContentType="application/inkml+xml"/>
  <Override PartName="/ppt/ink/ink211.xml" ContentType="application/inkml+xml"/>
  <Override PartName="/ppt/ink/ink212.xml" ContentType="application/inkml+xml"/>
  <Override PartName="/ppt/ink/ink213.xml" ContentType="application/inkml+xml"/>
  <Override PartName="/ppt/ink/ink214.xml" ContentType="application/inkml+xml"/>
  <Override PartName="/ppt/ink/ink215.xml" ContentType="application/inkml+xml"/>
  <Override PartName="/ppt/ink/ink216.xml" ContentType="application/inkml+xml"/>
  <Override PartName="/ppt/ink/ink217.xml" ContentType="application/inkml+xml"/>
  <Override PartName="/ppt/ink/ink218.xml" ContentType="application/inkml+xml"/>
  <Override PartName="/ppt/ink/ink219.xml" ContentType="application/inkml+xml"/>
  <Override PartName="/ppt/ink/ink220.xml" ContentType="application/inkml+xml"/>
  <Override PartName="/ppt/ink/ink221.xml" ContentType="application/inkml+xml"/>
  <Override PartName="/ppt/ink/ink222.xml" ContentType="application/inkml+xml"/>
  <Override PartName="/ppt/ink/ink223.xml" ContentType="application/inkml+xml"/>
  <Override PartName="/ppt/ink/ink224.xml" ContentType="application/inkml+xml"/>
  <Override PartName="/ppt/ink/ink225.xml" ContentType="application/inkml+xml"/>
  <Override PartName="/ppt/ink/ink226.xml" ContentType="application/inkml+xml"/>
  <Override PartName="/ppt/ink/ink227.xml" ContentType="application/inkml+xml"/>
  <Override PartName="/ppt/ink/ink228.xml" ContentType="application/inkml+xml"/>
  <Override PartName="/ppt/ink/ink229.xml" ContentType="application/inkml+xml"/>
  <Override PartName="/ppt/ink/ink230.xml" ContentType="application/inkml+xml"/>
  <Override PartName="/ppt/ink/ink231.xml" ContentType="application/inkml+xml"/>
  <Override PartName="/ppt/ink/ink232.xml" ContentType="application/inkml+xml"/>
  <Override PartName="/ppt/ink/ink233.xml" ContentType="application/inkml+xml"/>
  <Override PartName="/ppt/ink/ink234.xml" ContentType="application/inkml+xml"/>
  <Override PartName="/ppt/ink/ink235.xml" ContentType="application/inkml+xml"/>
  <Override PartName="/ppt/ink/ink236.xml" ContentType="application/inkml+xml"/>
  <Override PartName="/ppt/ink/ink237.xml" ContentType="application/inkml+xml"/>
  <Override PartName="/ppt/ink/ink238.xml" ContentType="application/inkml+xml"/>
  <Override PartName="/ppt/ink/ink239.xml" ContentType="application/inkml+xml"/>
  <Override PartName="/ppt/ink/ink240.xml" ContentType="application/inkml+xml"/>
  <Override PartName="/ppt/ink/ink241.xml" ContentType="application/inkml+xml"/>
  <Override PartName="/ppt/ink/ink242.xml" ContentType="application/inkml+xml"/>
  <Override PartName="/ppt/notesSlides/notesSlide14.xml" ContentType="application/vnd.openxmlformats-officedocument.presentationml.notesSlide+xml"/>
  <Override PartName="/ppt/ink/ink243.xml" ContentType="application/inkml+xml"/>
  <Override PartName="/ppt/ink/ink244.xml" ContentType="application/inkml+xml"/>
  <Override PartName="/ppt/ink/ink245.xml" ContentType="application/inkml+xml"/>
  <Override PartName="/ppt/ink/ink246.xml" ContentType="application/inkml+xml"/>
  <Override PartName="/ppt/ink/ink247.xml" ContentType="application/inkml+xml"/>
  <Override PartName="/ppt/ink/ink248.xml" ContentType="application/inkml+xml"/>
  <Override PartName="/ppt/ink/ink249.xml" ContentType="application/inkml+xml"/>
  <Override PartName="/ppt/ink/ink250.xml" ContentType="application/inkml+xml"/>
  <Override PartName="/ppt/ink/ink251.xml" ContentType="application/inkml+xml"/>
  <Override PartName="/ppt/ink/ink252.xml" ContentType="application/inkml+xml"/>
  <Override PartName="/ppt/ink/ink253.xml" ContentType="application/inkml+xml"/>
  <Override PartName="/ppt/ink/ink254.xml" ContentType="application/inkml+xml"/>
  <Override PartName="/ppt/ink/ink255.xml" ContentType="application/inkml+xml"/>
  <Override PartName="/ppt/ink/ink256.xml" ContentType="application/inkml+xml"/>
  <Override PartName="/ppt/ink/ink257.xml" ContentType="application/inkml+xml"/>
  <Override PartName="/ppt/ink/ink258.xml" ContentType="application/inkml+xml"/>
  <Override PartName="/ppt/ink/ink259.xml" ContentType="application/inkml+xml"/>
  <Override PartName="/ppt/ink/ink260.xml" ContentType="application/inkml+xml"/>
  <Override PartName="/ppt/ink/ink261.xml" ContentType="application/inkml+xml"/>
  <Override PartName="/ppt/ink/ink262.xml" ContentType="application/inkml+xml"/>
  <Override PartName="/ppt/ink/ink263.xml" ContentType="application/inkml+xml"/>
  <Override PartName="/ppt/ink/ink264.xml" ContentType="application/inkml+xml"/>
  <Override PartName="/ppt/ink/ink265.xml" ContentType="application/inkml+xml"/>
  <Override PartName="/ppt/ink/ink266.xml" ContentType="application/inkml+xml"/>
  <Override PartName="/ppt/ink/ink267.xml" ContentType="application/inkml+xml"/>
  <Override PartName="/ppt/ink/ink268.xml" ContentType="application/inkml+xml"/>
  <Override PartName="/ppt/ink/ink269.xml" ContentType="application/inkml+xml"/>
  <Override PartName="/ppt/ink/ink270.xml" ContentType="application/inkml+xml"/>
  <Override PartName="/ppt/ink/ink271.xml" ContentType="application/inkml+xml"/>
  <Override PartName="/ppt/ink/ink272.xml" ContentType="application/inkml+xml"/>
  <Override PartName="/ppt/ink/ink273.xml" ContentType="application/inkml+xml"/>
  <Override PartName="/ppt/ink/ink274.xml" ContentType="application/inkml+xml"/>
  <Override PartName="/ppt/ink/ink275.xml" ContentType="application/inkml+xml"/>
  <Override PartName="/ppt/ink/ink276.xml" ContentType="application/inkml+xml"/>
  <Override PartName="/ppt/ink/ink277.xml" ContentType="application/inkml+xml"/>
  <Override PartName="/ppt/ink/ink278.xml" ContentType="application/inkml+xml"/>
  <Override PartName="/ppt/ink/ink279.xml" ContentType="application/inkml+xml"/>
  <Override PartName="/ppt/ink/ink280.xml" ContentType="application/inkml+xml"/>
  <Override PartName="/ppt/ink/ink281.xml" ContentType="application/inkml+xml"/>
  <Override PartName="/ppt/ink/ink282.xml" ContentType="application/inkml+xml"/>
  <Override PartName="/ppt/ink/ink283.xml" ContentType="application/inkml+xml"/>
  <Override PartName="/ppt/ink/ink284.xml" ContentType="application/inkml+xml"/>
  <Override PartName="/ppt/ink/ink285.xml" ContentType="application/inkml+xml"/>
  <Override PartName="/ppt/ink/ink286.xml" ContentType="application/inkml+xml"/>
  <Override PartName="/ppt/ink/ink287.xml" ContentType="application/inkml+xml"/>
  <Override PartName="/ppt/ink/ink288.xml" ContentType="application/inkml+xml"/>
  <Override PartName="/ppt/ink/ink289.xml" ContentType="application/inkml+xml"/>
  <Override PartName="/ppt/ink/ink290.xml" ContentType="application/inkml+xml"/>
  <Override PartName="/ppt/ink/ink291.xml" ContentType="application/inkml+xml"/>
  <Override PartName="/ppt/ink/ink292.xml" ContentType="application/inkml+xml"/>
  <Override PartName="/ppt/ink/ink293.xml" ContentType="application/inkml+xml"/>
  <Override PartName="/ppt/ink/ink294.xml" ContentType="application/inkml+xml"/>
  <Override PartName="/ppt/ink/ink295.xml" ContentType="application/inkml+xml"/>
  <Override PartName="/ppt/ink/ink296.xml" ContentType="application/inkml+xml"/>
  <Override PartName="/ppt/ink/ink297.xml" ContentType="application/inkml+xml"/>
  <Override PartName="/ppt/ink/ink298.xml" ContentType="application/inkml+xml"/>
  <Override PartName="/ppt/ink/ink299.xml" ContentType="application/inkml+xml"/>
  <Override PartName="/ppt/ink/ink300.xml" ContentType="application/inkml+xml"/>
  <Override PartName="/ppt/ink/ink301.xml" ContentType="application/inkml+xml"/>
  <Override PartName="/ppt/ink/ink302.xml" ContentType="application/inkml+xml"/>
  <Override PartName="/ppt/ink/ink303.xml" ContentType="application/inkml+xml"/>
  <Override PartName="/ppt/ink/ink304.xml" ContentType="application/inkml+xml"/>
  <Override PartName="/ppt/ink/ink305.xml" ContentType="application/inkml+xml"/>
  <Override PartName="/ppt/ink/ink306.xml" ContentType="application/inkml+xml"/>
  <Override PartName="/ppt/ink/ink307.xml" ContentType="application/inkml+xml"/>
  <Override PartName="/ppt/ink/ink308.xml" ContentType="application/inkml+xml"/>
  <Override PartName="/ppt/ink/ink309.xml" ContentType="application/inkml+xml"/>
  <Override PartName="/ppt/ink/ink310.xml" ContentType="application/inkml+xml"/>
  <Override PartName="/ppt/ink/ink311.xml" ContentType="application/inkml+xml"/>
  <Override PartName="/ppt/ink/ink312.xml" ContentType="application/inkml+xml"/>
  <Override PartName="/ppt/ink/ink313.xml" ContentType="application/inkml+xml"/>
  <Override PartName="/ppt/ink/ink314.xml" ContentType="application/inkml+xml"/>
  <Override PartName="/ppt/ink/ink315.xml" ContentType="application/inkml+xml"/>
  <Override PartName="/ppt/ink/ink316.xml" ContentType="application/inkml+xml"/>
  <Override PartName="/ppt/ink/ink317.xml" ContentType="application/inkml+xml"/>
  <Override PartName="/ppt/ink/ink318.xml" ContentType="application/inkml+xml"/>
  <Override PartName="/ppt/ink/ink319.xml" ContentType="application/inkml+xml"/>
  <Override PartName="/ppt/ink/ink320.xml" ContentType="application/inkml+xml"/>
  <Override PartName="/ppt/ink/ink321.xml" ContentType="application/inkml+xml"/>
  <Override PartName="/ppt/ink/ink322.xml" ContentType="application/inkml+xml"/>
  <Override PartName="/ppt/ink/ink323.xml" ContentType="application/inkml+xml"/>
  <Override PartName="/ppt/ink/ink324.xml" ContentType="application/inkml+xml"/>
  <Override PartName="/ppt/ink/ink325.xml" ContentType="application/inkml+xml"/>
  <Override PartName="/ppt/ink/ink326.xml" ContentType="application/inkml+xml"/>
  <Override PartName="/ppt/ink/ink327.xml" ContentType="application/inkml+xml"/>
  <Override PartName="/ppt/ink/ink328.xml" ContentType="application/inkml+xml"/>
  <Override PartName="/ppt/ink/ink329.xml" ContentType="application/inkml+xml"/>
  <Override PartName="/ppt/ink/ink330.xml" ContentType="application/inkml+xml"/>
  <Override PartName="/ppt/ink/ink331.xml" ContentType="application/inkml+xml"/>
  <Override PartName="/ppt/ink/ink332.xml" ContentType="application/inkml+xml"/>
  <Override PartName="/ppt/ink/ink333.xml" ContentType="application/inkml+xml"/>
  <Override PartName="/ppt/ink/ink334.xml" ContentType="application/inkml+xml"/>
  <Override PartName="/ppt/ink/ink335.xml" ContentType="application/inkml+xml"/>
  <Override PartName="/ppt/ink/ink336.xml" ContentType="application/inkml+xml"/>
  <Override PartName="/ppt/ink/ink337.xml" ContentType="application/inkml+xml"/>
  <Override PartName="/ppt/ink/ink338.xml" ContentType="application/inkml+xml"/>
  <Override PartName="/ppt/ink/ink339.xml" ContentType="application/inkml+xml"/>
  <Override PartName="/ppt/ink/ink340.xml" ContentType="application/inkml+xml"/>
  <Override PartName="/ppt/ink/ink341.xml" ContentType="application/inkml+xml"/>
  <Override PartName="/ppt/ink/ink342.xml" ContentType="application/inkml+xml"/>
  <Override PartName="/ppt/ink/ink343.xml" ContentType="application/inkml+xml"/>
  <Override PartName="/ppt/ink/ink344.xml" ContentType="application/inkml+xml"/>
  <Override PartName="/ppt/ink/ink345.xml" ContentType="application/inkml+xml"/>
  <Override PartName="/ppt/ink/ink346.xml" ContentType="application/inkml+xml"/>
  <Override PartName="/ppt/ink/ink347.xml" ContentType="application/inkml+xml"/>
  <Override PartName="/ppt/ink/ink348.xml" ContentType="application/inkml+xml"/>
  <Override PartName="/ppt/ink/ink349.xml" ContentType="application/inkml+xml"/>
  <Override PartName="/ppt/ink/ink350.xml" ContentType="application/inkml+xml"/>
  <Override PartName="/ppt/ink/ink351.xml" ContentType="application/inkml+xml"/>
  <Override PartName="/ppt/ink/ink352.xml" ContentType="application/inkml+xml"/>
  <Override PartName="/ppt/ink/ink353.xml" ContentType="application/inkml+xml"/>
  <Override PartName="/ppt/ink/ink354.xml" ContentType="application/inkml+xml"/>
  <Override PartName="/ppt/ink/ink355.xml" ContentType="application/inkml+xml"/>
  <Override PartName="/ppt/ink/ink356.xml" ContentType="application/inkml+xml"/>
  <Override PartName="/ppt/ink/ink357.xml" ContentType="application/inkml+xml"/>
  <Override PartName="/ppt/ink/ink358.xml" ContentType="application/inkml+xml"/>
  <Override PartName="/ppt/ink/ink359.xml" ContentType="application/inkml+xml"/>
  <Override PartName="/ppt/ink/ink360.xml" ContentType="application/inkml+xml"/>
  <Override PartName="/ppt/ink/ink361.xml" ContentType="application/inkml+xml"/>
  <Override PartName="/ppt/ink/ink362.xml" ContentType="application/inkml+xml"/>
  <Override PartName="/ppt/ink/ink363.xml" ContentType="application/inkml+xml"/>
  <Override PartName="/ppt/ink/ink364.xml" ContentType="application/inkml+xml"/>
  <Override PartName="/ppt/ink/ink365.xml" ContentType="application/inkml+xml"/>
  <Override PartName="/ppt/ink/ink366.xml" ContentType="application/inkml+xml"/>
  <Override PartName="/ppt/ink/ink367.xml" ContentType="application/inkml+xml"/>
  <Override PartName="/ppt/ink/ink368.xml" ContentType="application/inkml+xml"/>
  <Override PartName="/ppt/ink/ink369.xml" ContentType="application/inkml+xml"/>
  <Override PartName="/ppt/ink/ink370.xml" ContentType="application/inkml+xml"/>
  <Override PartName="/ppt/ink/ink371.xml" ContentType="application/inkml+xml"/>
  <Override PartName="/ppt/ink/ink372.xml" ContentType="application/inkml+xml"/>
  <Override PartName="/ppt/ink/ink373.xml" ContentType="application/inkml+xml"/>
  <Override PartName="/ppt/ink/ink374.xml" ContentType="application/inkml+xml"/>
  <Override PartName="/ppt/ink/ink375.xml" ContentType="application/inkml+xml"/>
  <Override PartName="/ppt/ink/ink376.xml" ContentType="application/inkml+xml"/>
  <Override PartName="/ppt/ink/ink377.xml" ContentType="application/inkml+xml"/>
  <Override PartName="/ppt/ink/ink378.xml" ContentType="application/inkml+xml"/>
  <Override PartName="/ppt/ink/ink379.xml" ContentType="application/inkml+xml"/>
  <Override PartName="/ppt/ink/ink380.xml" ContentType="application/inkml+xml"/>
  <Override PartName="/ppt/ink/ink381.xml" ContentType="application/inkml+xml"/>
  <Override PartName="/ppt/ink/ink382.xml" ContentType="application/inkml+xml"/>
  <Override PartName="/ppt/ink/ink383.xml" ContentType="application/inkml+xml"/>
  <Override PartName="/ppt/ink/ink384.xml" ContentType="application/inkml+xml"/>
  <Override PartName="/ppt/ink/ink385.xml" ContentType="application/inkml+xml"/>
  <Override PartName="/ppt/ink/ink386.xml" ContentType="application/inkml+xml"/>
  <Override PartName="/ppt/ink/ink387.xml" ContentType="application/inkml+xml"/>
  <Override PartName="/ppt/ink/ink388.xml" ContentType="application/inkml+xml"/>
  <Override PartName="/ppt/ink/ink389.xml" ContentType="application/inkml+xml"/>
  <Override PartName="/ppt/ink/ink390.xml" ContentType="application/inkml+xml"/>
  <Override PartName="/ppt/ink/ink391.xml" ContentType="application/inkml+xml"/>
  <Override PartName="/ppt/ink/ink392.xml" ContentType="application/inkml+xml"/>
  <Override PartName="/ppt/ink/ink393.xml" ContentType="application/inkml+xml"/>
  <Override PartName="/ppt/ink/ink394.xml" ContentType="application/inkml+xml"/>
  <Override PartName="/ppt/ink/ink395.xml" ContentType="application/inkml+xml"/>
  <Override PartName="/ppt/ink/ink396.xml" ContentType="application/inkml+xml"/>
  <Override PartName="/ppt/ink/ink397.xml" ContentType="application/inkml+xml"/>
  <Override PartName="/ppt/ink/ink398.xml" ContentType="application/inkml+xml"/>
  <Override PartName="/ppt/ink/ink399.xml" ContentType="application/inkml+xml"/>
  <Override PartName="/ppt/ink/ink400.xml" ContentType="application/inkml+xml"/>
  <Override PartName="/ppt/ink/ink401.xml" ContentType="application/inkml+xml"/>
  <Override PartName="/ppt/ink/ink402.xml" ContentType="application/inkml+xml"/>
  <Override PartName="/ppt/ink/ink403.xml" ContentType="application/inkml+xml"/>
  <Override PartName="/ppt/ink/ink404.xml" ContentType="application/inkml+xml"/>
  <Override PartName="/ppt/ink/ink405.xml" ContentType="application/inkml+xml"/>
  <Override PartName="/ppt/ink/ink406.xml" ContentType="application/inkml+xml"/>
  <Override PartName="/ppt/ink/ink407.xml" ContentType="application/inkml+xml"/>
  <Override PartName="/ppt/ink/ink408.xml" ContentType="application/inkml+xml"/>
  <Override PartName="/ppt/ink/ink409.xml" ContentType="application/inkml+xml"/>
  <Override PartName="/ppt/ink/ink410.xml" ContentType="application/inkml+xml"/>
  <Override PartName="/ppt/ink/ink411.xml" ContentType="application/inkml+xml"/>
  <Override PartName="/ppt/ink/ink412.xml" ContentType="application/inkml+xml"/>
  <Override PartName="/ppt/ink/ink413.xml" ContentType="application/inkml+xml"/>
  <Override PartName="/ppt/ink/ink414.xml" ContentType="application/inkml+xml"/>
  <Override PartName="/ppt/ink/ink415.xml" ContentType="application/inkml+xml"/>
  <Override PartName="/ppt/ink/ink416.xml" ContentType="application/inkml+xml"/>
  <Override PartName="/ppt/ink/ink417.xml" ContentType="application/inkml+xml"/>
  <Override PartName="/ppt/ink/ink418.xml" ContentType="application/inkml+xml"/>
  <Override PartName="/ppt/ink/ink419.xml" ContentType="application/inkml+xml"/>
  <Override PartName="/ppt/ink/ink420.xml" ContentType="application/inkml+xml"/>
  <Override PartName="/ppt/ink/ink421.xml" ContentType="application/inkml+xml"/>
  <Override PartName="/ppt/ink/ink422.xml" ContentType="application/inkml+xml"/>
  <Override PartName="/ppt/ink/ink423.xml" ContentType="application/inkml+xml"/>
  <Override PartName="/ppt/notesSlides/notesSlide15.xml" ContentType="application/vnd.openxmlformats-officedocument.presentationml.notesSlide+xml"/>
  <Override PartName="/ppt/ink/ink424.xml" ContentType="application/inkml+xml"/>
  <Override PartName="/ppt/ink/ink425.xml" ContentType="application/inkml+xml"/>
  <Override PartName="/ppt/ink/ink426.xml" ContentType="application/inkml+xml"/>
  <Override PartName="/ppt/ink/ink427.xml" ContentType="application/inkml+xml"/>
  <Override PartName="/ppt/ink/ink428.xml" ContentType="application/inkml+xml"/>
  <Override PartName="/ppt/ink/ink429.xml" ContentType="application/inkml+xml"/>
  <Override PartName="/ppt/ink/ink430.xml" ContentType="application/inkml+xml"/>
  <Override PartName="/ppt/ink/ink431.xml" ContentType="application/inkml+xml"/>
  <Override PartName="/ppt/ink/ink432.xml" ContentType="application/inkml+xml"/>
  <Override PartName="/ppt/ink/ink433.xml" ContentType="application/inkml+xml"/>
  <Override PartName="/ppt/ink/ink434.xml" ContentType="application/inkml+xml"/>
  <Override PartName="/ppt/ink/ink435.xml" ContentType="application/inkml+xml"/>
  <Override PartName="/ppt/ink/ink436.xml" ContentType="application/inkml+xml"/>
  <Override PartName="/ppt/ink/ink437.xml" ContentType="application/inkml+xml"/>
  <Override PartName="/ppt/ink/ink438.xml" ContentType="application/inkml+xml"/>
  <Override PartName="/ppt/ink/ink439.xml" ContentType="application/inkml+xml"/>
  <Override PartName="/ppt/ink/ink440.xml" ContentType="application/inkml+xml"/>
  <Override PartName="/ppt/ink/ink441.xml" ContentType="application/inkml+xml"/>
  <Override PartName="/ppt/ink/ink442.xml" ContentType="application/inkml+xml"/>
  <Override PartName="/ppt/ink/ink443.xml" ContentType="application/inkml+xml"/>
  <Override PartName="/ppt/ink/ink444.xml" ContentType="application/inkml+xml"/>
  <Override PartName="/ppt/ink/ink445.xml" ContentType="application/inkml+xml"/>
  <Override PartName="/ppt/ink/ink446.xml" ContentType="application/inkml+xml"/>
  <Override PartName="/ppt/ink/ink447.xml" ContentType="application/inkml+xml"/>
  <Override PartName="/ppt/ink/ink448.xml" ContentType="application/inkml+xml"/>
  <Override PartName="/ppt/ink/ink449.xml" ContentType="application/inkml+xml"/>
  <Override PartName="/ppt/ink/ink450.xml" ContentType="application/inkml+xml"/>
  <Override PartName="/ppt/ink/ink451.xml" ContentType="application/inkml+xml"/>
  <Override PartName="/ppt/ink/ink452.xml" ContentType="application/inkml+xml"/>
  <Override PartName="/ppt/ink/ink453.xml" ContentType="application/inkml+xml"/>
  <Override PartName="/ppt/ink/ink454.xml" ContentType="application/inkml+xml"/>
  <Override PartName="/ppt/ink/ink455.xml" ContentType="application/inkml+xml"/>
  <Override PartName="/ppt/ink/ink456.xml" ContentType="application/inkml+xml"/>
  <Override PartName="/ppt/ink/ink457.xml" ContentType="application/inkml+xml"/>
  <Override PartName="/ppt/ink/ink458.xml" ContentType="application/inkml+xml"/>
  <Override PartName="/ppt/ink/ink459.xml" ContentType="application/inkml+xml"/>
  <Override PartName="/ppt/ink/ink460.xml" ContentType="application/inkml+xml"/>
  <Override PartName="/ppt/ink/ink461.xml" ContentType="application/inkml+xml"/>
  <Override PartName="/ppt/ink/ink462.xml" ContentType="application/inkml+xml"/>
  <Override PartName="/ppt/ink/ink463.xml" ContentType="application/inkml+xml"/>
  <Override PartName="/ppt/ink/ink464.xml" ContentType="application/inkml+xml"/>
  <Override PartName="/ppt/ink/ink465.xml" ContentType="application/inkml+xml"/>
  <Override PartName="/ppt/ink/ink466.xml" ContentType="application/inkml+xml"/>
  <Override PartName="/ppt/ink/ink467.xml" ContentType="application/inkml+xml"/>
  <Override PartName="/ppt/ink/ink468.xml" ContentType="application/inkml+xml"/>
  <Override PartName="/ppt/ink/ink469.xml" ContentType="application/inkml+xml"/>
  <Override PartName="/ppt/ink/ink470.xml" ContentType="application/inkml+xml"/>
  <Override PartName="/ppt/ink/ink471.xml" ContentType="application/inkml+xml"/>
  <Override PartName="/ppt/ink/ink472.xml" ContentType="application/inkml+xml"/>
  <Override PartName="/ppt/ink/ink473.xml" ContentType="application/inkml+xml"/>
  <Override PartName="/ppt/ink/ink474.xml" ContentType="application/inkml+xml"/>
  <Override PartName="/ppt/notesSlides/notesSlide16.xml" ContentType="application/vnd.openxmlformats-officedocument.presentationml.notesSlide+xml"/>
  <Override PartName="/ppt/ink/ink475.xml" ContentType="application/inkml+xml"/>
  <Override PartName="/ppt/ink/ink476.xml" ContentType="application/inkml+xml"/>
  <Override PartName="/ppt/ink/ink477.xml" ContentType="application/inkml+xml"/>
  <Override PartName="/ppt/ink/ink478.xml" ContentType="application/inkml+xml"/>
  <Override PartName="/ppt/ink/ink479.xml" ContentType="application/inkml+xml"/>
  <Override PartName="/ppt/ink/ink480.xml" ContentType="application/inkml+xml"/>
  <Override PartName="/ppt/ink/ink481.xml" ContentType="application/inkml+xml"/>
  <Override PartName="/ppt/ink/ink482.xml" ContentType="application/inkml+xml"/>
  <Override PartName="/ppt/ink/ink483.xml" ContentType="application/inkml+xml"/>
  <Override PartName="/ppt/ink/ink484.xml" ContentType="application/inkml+xml"/>
  <Override PartName="/ppt/ink/ink485.xml" ContentType="application/inkml+xml"/>
  <Override PartName="/ppt/ink/ink486.xml" ContentType="application/inkml+xml"/>
  <Override PartName="/ppt/ink/ink487.xml" ContentType="application/inkml+xml"/>
  <Override PartName="/ppt/ink/ink488.xml" ContentType="application/inkml+xml"/>
  <Override PartName="/ppt/ink/ink489.xml" ContentType="application/inkml+xml"/>
  <Override PartName="/ppt/ink/ink490.xml" ContentType="application/inkml+xml"/>
  <Override PartName="/ppt/ink/ink491.xml" ContentType="application/inkml+xml"/>
  <Override PartName="/ppt/ink/ink492.xml" ContentType="application/inkml+xml"/>
  <Override PartName="/ppt/ink/ink493.xml" ContentType="application/inkml+xml"/>
  <Override PartName="/ppt/ink/ink494.xml" ContentType="application/inkml+xml"/>
  <Override PartName="/ppt/ink/ink495.xml" ContentType="application/inkml+xml"/>
  <Override PartName="/ppt/ink/ink496.xml" ContentType="application/inkml+xml"/>
  <Override PartName="/ppt/ink/ink497.xml" ContentType="application/inkml+xml"/>
  <Override PartName="/ppt/ink/ink498.xml" ContentType="application/inkml+xml"/>
  <Override PartName="/ppt/ink/ink499.xml" ContentType="application/inkml+xml"/>
  <Override PartName="/ppt/ink/ink500.xml" ContentType="application/inkml+xml"/>
  <Override PartName="/ppt/ink/ink501.xml" ContentType="application/inkml+xml"/>
  <Override PartName="/ppt/ink/ink502.xml" ContentType="application/inkml+xml"/>
  <Override PartName="/ppt/ink/ink503.xml" ContentType="application/inkml+xml"/>
  <Override PartName="/ppt/ink/ink504.xml" ContentType="application/inkml+xml"/>
  <Override PartName="/ppt/ink/ink505.xml" ContentType="application/inkml+xml"/>
  <Override PartName="/ppt/ink/ink506.xml" ContentType="application/inkml+xml"/>
  <Override PartName="/ppt/ink/ink507.xml" ContentType="application/inkml+xml"/>
  <Override PartName="/ppt/ink/ink508.xml" ContentType="application/inkml+xml"/>
  <Override PartName="/ppt/ink/ink509.xml" ContentType="application/inkml+xml"/>
  <Override PartName="/ppt/ink/ink510.xml" ContentType="application/inkml+xml"/>
  <Override PartName="/ppt/ink/ink511.xml" ContentType="application/inkml+xml"/>
  <Override PartName="/ppt/ink/ink512.xml" ContentType="application/inkml+xml"/>
  <Override PartName="/ppt/ink/ink513.xml" ContentType="application/inkml+xml"/>
  <Override PartName="/ppt/ink/ink514.xml" ContentType="application/inkml+xml"/>
  <Override PartName="/ppt/ink/ink515.xml" ContentType="application/inkml+xml"/>
  <Override PartName="/ppt/ink/ink516.xml" ContentType="application/inkml+xml"/>
  <Override PartName="/ppt/ink/ink517.xml" ContentType="application/inkml+xml"/>
  <Override PartName="/ppt/ink/ink518.xml" ContentType="application/inkml+xml"/>
  <Override PartName="/ppt/ink/ink519.xml" ContentType="application/inkml+xml"/>
  <Override PartName="/ppt/ink/ink520.xml" ContentType="application/inkml+xml"/>
  <Override PartName="/ppt/ink/ink521.xml" ContentType="application/inkml+xml"/>
  <Override PartName="/ppt/ink/ink522.xml" ContentType="application/inkml+xml"/>
  <Override PartName="/ppt/ink/ink523.xml" ContentType="application/inkml+xml"/>
  <Override PartName="/ppt/ink/ink524.xml" ContentType="application/inkml+xml"/>
  <Override PartName="/ppt/ink/ink525.xml" ContentType="application/inkml+xml"/>
  <Override PartName="/ppt/ink/ink526.xml" ContentType="application/inkml+xml"/>
  <Override PartName="/ppt/ink/ink527.xml" ContentType="application/inkml+xml"/>
  <Override PartName="/ppt/ink/ink528.xml" ContentType="application/inkml+xml"/>
  <Override PartName="/ppt/ink/ink529.xml" ContentType="application/inkml+xml"/>
  <Override PartName="/ppt/ink/ink530.xml" ContentType="application/inkml+xml"/>
  <Override PartName="/ppt/ink/ink531.xml" ContentType="application/inkml+xml"/>
  <Override PartName="/ppt/ink/ink532.xml" ContentType="application/inkml+xml"/>
  <Override PartName="/ppt/ink/ink533.xml" ContentType="application/inkml+xml"/>
  <Override PartName="/ppt/ink/ink534.xml" ContentType="application/inkml+xml"/>
  <Override PartName="/ppt/ink/ink535.xml" ContentType="application/inkml+xml"/>
  <Override PartName="/ppt/ink/ink536.xml" ContentType="application/inkml+xml"/>
  <Override PartName="/ppt/ink/ink537.xml" ContentType="application/inkml+xml"/>
  <Override PartName="/ppt/ink/ink538.xml" ContentType="application/inkml+xml"/>
  <Override PartName="/ppt/ink/ink539.xml" ContentType="application/inkml+xml"/>
  <Override PartName="/ppt/ink/ink540.xml" ContentType="application/inkml+xml"/>
  <Override PartName="/ppt/ink/ink541.xml" ContentType="application/inkml+xml"/>
  <Override PartName="/ppt/ink/ink542.xml" ContentType="application/inkml+xml"/>
  <Override PartName="/ppt/ink/ink543.xml" ContentType="application/inkml+xml"/>
  <Override PartName="/ppt/ink/ink544.xml" ContentType="application/inkml+xml"/>
  <Override PartName="/ppt/ink/ink545.xml" ContentType="application/inkml+xml"/>
  <Override PartName="/ppt/ink/ink546.xml" ContentType="application/inkml+xml"/>
  <Override PartName="/ppt/ink/ink547.xml" ContentType="application/inkml+xml"/>
  <Override PartName="/ppt/ink/ink548.xml" ContentType="application/inkml+xml"/>
  <Override PartName="/ppt/ink/ink549.xml" ContentType="application/inkml+xml"/>
  <Override PartName="/ppt/ink/ink550.xml" ContentType="application/inkml+xml"/>
  <Override PartName="/ppt/ink/ink551.xml" ContentType="application/inkml+xml"/>
  <Override PartName="/ppt/ink/ink552.xml" ContentType="application/inkml+xml"/>
  <Override PartName="/ppt/ink/ink553.xml" ContentType="application/inkml+xml"/>
  <Override PartName="/ppt/ink/ink554.xml" ContentType="application/inkml+xml"/>
  <Override PartName="/ppt/ink/ink555.xml" ContentType="application/inkml+xml"/>
  <Override PartName="/ppt/ink/ink556.xml" ContentType="application/inkml+xml"/>
  <Override PartName="/ppt/ink/ink557.xml" ContentType="application/inkml+xml"/>
  <Override PartName="/ppt/ink/ink558.xml" ContentType="application/inkml+xml"/>
  <Override PartName="/ppt/ink/ink559.xml" ContentType="application/inkml+xml"/>
  <Override PartName="/ppt/ink/ink560.xml" ContentType="application/inkml+xml"/>
  <Override PartName="/ppt/ink/ink561.xml" ContentType="application/inkml+xml"/>
  <Override PartName="/ppt/ink/ink562.xml" ContentType="application/inkml+xml"/>
  <Override PartName="/ppt/ink/ink563.xml" ContentType="application/inkml+xml"/>
  <Override PartName="/ppt/ink/ink564.xml" ContentType="application/inkml+xml"/>
  <Override PartName="/ppt/ink/ink565.xml" ContentType="application/inkml+xml"/>
  <Override PartName="/ppt/ink/ink566.xml" ContentType="application/inkml+xml"/>
  <Override PartName="/ppt/ink/ink567.xml" ContentType="application/inkml+xml"/>
  <Override PartName="/ppt/ink/ink568.xml" ContentType="application/inkml+xml"/>
  <Override PartName="/ppt/ink/ink569.xml" ContentType="application/inkml+xml"/>
  <Override PartName="/ppt/tags/tag3.xml" ContentType="application/vnd.openxmlformats-officedocument.presentationml.tags+xml"/>
  <Override PartName="/ppt/notesSlides/notesSlide17.xml" ContentType="application/vnd.openxmlformats-officedocument.presentationml.notesSlide+xml"/>
  <Override PartName="/ppt/ink/ink570.xml" ContentType="application/inkml+xml"/>
  <Override PartName="/ppt/ink/ink571.xml" ContentType="application/inkml+xml"/>
  <Override PartName="/ppt/ink/ink572.xml" ContentType="application/inkml+xml"/>
  <Override PartName="/ppt/ink/ink573.xml" ContentType="application/inkml+xml"/>
  <Override PartName="/ppt/ink/ink574.xml" ContentType="application/inkml+xml"/>
  <Override PartName="/ppt/ink/ink575.xml" ContentType="application/inkml+xml"/>
  <Override PartName="/ppt/ink/ink576.xml" ContentType="application/inkml+xml"/>
  <Override PartName="/ppt/ink/ink577.xml" ContentType="application/inkml+xml"/>
  <Override PartName="/ppt/ink/ink578.xml" ContentType="application/inkml+xml"/>
  <Override PartName="/ppt/ink/ink579.xml" ContentType="application/inkml+xml"/>
  <Override PartName="/ppt/ink/ink580.xml" ContentType="application/inkml+xml"/>
  <Override PartName="/ppt/ink/ink581.xml" ContentType="application/inkml+xml"/>
  <Override PartName="/ppt/ink/ink582.xml" ContentType="application/inkml+xml"/>
  <Override PartName="/ppt/ink/ink583.xml" ContentType="application/inkml+xml"/>
  <Override PartName="/ppt/ink/ink584.xml" ContentType="application/inkml+xml"/>
  <Override PartName="/ppt/ink/ink585.xml" ContentType="application/inkml+xml"/>
  <Override PartName="/ppt/ink/ink586.xml" ContentType="application/inkml+xml"/>
  <Override PartName="/ppt/ink/ink587.xml" ContentType="application/inkml+xml"/>
  <Override PartName="/ppt/ink/ink588.xml" ContentType="application/inkml+xml"/>
  <Override PartName="/ppt/ink/ink589.xml" ContentType="application/inkml+xml"/>
  <Override PartName="/ppt/ink/ink590.xml" ContentType="application/inkml+xml"/>
  <Override PartName="/ppt/tags/tag4.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1"/>
  </p:sldMasterIdLst>
  <p:notesMasterIdLst>
    <p:notesMasterId r:id="rId28"/>
  </p:notesMasterIdLst>
  <p:sldIdLst>
    <p:sldId id="256" r:id="rId2"/>
    <p:sldId id="257" r:id="rId3"/>
    <p:sldId id="258" r:id="rId4"/>
    <p:sldId id="259" r:id="rId5"/>
    <p:sldId id="260" r:id="rId6"/>
    <p:sldId id="261" r:id="rId7"/>
    <p:sldId id="262" r:id="rId8"/>
    <p:sldId id="263" r:id="rId9"/>
    <p:sldId id="264" r:id="rId10"/>
    <p:sldId id="265" r:id="rId11"/>
    <p:sldId id="266" r:id="rId12"/>
    <p:sldId id="267" r:id="rId13"/>
    <p:sldId id="268" r:id="rId14"/>
    <p:sldId id="269" r:id="rId15"/>
    <p:sldId id="270" r:id="rId16"/>
    <p:sldId id="271" r:id="rId17"/>
    <p:sldId id="281" r:id="rId18"/>
    <p:sldId id="272" r:id="rId19"/>
    <p:sldId id="282" r:id="rId20"/>
    <p:sldId id="273" r:id="rId21"/>
    <p:sldId id="274" r:id="rId22"/>
    <p:sldId id="275" r:id="rId23"/>
    <p:sldId id="280" r:id="rId24"/>
    <p:sldId id="276" r:id="rId25"/>
    <p:sldId id="277" r:id="rId26"/>
    <p:sldId id="278" r:id="rId27"/>
  </p:sldIdLst>
  <p:sldSz cx="9144000" cy="5143500" type="screen16x9"/>
  <p:notesSz cx="6858000" cy="9144000"/>
  <p:embeddedFontLst>
    <p:embeddedFont>
      <p:font typeface="Georgia" panose="02040502050405020303" pitchFamily="18" charset="0"/>
      <p:regular r:id="rId29"/>
      <p:bold r:id="rId30"/>
      <p:italic r:id="rId31"/>
      <p:boldItalic r:id="rId32"/>
    </p:embeddedFont>
    <p:embeddedFont>
      <p:font typeface="Helvetica Neue" panose="02000503000000020004" pitchFamily="2" charset="0"/>
      <p:regular r:id="rId33"/>
      <p:bold r:id="rId34"/>
      <p:italic r:id="rId35"/>
      <p:boldItalic r:id="rId36"/>
    </p:embeddedFont>
    <p:embeddedFont>
      <p:font typeface="Helvetica Neue Light" panose="02000403000000020004" pitchFamily="2" charset="0"/>
      <p:regular r:id="rId37"/>
      <p:bold r:id="rId38"/>
      <p:italic r:id="rId39"/>
      <p:boldItalic r:id="rId40"/>
    </p:embeddedFont>
    <p:embeddedFont>
      <p:font typeface="Montserrat" pitchFamily="2" charset="77"/>
      <p:regular r:id="rId41"/>
      <p:bold r:id="rId42"/>
      <p:italic r:id="rId43"/>
      <p:boldItalic r:id="rId44"/>
    </p:embeddedFont>
  </p:embeddedFontLst>
  <p:custDataLst>
    <p:tags r:id="rId45"/>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go="http://customooxmlschemas.google.com/" r:id="rId46" roundtripDataSignature="AMtx7mj9gPGi2rpvIE7sxWgunzYuo2z/HA=="/>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1032901-1DA4-4941-B011-F516E50845DD}" v="140" dt="2023-02-12T06:04:09.04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452"/>
    <p:restoredTop sz="94719"/>
  </p:normalViewPr>
  <p:slideViewPr>
    <p:cSldViewPr snapToGrid="0">
      <p:cViewPr varScale="1">
        <p:scale>
          <a:sx n="199" d="100"/>
          <a:sy n="199" d="100"/>
        </p:scale>
        <p:origin x="176" y="224"/>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font" Target="fonts/font11.fntdata"/><Relationship Id="rId21" Type="http://schemas.openxmlformats.org/officeDocument/2006/relationships/slide" Target="slides/slide20.xml"/><Relationship Id="rId34" Type="http://schemas.openxmlformats.org/officeDocument/2006/relationships/font" Target="fonts/font6.fntdata"/><Relationship Id="rId42" Type="http://schemas.openxmlformats.org/officeDocument/2006/relationships/font" Target="fonts/font14.fntdata"/><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font" Target="fonts/font1.fntdata"/><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font" Target="fonts/font4.fntdata"/><Relationship Id="rId37" Type="http://schemas.openxmlformats.org/officeDocument/2006/relationships/font" Target="fonts/font9.fntdata"/><Relationship Id="rId40" Type="http://schemas.openxmlformats.org/officeDocument/2006/relationships/font" Target="fonts/font12.fntdata"/><Relationship Id="rId45"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36" Type="http://schemas.openxmlformats.org/officeDocument/2006/relationships/font" Target="fonts/font8.fntdata"/><Relationship Id="rId49"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font" Target="fonts/font3.fntdata"/><Relationship Id="rId44" Type="http://schemas.openxmlformats.org/officeDocument/2006/relationships/font" Target="fonts/font16.fntdata"/><Relationship Id="rId52"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font" Target="fonts/font2.fntdata"/><Relationship Id="rId35" Type="http://schemas.openxmlformats.org/officeDocument/2006/relationships/font" Target="fonts/font7.fntdata"/><Relationship Id="rId43" Type="http://schemas.openxmlformats.org/officeDocument/2006/relationships/font" Target="fonts/font15.fntdata"/><Relationship Id="rId48" Type="http://schemas.openxmlformats.org/officeDocument/2006/relationships/viewProps" Target="viewProps.xml"/><Relationship Id="rId8" Type="http://schemas.openxmlformats.org/officeDocument/2006/relationships/slide" Target="slides/slide7.xml"/><Relationship Id="rId51" Type="http://schemas.microsoft.com/office/2016/11/relationships/changesInfo" Target="changesInfos/changesInfo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font" Target="fonts/font5.fntdata"/><Relationship Id="rId38" Type="http://schemas.openxmlformats.org/officeDocument/2006/relationships/font" Target="fonts/font10.fntdata"/><Relationship Id="rId46" Type="http://customschemas.google.com/relationships/presentationmetadata" Target="metadata"/><Relationship Id="rId20" Type="http://schemas.openxmlformats.org/officeDocument/2006/relationships/slide" Target="slides/slide19.xml"/><Relationship Id="rId41" Type="http://schemas.openxmlformats.org/officeDocument/2006/relationships/font" Target="fonts/font13.fntdata"/><Relationship Id="rId1" Type="http://schemas.openxmlformats.org/officeDocument/2006/relationships/slideMaster" Target="slideMasters/slideMaster1.xml"/><Relationship Id="rId6"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iket Chhabra" userId="598e0514-bef3-4e71-b6aa-f2edd6441cff" providerId="ADAL" clId="{3C62E95B-14AF-4972-80A8-E7262BB79806}"/>
    <pc:docChg chg="undo custSel addSld modSld sldOrd modMainMaster replTag">
      <pc:chgData name="Aniket Chhabra" userId="598e0514-bef3-4e71-b6aa-f2edd6441cff" providerId="ADAL" clId="{3C62E95B-14AF-4972-80A8-E7262BB79806}" dt="2022-03-06T04:23:33.457" v="298"/>
      <pc:docMkLst>
        <pc:docMk/>
      </pc:docMkLst>
      <pc:sldChg chg="addSp delSp modSp mod">
        <pc:chgData name="Aniket Chhabra" userId="598e0514-bef3-4e71-b6aa-f2edd6441cff" providerId="ADAL" clId="{3C62E95B-14AF-4972-80A8-E7262BB79806}" dt="2022-03-06T04:23:33.457" v="298"/>
        <pc:sldMkLst>
          <pc:docMk/>
          <pc:sldMk cId="0" sldId="258"/>
        </pc:sldMkLst>
        <pc:grpChg chg="del mod">
          <ac:chgData name="Aniket Chhabra" userId="598e0514-bef3-4e71-b6aa-f2edd6441cff" providerId="ADAL" clId="{3C62E95B-14AF-4972-80A8-E7262BB79806}" dt="2022-03-06T04:20:24.502" v="191"/>
          <ac:grpSpMkLst>
            <pc:docMk/>
            <pc:sldMk cId="0" sldId="258"/>
            <ac:grpSpMk id="6" creationId="{8C7CBA3E-339B-4C12-BD0C-DF58FEC3F7A5}"/>
          </ac:grpSpMkLst>
        </pc:grpChg>
        <pc:grpChg chg="mod">
          <ac:chgData name="Aniket Chhabra" userId="598e0514-bef3-4e71-b6aa-f2edd6441cff" providerId="ADAL" clId="{3C62E95B-14AF-4972-80A8-E7262BB79806}" dt="2022-03-06T04:20:20.102" v="185"/>
          <ac:grpSpMkLst>
            <pc:docMk/>
            <pc:sldMk cId="0" sldId="258"/>
            <ac:grpSpMk id="26" creationId="{A4244B6E-2739-4586-9465-94AD47F67E39}"/>
          </ac:grpSpMkLst>
        </pc:grpChg>
        <pc:grpChg chg="mod">
          <ac:chgData name="Aniket Chhabra" userId="598e0514-bef3-4e71-b6aa-f2edd6441cff" providerId="ADAL" clId="{3C62E95B-14AF-4972-80A8-E7262BB79806}" dt="2022-03-06T04:20:20.102" v="185"/>
          <ac:grpSpMkLst>
            <pc:docMk/>
            <pc:sldMk cId="0" sldId="258"/>
            <ac:grpSpMk id="27" creationId="{2987446D-7367-468E-AE46-A4F014B8AB2F}"/>
          </ac:grpSpMkLst>
        </pc:grpChg>
        <pc:grpChg chg="del mod">
          <ac:chgData name="Aniket Chhabra" userId="598e0514-bef3-4e71-b6aa-f2edd6441cff" providerId="ADAL" clId="{3C62E95B-14AF-4972-80A8-E7262BB79806}" dt="2022-03-06T04:20:36.128" v="217"/>
          <ac:grpSpMkLst>
            <pc:docMk/>
            <pc:sldMk cId="0" sldId="258"/>
            <ac:grpSpMk id="28" creationId="{748DAF86-24FB-4A0F-97D1-4CBCECEA0A6A}"/>
          </ac:grpSpMkLst>
        </pc:grpChg>
        <pc:grpChg chg="del mod">
          <ac:chgData name="Aniket Chhabra" userId="598e0514-bef3-4e71-b6aa-f2edd6441cff" providerId="ADAL" clId="{3C62E95B-14AF-4972-80A8-E7262BB79806}" dt="2022-03-06T04:20:36.128" v="217"/>
          <ac:grpSpMkLst>
            <pc:docMk/>
            <pc:sldMk cId="0" sldId="258"/>
            <ac:grpSpMk id="29" creationId="{5926199D-7BB5-4FF7-B255-9A1C66077BB5}"/>
          </ac:grpSpMkLst>
        </pc:grpChg>
        <pc:grpChg chg="del mod">
          <ac:chgData name="Aniket Chhabra" userId="598e0514-bef3-4e71-b6aa-f2edd6441cff" providerId="ADAL" clId="{3C62E95B-14AF-4972-80A8-E7262BB79806}" dt="2022-03-06T04:23:33.457" v="298"/>
          <ac:grpSpMkLst>
            <pc:docMk/>
            <pc:sldMk cId="0" sldId="258"/>
            <ac:grpSpMk id="30" creationId="{BD7BC28B-0883-440A-B33F-52578E78155F}"/>
          </ac:grpSpMkLst>
        </pc:grpChg>
        <pc:grpChg chg="del mod">
          <ac:chgData name="Aniket Chhabra" userId="598e0514-bef3-4e71-b6aa-f2edd6441cff" providerId="ADAL" clId="{3C62E95B-14AF-4972-80A8-E7262BB79806}" dt="2022-03-06T04:23:33.457" v="298"/>
          <ac:grpSpMkLst>
            <pc:docMk/>
            <pc:sldMk cId="0" sldId="258"/>
            <ac:grpSpMk id="31" creationId="{67244DF0-FB96-4E86-8E2F-FFA47DF97F1E}"/>
          </ac:grpSpMkLst>
        </pc:grpChg>
        <pc:grpChg chg="del mod">
          <ac:chgData name="Aniket Chhabra" userId="598e0514-bef3-4e71-b6aa-f2edd6441cff" providerId="ADAL" clId="{3C62E95B-14AF-4972-80A8-E7262BB79806}" dt="2022-03-06T04:20:25.248" v="194"/>
          <ac:grpSpMkLst>
            <pc:docMk/>
            <pc:sldMk cId="0" sldId="258"/>
            <ac:grpSpMk id="69" creationId="{251AF683-6212-4A49-B03A-D075C27429C2}"/>
          </ac:grpSpMkLst>
        </pc:grpChg>
        <pc:grpChg chg="del mod">
          <ac:chgData name="Aniket Chhabra" userId="598e0514-bef3-4e71-b6aa-f2edd6441cff" providerId="ADAL" clId="{3C62E95B-14AF-4972-80A8-E7262BB79806}" dt="2022-03-06T04:23:33.457" v="298"/>
          <ac:grpSpMkLst>
            <pc:docMk/>
            <pc:sldMk cId="0" sldId="258"/>
            <ac:grpSpMk id="70" creationId="{0DBDA5D1-F140-43D6-8251-303D5D274DD6}"/>
          </ac:grpSpMkLst>
        </pc:grpChg>
        <pc:grpChg chg="mod">
          <ac:chgData name="Aniket Chhabra" userId="598e0514-bef3-4e71-b6aa-f2edd6441cff" providerId="ADAL" clId="{3C62E95B-14AF-4972-80A8-E7262BB79806}" dt="2022-03-06T04:20:36.128" v="217"/>
          <ac:grpSpMkLst>
            <pc:docMk/>
            <pc:sldMk cId="0" sldId="258"/>
            <ac:grpSpMk id="94" creationId="{CB3D0E43-A2A9-4B16-B261-30BD2EFD5FA9}"/>
          </ac:grpSpMkLst>
        </pc:grpChg>
        <pc:grpChg chg="mod">
          <ac:chgData name="Aniket Chhabra" userId="598e0514-bef3-4e71-b6aa-f2edd6441cff" providerId="ADAL" clId="{3C62E95B-14AF-4972-80A8-E7262BB79806}" dt="2022-03-06T04:20:36.128" v="217"/>
          <ac:grpSpMkLst>
            <pc:docMk/>
            <pc:sldMk cId="0" sldId="258"/>
            <ac:grpSpMk id="95" creationId="{60B66623-3AD1-48F7-95AF-679CAE17B984}"/>
          </ac:grpSpMkLst>
        </pc:grpChg>
        <pc:grpChg chg="del mod">
          <ac:chgData name="Aniket Chhabra" userId="598e0514-bef3-4e71-b6aa-f2edd6441cff" providerId="ADAL" clId="{3C62E95B-14AF-4972-80A8-E7262BB79806}" dt="2022-03-06T04:21:09.778" v="276"/>
          <ac:grpSpMkLst>
            <pc:docMk/>
            <pc:sldMk cId="0" sldId="258"/>
            <ac:grpSpMk id="96" creationId="{5EFF8B61-C754-4646-AADA-EB985C2273DD}"/>
          </ac:grpSpMkLst>
        </pc:grpChg>
        <pc:grpChg chg="mod">
          <ac:chgData name="Aniket Chhabra" userId="598e0514-bef3-4e71-b6aa-f2edd6441cff" providerId="ADAL" clId="{3C62E95B-14AF-4972-80A8-E7262BB79806}" dt="2022-03-06T04:20:36.128" v="217"/>
          <ac:grpSpMkLst>
            <pc:docMk/>
            <pc:sldMk cId="0" sldId="258"/>
            <ac:grpSpMk id="97" creationId="{CAAB35DB-7780-4DAB-86CE-274A086B49B2}"/>
          </ac:grpSpMkLst>
        </pc:grpChg>
        <pc:grpChg chg="del mod">
          <ac:chgData name="Aniket Chhabra" userId="598e0514-bef3-4e71-b6aa-f2edd6441cff" providerId="ADAL" clId="{3C62E95B-14AF-4972-80A8-E7262BB79806}" dt="2022-03-06T04:23:33.457" v="298"/>
          <ac:grpSpMkLst>
            <pc:docMk/>
            <pc:sldMk cId="0" sldId="258"/>
            <ac:grpSpMk id="98" creationId="{BF9CA9B6-52A0-47DC-BC17-63581D83C040}"/>
          </ac:grpSpMkLst>
        </pc:grpChg>
        <pc:grpChg chg="del mod">
          <ac:chgData name="Aniket Chhabra" userId="598e0514-bef3-4e71-b6aa-f2edd6441cff" providerId="ADAL" clId="{3C62E95B-14AF-4972-80A8-E7262BB79806}" dt="2022-03-06T04:21:09.778" v="276"/>
          <ac:grpSpMkLst>
            <pc:docMk/>
            <pc:sldMk cId="0" sldId="258"/>
            <ac:grpSpMk id="99" creationId="{F1DCD539-D921-4E98-A14B-7202E1F326C5}"/>
          </ac:grpSpMkLst>
        </pc:grpChg>
        <pc:grpChg chg="mod">
          <ac:chgData name="Aniket Chhabra" userId="598e0514-bef3-4e71-b6aa-f2edd6441cff" providerId="ADAL" clId="{3C62E95B-14AF-4972-80A8-E7262BB79806}" dt="2022-03-06T04:20:40.536" v="224"/>
          <ac:grpSpMkLst>
            <pc:docMk/>
            <pc:sldMk cId="0" sldId="258"/>
            <ac:grpSpMk id="106" creationId="{18540EE1-8A58-456F-BBE9-AA43973BFEFB}"/>
          </ac:grpSpMkLst>
        </pc:grpChg>
        <pc:grpChg chg="del mod">
          <ac:chgData name="Aniket Chhabra" userId="598e0514-bef3-4e71-b6aa-f2edd6441cff" providerId="ADAL" clId="{3C62E95B-14AF-4972-80A8-E7262BB79806}" dt="2022-03-06T04:23:33.457" v="298"/>
          <ac:grpSpMkLst>
            <pc:docMk/>
            <pc:sldMk cId="0" sldId="258"/>
            <ac:grpSpMk id="109" creationId="{D718F67D-68DB-4ADC-B2F2-FB68E4BD5943}"/>
          </ac:grpSpMkLst>
        </pc:grpChg>
        <pc:grpChg chg="del mod">
          <ac:chgData name="Aniket Chhabra" userId="598e0514-bef3-4e71-b6aa-f2edd6441cff" providerId="ADAL" clId="{3C62E95B-14AF-4972-80A8-E7262BB79806}" dt="2022-03-06T04:23:33.457" v="298"/>
          <ac:grpSpMkLst>
            <pc:docMk/>
            <pc:sldMk cId="0" sldId="258"/>
            <ac:grpSpMk id="113" creationId="{7E99744D-2710-4DBB-8830-A40B5A15474A}"/>
          </ac:grpSpMkLst>
        </pc:grpChg>
        <pc:grpChg chg="del mod">
          <ac:chgData name="Aniket Chhabra" userId="598e0514-bef3-4e71-b6aa-f2edd6441cff" providerId="ADAL" clId="{3C62E95B-14AF-4972-80A8-E7262BB79806}" dt="2022-03-06T04:20:54.773" v="247"/>
          <ac:grpSpMkLst>
            <pc:docMk/>
            <pc:sldMk cId="0" sldId="258"/>
            <ac:grpSpMk id="116" creationId="{6FF3AEB6-0BD1-4EE0-AF29-EE1007B1C992}"/>
          </ac:grpSpMkLst>
        </pc:grpChg>
        <pc:grpChg chg="del mod">
          <ac:chgData name="Aniket Chhabra" userId="598e0514-bef3-4e71-b6aa-f2edd6441cff" providerId="ADAL" clId="{3C62E95B-14AF-4972-80A8-E7262BB79806}" dt="2022-03-06T04:23:33.457" v="298"/>
          <ac:grpSpMkLst>
            <pc:docMk/>
            <pc:sldMk cId="0" sldId="258"/>
            <ac:grpSpMk id="129" creationId="{C8032EA7-48BB-43E2-899D-39CFAE995692}"/>
          </ac:grpSpMkLst>
        </pc:grpChg>
        <pc:grpChg chg="del mod">
          <ac:chgData name="Aniket Chhabra" userId="598e0514-bef3-4e71-b6aa-f2edd6441cff" providerId="ADAL" clId="{3C62E95B-14AF-4972-80A8-E7262BB79806}" dt="2022-03-06T04:23:33.457" v="298"/>
          <ac:grpSpMkLst>
            <pc:docMk/>
            <pc:sldMk cId="0" sldId="258"/>
            <ac:grpSpMk id="135" creationId="{67F97799-7DBE-4643-8C54-6F3B9AE19973}"/>
          </ac:grpSpMkLst>
        </pc:grpChg>
        <pc:grpChg chg="del mod">
          <ac:chgData name="Aniket Chhabra" userId="598e0514-bef3-4e71-b6aa-f2edd6441cff" providerId="ADAL" clId="{3C62E95B-14AF-4972-80A8-E7262BB79806}" dt="2022-03-06T04:21:09.778" v="276"/>
          <ac:grpSpMkLst>
            <pc:docMk/>
            <pc:sldMk cId="0" sldId="258"/>
            <ac:grpSpMk id="142" creationId="{55E265E3-C89F-4C02-81E7-7A5C52ACBAF8}"/>
          </ac:grpSpMkLst>
        </pc:grpChg>
        <pc:grpChg chg="del mod">
          <ac:chgData name="Aniket Chhabra" userId="598e0514-bef3-4e71-b6aa-f2edd6441cff" providerId="ADAL" clId="{3C62E95B-14AF-4972-80A8-E7262BB79806}" dt="2022-03-06T04:21:09.778" v="276"/>
          <ac:grpSpMkLst>
            <pc:docMk/>
            <pc:sldMk cId="0" sldId="258"/>
            <ac:grpSpMk id="143" creationId="{8478B889-E625-46F0-8970-A1540AB8B943}"/>
          </ac:grpSpMkLst>
        </pc:grpChg>
        <pc:grpChg chg="mod">
          <ac:chgData name="Aniket Chhabra" userId="598e0514-bef3-4e71-b6aa-f2edd6441cff" providerId="ADAL" clId="{3C62E95B-14AF-4972-80A8-E7262BB79806}" dt="2022-03-06T04:21:09.778" v="276"/>
          <ac:grpSpMkLst>
            <pc:docMk/>
            <pc:sldMk cId="0" sldId="258"/>
            <ac:grpSpMk id="159" creationId="{0AC68B1A-E76C-4738-B0C2-B36350FC481D}"/>
          </ac:grpSpMkLst>
        </pc:grpChg>
        <pc:grpChg chg="mod">
          <ac:chgData name="Aniket Chhabra" userId="598e0514-bef3-4e71-b6aa-f2edd6441cff" providerId="ADAL" clId="{3C62E95B-14AF-4972-80A8-E7262BB79806}" dt="2022-03-06T04:21:09.778" v="276"/>
          <ac:grpSpMkLst>
            <pc:docMk/>
            <pc:sldMk cId="0" sldId="258"/>
            <ac:grpSpMk id="160" creationId="{EFEEBB11-2EE0-41BB-BF51-3D980F309125}"/>
          </ac:grpSpMkLst>
        </pc:grpChg>
        <pc:grpChg chg="mod">
          <ac:chgData name="Aniket Chhabra" userId="598e0514-bef3-4e71-b6aa-f2edd6441cff" providerId="ADAL" clId="{3C62E95B-14AF-4972-80A8-E7262BB79806}" dt="2022-03-06T04:21:09.778" v="276"/>
          <ac:grpSpMkLst>
            <pc:docMk/>
            <pc:sldMk cId="0" sldId="258"/>
            <ac:grpSpMk id="161" creationId="{68022C22-CA00-4F7A-B99A-139CF8BBA81A}"/>
          </ac:grpSpMkLst>
        </pc:grpChg>
        <pc:grpChg chg="mod">
          <ac:chgData name="Aniket Chhabra" userId="598e0514-bef3-4e71-b6aa-f2edd6441cff" providerId="ADAL" clId="{3C62E95B-14AF-4972-80A8-E7262BB79806}" dt="2022-03-06T04:23:33.457" v="298"/>
          <ac:grpSpMkLst>
            <pc:docMk/>
            <pc:sldMk cId="0" sldId="258"/>
            <ac:grpSpMk id="183" creationId="{5191A609-1CFA-49B8-86EA-CE9E1DAFF176}"/>
          </ac:grpSpMkLst>
        </pc:grpChg>
        <pc:grpChg chg="del mod">
          <ac:chgData name="Aniket Chhabra" userId="598e0514-bef3-4e71-b6aa-f2edd6441cff" providerId="ADAL" clId="{3C62E95B-14AF-4972-80A8-E7262BB79806}" dt="2022-03-06T04:23:33.457" v="298"/>
          <ac:grpSpMkLst>
            <pc:docMk/>
            <pc:sldMk cId="0" sldId="258"/>
            <ac:grpSpMk id="184" creationId="{E0772DE8-48AA-4CC2-B4AB-A5340E4798E8}"/>
          </ac:grpSpMkLst>
        </pc:grpChg>
        <pc:grpChg chg="mod">
          <ac:chgData name="Aniket Chhabra" userId="598e0514-bef3-4e71-b6aa-f2edd6441cff" providerId="ADAL" clId="{3C62E95B-14AF-4972-80A8-E7262BB79806}" dt="2022-03-06T04:23:33.457" v="298"/>
          <ac:grpSpMkLst>
            <pc:docMk/>
            <pc:sldMk cId="0" sldId="258"/>
            <ac:grpSpMk id="185" creationId="{9D4518EA-B367-4733-AA1F-DF96B193F0DC}"/>
          </ac:grpSpMkLst>
        </pc:grpChg>
        <pc:inkChg chg="add mod">
          <ac:chgData name="Aniket Chhabra" userId="598e0514-bef3-4e71-b6aa-f2edd6441cff" providerId="ADAL" clId="{3C62E95B-14AF-4972-80A8-E7262BB79806}" dt="2022-03-06T04:23:33.457" v="298"/>
          <ac:inkMkLst>
            <pc:docMk/>
            <pc:sldMk cId="0" sldId="258"/>
            <ac:inkMk id="2" creationId="{B73C3E9A-A50F-4DA3-8C09-1C151BC83060}"/>
          </ac:inkMkLst>
        </pc:inkChg>
        <pc:inkChg chg="add mod">
          <ac:chgData name="Aniket Chhabra" userId="598e0514-bef3-4e71-b6aa-f2edd6441cff" providerId="ADAL" clId="{3C62E95B-14AF-4972-80A8-E7262BB79806}" dt="2022-03-06T04:23:33.457" v="298"/>
          <ac:inkMkLst>
            <pc:docMk/>
            <pc:sldMk cId="0" sldId="258"/>
            <ac:inkMk id="3" creationId="{5FBF2692-044A-44BA-94D9-2E1A2C567519}"/>
          </ac:inkMkLst>
        </pc:inkChg>
        <pc:inkChg chg="add mod">
          <ac:chgData name="Aniket Chhabra" userId="598e0514-bef3-4e71-b6aa-f2edd6441cff" providerId="ADAL" clId="{3C62E95B-14AF-4972-80A8-E7262BB79806}" dt="2022-03-06T04:23:33.457" v="298"/>
          <ac:inkMkLst>
            <pc:docMk/>
            <pc:sldMk cId="0" sldId="258"/>
            <ac:inkMk id="4" creationId="{0FCCEE0C-A30E-4754-B40C-606C663B0C2D}"/>
          </ac:inkMkLst>
        </pc:inkChg>
        <pc:inkChg chg="add mod">
          <ac:chgData name="Aniket Chhabra" userId="598e0514-bef3-4e71-b6aa-f2edd6441cff" providerId="ADAL" clId="{3C62E95B-14AF-4972-80A8-E7262BB79806}" dt="2022-03-06T04:23:33.457" v="298"/>
          <ac:inkMkLst>
            <pc:docMk/>
            <pc:sldMk cId="0" sldId="258"/>
            <ac:inkMk id="5" creationId="{829E6FEB-9F89-4073-BC87-BCA588CFE943}"/>
          </ac:inkMkLst>
        </pc:inkChg>
        <pc:inkChg chg="add mod">
          <ac:chgData name="Aniket Chhabra" userId="598e0514-bef3-4e71-b6aa-f2edd6441cff" providerId="ADAL" clId="{3C62E95B-14AF-4972-80A8-E7262BB79806}" dt="2022-03-06T04:23:33.457" v="298"/>
          <ac:inkMkLst>
            <pc:docMk/>
            <pc:sldMk cId="0" sldId="258"/>
            <ac:inkMk id="7" creationId="{D0653F4B-613F-403D-AAB2-8C9B95FEBC49}"/>
          </ac:inkMkLst>
        </pc:inkChg>
        <pc:inkChg chg="add mod">
          <ac:chgData name="Aniket Chhabra" userId="598e0514-bef3-4e71-b6aa-f2edd6441cff" providerId="ADAL" clId="{3C62E95B-14AF-4972-80A8-E7262BB79806}" dt="2022-03-06T04:23:33.457" v="298"/>
          <ac:inkMkLst>
            <pc:docMk/>
            <pc:sldMk cId="0" sldId="258"/>
            <ac:inkMk id="8" creationId="{3B134075-6E41-46A0-B8BA-374E6DA4D494}"/>
          </ac:inkMkLst>
        </pc:inkChg>
        <pc:inkChg chg="add mod">
          <ac:chgData name="Aniket Chhabra" userId="598e0514-bef3-4e71-b6aa-f2edd6441cff" providerId="ADAL" clId="{3C62E95B-14AF-4972-80A8-E7262BB79806}" dt="2022-03-06T04:23:33.457" v="298"/>
          <ac:inkMkLst>
            <pc:docMk/>
            <pc:sldMk cId="0" sldId="258"/>
            <ac:inkMk id="9" creationId="{C9D281E6-777A-4FAB-AC2E-9AF15A52A96D}"/>
          </ac:inkMkLst>
        </pc:inkChg>
        <pc:inkChg chg="add mod">
          <ac:chgData name="Aniket Chhabra" userId="598e0514-bef3-4e71-b6aa-f2edd6441cff" providerId="ADAL" clId="{3C62E95B-14AF-4972-80A8-E7262BB79806}" dt="2022-03-06T04:23:33.457" v="298"/>
          <ac:inkMkLst>
            <pc:docMk/>
            <pc:sldMk cId="0" sldId="258"/>
            <ac:inkMk id="10" creationId="{1C6B65FD-D29E-4591-B38A-B1443CCAF4B2}"/>
          </ac:inkMkLst>
        </pc:inkChg>
        <pc:inkChg chg="add mod">
          <ac:chgData name="Aniket Chhabra" userId="598e0514-bef3-4e71-b6aa-f2edd6441cff" providerId="ADAL" clId="{3C62E95B-14AF-4972-80A8-E7262BB79806}" dt="2022-03-06T04:23:33.457" v="298"/>
          <ac:inkMkLst>
            <pc:docMk/>
            <pc:sldMk cId="0" sldId="258"/>
            <ac:inkMk id="11" creationId="{6E146A09-11E8-46B5-8F60-FF9F95007A17}"/>
          </ac:inkMkLst>
        </pc:inkChg>
        <pc:inkChg chg="add mod">
          <ac:chgData name="Aniket Chhabra" userId="598e0514-bef3-4e71-b6aa-f2edd6441cff" providerId="ADAL" clId="{3C62E95B-14AF-4972-80A8-E7262BB79806}" dt="2022-03-06T04:23:33.457" v="298"/>
          <ac:inkMkLst>
            <pc:docMk/>
            <pc:sldMk cId="0" sldId="258"/>
            <ac:inkMk id="12" creationId="{F25EE859-3C64-47CB-A4E2-ABA8827C2DE6}"/>
          </ac:inkMkLst>
        </pc:inkChg>
        <pc:inkChg chg="add mod">
          <ac:chgData name="Aniket Chhabra" userId="598e0514-bef3-4e71-b6aa-f2edd6441cff" providerId="ADAL" clId="{3C62E95B-14AF-4972-80A8-E7262BB79806}" dt="2022-03-06T04:23:33.457" v="298"/>
          <ac:inkMkLst>
            <pc:docMk/>
            <pc:sldMk cId="0" sldId="258"/>
            <ac:inkMk id="13" creationId="{09C084A7-7DDE-43A6-8904-2E5679123687}"/>
          </ac:inkMkLst>
        </pc:inkChg>
        <pc:inkChg chg="add mod">
          <ac:chgData name="Aniket Chhabra" userId="598e0514-bef3-4e71-b6aa-f2edd6441cff" providerId="ADAL" clId="{3C62E95B-14AF-4972-80A8-E7262BB79806}" dt="2022-03-06T04:23:33.457" v="298"/>
          <ac:inkMkLst>
            <pc:docMk/>
            <pc:sldMk cId="0" sldId="258"/>
            <ac:inkMk id="14" creationId="{C79FB2D3-1EC0-42F5-810A-82A78B0C7974}"/>
          </ac:inkMkLst>
        </pc:inkChg>
        <pc:inkChg chg="add mod">
          <ac:chgData name="Aniket Chhabra" userId="598e0514-bef3-4e71-b6aa-f2edd6441cff" providerId="ADAL" clId="{3C62E95B-14AF-4972-80A8-E7262BB79806}" dt="2022-03-06T04:23:33.457" v="298"/>
          <ac:inkMkLst>
            <pc:docMk/>
            <pc:sldMk cId="0" sldId="258"/>
            <ac:inkMk id="15" creationId="{A4FADC93-E2AF-4A32-8160-B5F36215F910}"/>
          </ac:inkMkLst>
        </pc:inkChg>
        <pc:inkChg chg="add mod">
          <ac:chgData name="Aniket Chhabra" userId="598e0514-bef3-4e71-b6aa-f2edd6441cff" providerId="ADAL" clId="{3C62E95B-14AF-4972-80A8-E7262BB79806}" dt="2022-03-06T04:20:36.128" v="217"/>
          <ac:inkMkLst>
            <pc:docMk/>
            <pc:sldMk cId="0" sldId="258"/>
            <ac:inkMk id="16" creationId="{BBB542E0-6F32-44E0-AABF-5D6C5C1C7203}"/>
          </ac:inkMkLst>
        </pc:inkChg>
        <pc:inkChg chg="add mod">
          <ac:chgData name="Aniket Chhabra" userId="598e0514-bef3-4e71-b6aa-f2edd6441cff" providerId="ADAL" clId="{3C62E95B-14AF-4972-80A8-E7262BB79806}" dt="2022-03-06T04:20:36.128" v="217"/>
          <ac:inkMkLst>
            <pc:docMk/>
            <pc:sldMk cId="0" sldId="258"/>
            <ac:inkMk id="17" creationId="{8AC46C2E-237D-4DB3-9D33-C2F0D712C955}"/>
          </ac:inkMkLst>
        </pc:inkChg>
        <pc:inkChg chg="add mod">
          <ac:chgData name="Aniket Chhabra" userId="598e0514-bef3-4e71-b6aa-f2edd6441cff" providerId="ADAL" clId="{3C62E95B-14AF-4972-80A8-E7262BB79806}" dt="2022-03-06T04:20:36.128" v="217"/>
          <ac:inkMkLst>
            <pc:docMk/>
            <pc:sldMk cId="0" sldId="258"/>
            <ac:inkMk id="18" creationId="{A4F5322B-EBFA-4BFF-BBA6-BDB55A23AB5C}"/>
          </ac:inkMkLst>
        </pc:inkChg>
        <pc:inkChg chg="add">
          <ac:chgData name="Aniket Chhabra" userId="598e0514-bef3-4e71-b6aa-f2edd6441cff" providerId="ADAL" clId="{3C62E95B-14AF-4972-80A8-E7262BB79806}" dt="2022-03-06T04:20:16.760" v="178" actId="9405"/>
          <ac:inkMkLst>
            <pc:docMk/>
            <pc:sldMk cId="0" sldId="258"/>
            <ac:inkMk id="19" creationId="{8831103A-BF30-4969-A8B7-285EDE209B55}"/>
          </ac:inkMkLst>
        </pc:inkChg>
        <pc:inkChg chg="add mod">
          <ac:chgData name="Aniket Chhabra" userId="598e0514-bef3-4e71-b6aa-f2edd6441cff" providerId="ADAL" clId="{3C62E95B-14AF-4972-80A8-E7262BB79806}" dt="2022-03-06T04:20:20.102" v="185"/>
          <ac:inkMkLst>
            <pc:docMk/>
            <pc:sldMk cId="0" sldId="258"/>
            <ac:inkMk id="20" creationId="{79C6EF2E-3EA5-46E5-9167-0144E513C763}"/>
          </ac:inkMkLst>
        </pc:inkChg>
        <pc:inkChg chg="add mod">
          <ac:chgData name="Aniket Chhabra" userId="598e0514-bef3-4e71-b6aa-f2edd6441cff" providerId="ADAL" clId="{3C62E95B-14AF-4972-80A8-E7262BB79806}" dt="2022-03-06T04:20:20.102" v="185"/>
          <ac:inkMkLst>
            <pc:docMk/>
            <pc:sldMk cId="0" sldId="258"/>
            <ac:inkMk id="21" creationId="{A3F1339C-3857-4E37-B027-F4B9EAF66F7F}"/>
          </ac:inkMkLst>
        </pc:inkChg>
        <pc:inkChg chg="add mod">
          <ac:chgData name="Aniket Chhabra" userId="598e0514-bef3-4e71-b6aa-f2edd6441cff" providerId="ADAL" clId="{3C62E95B-14AF-4972-80A8-E7262BB79806}" dt="2022-03-06T04:20:20.102" v="185"/>
          <ac:inkMkLst>
            <pc:docMk/>
            <pc:sldMk cId="0" sldId="258"/>
            <ac:inkMk id="22" creationId="{55579115-FAEB-424C-AEBE-C2C9C51AA59C}"/>
          </ac:inkMkLst>
        </pc:inkChg>
        <pc:inkChg chg="add mod">
          <ac:chgData name="Aniket Chhabra" userId="598e0514-bef3-4e71-b6aa-f2edd6441cff" providerId="ADAL" clId="{3C62E95B-14AF-4972-80A8-E7262BB79806}" dt="2022-03-06T04:20:20.102" v="185"/>
          <ac:inkMkLst>
            <pc:docMk/>
            <pc:sldMk cId="0" sldId="258"/>
            <ac:inkMk id="23" creationId="{242A788D-B9CB-4841-85F5-FEB618EAB003}"/>
          </ac:inkMkLst>
        </pc:inkChg>
        <pc:inkChg chg="add mod">
          <ac:chgData name="Aniket Chhabra" userId="598e0514-bef3-4e71-b6aa-f2edd6441cff" providerId="ADAL" clId="{3C62E95B-14AF-4972-80A8-E7262BB79806}" dt="2022-03-06T04:20:20.102" v="185"/>
          <ac:inkMkLst>
            <pc:docMk/>
            <pc:sldMk cId="0" sldId="258"/>
            <ac:inkMk id="24" creationId="{4ADBB17C-2C25-461E-B8C1-1CA4847380A3}"/>
          </ac:inkMkLst>
        </pc:inkChg>
        <pc:inkChg chg="add mod">
          <ac:chgData name="Aniket Chhabra" userId="598e0514-bef3-4e71-b6aa-f2edd6441cff" providerId="ADAL" clId="{3C62E95B-14AF-4972-80A8-E7262BB79806}" dt="2022-03-06T04:20:20.102" v="185"/>
          <ac:inkMkLst>
            <pc:docMk/>
            <pc:sldMk cId="0" sldId="258"/>
            <ac:inkMk id="25" creationId="{EBB38A1E-DE56-4530-9C10-FB2E1FBB07C7}"/>
          </ac:inkMkLst>
        </pc:inkChg>
        <pc:inkChg chg="add mod">
          <ac:chgData name="Aniket Chhabra" userId="598e0514-bef3-4e71-b6aa-f2edd6441cff" providerId="ADAL" clId="{3C62E95B-14AF-4972-80A8-E7262BB79806}" dt="2022-03-06T04:23:33.457" v="298"/>
          <ac:inkMkLst>
            <pc:docMk/>
            <pc:sldMk cId="0" sldId="258"/>
            <ac:inkMk id="64" creationId="{1E40732B-374C-4884-B861-086E10E2100A}"/>
          </ac:inkMkLst>
        </pc:inkChg>
        <pc:inkChg chg="add del mod">
          <ac:chgData name="Aniket Chhabra" userId="598e0514-bef3-4e71-b6aa-f2edd6441cff" providerId="ADAL" clId="{3C62E95B-14AF-4972-80A8-E7262BB79806}" dt="2022-03-06T04:20:25.248" v="194"/>
          <ac:inkMkLst>
            <pc:docMk/>
            <pc:sldMk cId="0" sldId="258"/>
            <ac:inkMk id="65" creationId="{5AE61F90-0923-4956-B0F5-63D3E63C6DA5}"/>
          </ac:inkMkLst>
        </pc:inkChg>
        <pc:inkChg chg="add del mod">
          <ac:chgData name="Aniket Chhabra" userId="598e0514-bef3-4e71-b6aa-f2edd6441cff" providerId="ADAL" clId="{3C62E95B-14AF-4972-80A8-E7262BB79806}" dt="2022-03-06T04:20:25.243" v="192"/>
          <ac:inkMkLst>
            <pc:docMk/>
            <pc:sldMk cId="0" sldId="258"/>
            <ac:inkMk id="66" creationId="{18FF4BC3-7803-432E-A7EF-1ED261236431}"/>
          </ac:inkMkLst>
        </pc:inkChg>
        <pc:inkChg chg="add del mod">
          <ac:chgData name="Aniket Chhabra" userId="598e0514-bef3-4e71-b6aa-f2edd6441cff" providerId="ADAL" clId="{3C62E95B-14AF-4972-80A8-E7262BB79806}" dt="2022-03-06T04:20:25.247" v="193"/>
          <ac:inkMkLst>
            <pc:docMk/>
            <pc:sldMk cId="0" sldId="258"/>
            <ac:inkMk id="67" creationId="{907AB49B-4B97-4D8F-88EF-32A83411EE5F}"/>
          </ac:inkMkLst>
        </pc:inkChg>
        <pc:inkChg chg="add del mod">
          <ac:chgData name="Aniket Chhabra" userId="598e0514-bef3-4e71-b6aa-f2edd6441cff" providerId="ADAL" clId="{3C62E95B-14AF-4972-80A8-E7262BB79806}" dt="2022-03-06T04:20:25.249" v="195"/>
          <ac:inkMkLst>
            <pc:docMk/>
            <pc:sldMk cId="0" sldId="258"/>
            <ac:inkMk id="68" creationId="{0C26480D-BF0E-4B8F-A512-B3BCCA0B4711}"/>
          </ac:inkMkLst>
        </pc:inkChg>
        <pc:inkChg chg="add mod">
          <ac:chgData name="Aniket Chhabra" userId="598e0514-bef3-4e71-b6aa-f2edd6441cff" providerId="ADAL" clId="{3C62E95B-14AF-4972-80A8-E7262BB79806}" dt="2022-03-06T04:21:09.778" v="276"/>
          <ac:inkMkLst>
            <pc:docMk/>
            <pc:sldMk cId="0" sldId="258"/>
            <ac:inkMk id="71" creationId="{67F53274-2309-48DC-8315-6F698C8C547D}"/>
          </ac:inkMkLst>
        </pc:inkChg>
        <pc:inkChg chg="add mod">
          <ac:chgData name="Aniket Chhabra" userId="598e0514-bef3-4e71-b6aa-f2edd6441cff" providerId="ADAL" clId="{3C62E95B-14AF-4972-80A8-E7262BB79806}" dt="2022-03-06T04:21:09.778" v="276"/>
          <ac:inkMkLst>
            <pc:docMk/>
            <pc:sldMk cId="0" sldId="258"/>
            <ac:inkMk id="72" creationId="{9B72AA54-2860-4DFF-A829-E887DD886E0A}"/>
          </ac:inkMkLst>
        </pc:inkChg>
        <pc:inkChg chg="add mod">
          <ac:chgData name="Aniket Chhabra" userId="598e0514-bef3-4e71-b6aa-f2edd6441cff" providerId="ADAL" clId="{3C62E95B-14AF-4972-80A8-E7262BB79806}" dt="2022-03-06T04:21:09.778" v="276"/>
          <ac:inkMkLst>
            <pc:docMk/>
            <pc:sldMk cId="0" sldId="258"/>
            <ac:inkMk id="73" creationId="{6D3799BB-4640-4DF4-83EC-9BF81C357E3E}"/>
          </ac:inkMkLst>
        </pc:inkChg>
        <pc:inkChg chg="add mod">
          <ac:chgData name="Aniket Chhabra" userId="598e0514-bef3-4e71-b6aa-f2edd6441cff" providerId="ADAL" clId="{3C62E95B-14AF-4972-80A8-E7262BB79806}" dt="2022-03-06T04:21:09.778" v="276"/>
          <ac:inkMkLst>
            <pc:docMk/>
            <pc:sldMk cId="0" sldId="258"/>
            <ac:inkMk id="74" creationId="{2BBF301F-9DD2-48FF-BC70-5D30F4B0710B}"/>
          </ac:inkMkLst>
        </pc:inkChg>
        <pc:inkChg chg="add mod">
          <ac:chgData name="Aniket Chhabra" userId="598e0514-bef3-4e71-b6aa-f2edd6441cff" providerId="ADAL" clId="{3C62E95B-14AF-4972-80A8-E7262BB79806}" dt="2022-03-06T04:21:09.778" v="276"/>
          <ac:inkMkLst>
            <pc:docMk/>
            <pc:sldMk cId="0" sldId="258"/>
            <ac:inkMk id="77" creationId="{BB1F213B-8807-4C45-864A-F71B2AAC0511}"/>
          </ac:inkMkLst>
        </pc:inkChg>
        <pc:inkChg chg="add mod">
          <ac:chgData name="Aniket Chhabra" userId="598e0514-bef3-4e71-b6aa-f2edd6441cff" providerId="ADAL" clId="{3C62E95B-14AF-4972-80A8-E7262BB79806}" dt="2022-03-06T04:21:09.778" v="276"/>
          <ac:inkMkLst>
            <pc:docMk/>
            <pc:sldMk cId="0" sldId="258"/>
            <ac:inkMk id="78" creationId="{4A429C0F-4495-4C0A-A942-D716369AFDA3}"/>
          </ac:inkMkLst>
        </pc:inkChg>
        <pc:inkChg chg="add mod">
          <ac:chgData name="Aniket Chhabra" userId="598e0514-bef3-4e71-b6aa-f2edd6441cff" providerId="ADAL" clId="{3C62E95B-14AF-4972-80A8-E7262BB79806}" dt="2022-03-06T04:21:09.778" v="276"/>
          <ac:inkMkLst>
            <pc:docMk/>
            <pc:sldMk cId="0" sldId="258"/>
            <ac:inkMk id="79" creationId="{BE005DBF-CF52-4A6E-92B4-D5CF298C31C2}"/>
          </ac:inkMkLst>
        </pc:inkChg>
        <pc:inkChg chg="add mod">
          <ac:chgData name="Aniket Chhabra" userId="598e0514-bef3-4e71-b6aa-f2edd6441cff" providerId="ADAL" clId="{3C62E95B-14AF-4972-80A8-E7262BB79806}" dt="2022-03-06T04:21:09.778" v="276"/>
          <ac:inkMkLst>
            <pc:docMk/>
            <pc:sldMk cId="0" sldId="258"/>
            <ac:inkMk id="80" creationId="{A5492019-D9EB-44B3-B0F4-17404B5A249C}"/>
          </ac:inkMkLst>
        </pc:inkChg>
        <pc:inkChg chg="add mod">
          <ac:chgData name="Aniket Chhabra" userId="598e0514-bef3-4e71-b6aa-f2edd6441cff" providerId="ADAL" clId="{3C62E95B-14AF-4972-80A8-E7262BB79806}" dt="2022-03-06T04:21:09.778" v="276"/>
          <ac:inkMkLst>
            <pc:docMk/>
            <pc:sldMk cId="0" sldId="258"/>
            <ac:inkMk id="81" creationId="{DAE86899-D2BC-44E2-BB93-5FFEC9E9557A}"/>
          </ac:inkMkLst>
        </pc:inkChg>
        <pc:inkChg chg="add mod">
          <ac:chgData name="Aniket Chhabra" userId="598e0514-bef3-4e71-b6aa-f2edd6441cff" providerId="ADAL" clId="{3C62E95B-14AF-4972-80A8-E7262BB79806}" dt="2022-03-06T04:23:33.457" v="298"/>
          <ac:inkMkLst>
            <pc:docMk/>
            <pc:sldMk cId="0" sldId="258"/>
            <ac:inkMk id="82" creationId="{3A54CCF0-1C57-4DA7-AB96-6EF3D5F764A8}"/>
          </ac:inkMkLst>
        </pc:inkChg>
        <pc:inkChg chg="add mod">
          <ac:chgData name="Aniket Chhabra" userId="598e0514-bef3-4e71-b6aa-f2edd6441cff" providerId="ADAL" clId="{3C62E95B-14AF-4972-80A8-E7262BB79806}" dt="2022-03-06T04:20:36.128" v="217"/>
          <ac:inkMkLst>
            <pc:docMk/>
            <pc:sldMk cId="0" sldId="258"/>
            <ac:inkMk id="83" creationId="{F1883C4C-3282-4E46-AC9F-CCA6181D2BB5}"/>
          </ac:inkMkLst>
        </pc:inkChg>
        <pc:inkChg chg="add mod">
          <ac:chgData name="Aniket Chhabra" userId="598e0514-bef3-4e71-b6aa-f2edd6441cff" providerId="ADAL" clId="{3C62E95B-14AF-4972-80A8-E7262BB79806}" dt="2022-03-06T04:21:09.778" v="276"/>
          <ac:inkMkLst>
            <pc:docMk/>
            <pc:sldMk cId="0" sldId="258"/>
            <ac:inkMk id="84" creationId="{DB903D3A-D634-4D31-BB75-1C25E31BD4CB}"/>
          </ac:inkMkLst>
        </pc:inkChg>
        <pc:inkChg chg="add mod">
          <ac:chgData name="Aniket Chhabra" userId="598e0514-bef3-4e71-b6aa-f2edd6441cff" providerId="ADAL" clId="{3C62E95B-14AF-4972-80A8-E7262BB79806}" dt="2022-03-06T04:21:09.778" v="276"/>
          <ac:inkMkLst>
            <pc:docMk/>
            <pc:sldMk cId="0" sldId="258"/>
            <ac:inkMk id="85" creationId="{6FA3D34D-CF7F-4324-8740-EC172F5F9EDC}"/>
          </ac:inkMkLst>
        </pc:inkChg>
        <pc:inkChg chg="add mod">
          <ac:chgData name="Aniket Chhabra" userId="598e0514-bef3-4e71-b6aa-f2edd6441cff" providerId="ADAL" clId="{3C62E95B-14AF-4972-80A8-E7262BB79806}" dt="2022-03-06T04:21:09.778" v="276"/>
          <ac:inkMkLst>
            <pc:docMk/>
            <pc:sldMk cId="0" sldId="258"/>
            <ac:inkMk id="86" creationId="{628BB412-2C1D-4B14-8EC4-8717838A2CA7}"/>
          </ac:inkMkLst>
        </pc:inkChg>
        <pc:inkChg chg="add mod">
          <ac:chgData name="Aniket Chhabra" userId="598e0514-bef3-4e71-b6aa-f2edd6441cff" providerId="ADAL" clId="{3C62E95B-14AF-4972-80A8-E7262BB79806}" dt="2022-03-06T04:21:09.778" v="276"/>
          <ac:inkMkLst>
            <pc:docMk/>
            <pc:sldMk cId="0" sldId="258"/>
            <ac:inkMk id="87" creationId="{6D8C6C0A-F675-40DC-A122-8A7B97845108}"/>
          </ac:inkMkLst>
        </pc:inkChg>
        <pc:inkChg chg="add mod">
          <ac:chgData name="Aniket Chhabra" userId="598e0514-bef3-4e71-b6aa-f2edd6441cff" providerId="ADAL" clId="{3C62E95B-14AF-4972-80A8-E7262BB79806}" dt="2022-03-06T04:20:36.128" v="217"/>
          <ac:inkMkLst>
            <pc:docMk/>
            <pc:sldMk cId="0" sldId="258"/>
            <ac:inkMk id="88" creationId="{9053BBD8-B78C-450B-842C-3FF29C62DA71}"/>
          </ac:inkMkLst>
        </pc:inkChg>
        <pc:inkChg chg="add mod">
          <ac:chgData name="Aniket Chhabra" userId="598e0514-bef3-4e71-b6aa-f2edd6441cff" providerId="ADAL" clId="{3C62E95B-14AF-4972-80A8-E7262BB79806}" dt="2022-03-06T04:20:36.128" v="217"/>
          <ac:inkMkLst>
            <pc:docMk/>
            <pc:sldMk cId="0" sldId="258"/>
            <ac:inkMk id="89" creationId="{7B8B41ED-33B7-4A12-A507-B325FBF8E297}"/>
          </ac:inkMkLst>
        </pc:inkChg>
        <pc:inkChg chg="add mod">
          <ac:chgData name="Aniket Chhabra" userId="598e0514-bef3-4e71-b6aa-f2edd6441cff" providerId="ADAL" clId="{3C62E95B-14AF-4972-80A8-E7262BB79806}" dt="2022-03-06T04:20:36.128" v="217"/>
          <ac:inkMkLst>
            <pc:docMk/>
            <pc:sldMk cId="0" sldId="258"/>
            <ac:inkMk id="90" creationId="{942A82A8-8C18-4B57-8903-ACBB84A39596}"/>
          </ac:inkMkLst>
        </pc:inkChg>
        <pc:inkChg chg="add mod">
          <ac:chgData name="Aniket Chhabra" userId="598e0514-bef3-4e71-b6aa-f2edd6441cff" providerId="ADAL" clId="{3C62E95B-14AF-4972-80A8-E7262BB79806}" dt="2022-03-06T04:20:36.128" v="217"/>
          <ac:inkMkLst>
            <pc:docMk/>
            <pc:sldMk cId="0" sldId="258"/>
            <ac:inkMk id="91" creationId="{AF3C4DE2-A06E-478E-AB1D-597E3FDF5BDD}"/>
          </ac:inkMkLst>
        </pc:inkChg>
        <pc:inkChg chg="add mod">
          <ac:chgData name="Aniket Chhabra" userId="598e0514-bef3-4e71-b6aa-f2edd6441cff" providerId="ADAL" clId="{3C62E95B-14AF-4972-80A8-E7262BB79806}" dt="2022-03-06T04:20:36.128" v="217"/>
          <ac:inkMkLst>
            <pc:docMk/>
            <pc:sldMk cId="0" sldId="258"/>
            <ac:inkMk id="92" creationId="{BFDF2910-2FA0-4E3D-A50A-324A70132825}"/>
          </ac:inkMkLst>
        </pc:inkChg>
        <pc:inkChg chg="add mod">
          <ac:chgData name="Aniket Chhabra" userId="598e0514-bef3-4e71-b6aa-f2edd6441cff" providerId="ADAL" clId="{3C62E95B-14AF-4972-80A8-E7262BB79806}" dt="2022-03-06T04:20:36.128" v="217"/>
          <ac:inkMkLst>
            <pc:docMk/>
            <pc:sldMk cId="0" sldId="258"/>
            <ac:inkMk id="93" creationId="{B8E8D310-8A04-48B8-8108-2D3DBF659070}"/>
          </ac:inkMkLst>
        </pc:inkChg>
        <pc:inkChg chg="add">
          <ac:chgData name="Aniket Chhabra" userId="598e0514-bef3-4e71-b6aa-f2edd6441cff" providerId="ADAL" clId="{3C62E95B-14AF-4972-80A8-E7262BB79806}" dt="2022-03-06T04:20:37.579" v="218" actId="9405"/>
          <ac:inkMkLst>
            <pc:docMk/>
            <pc:sldMk cId="0" sldId="258"/>
            <ac:inkMk id="100" creationId="{A535E535-7512-49DD-AEFF-D095678378A0}"/>
          </ac:inkMkLst>
        </pc:inkChg>
        <pc:inkChg chg="add mod">
          <ac:chgData name="Aniket Chhabra" userId="598e0514-bef3-4e71-b6aa-f2edd6441cff" providerId="ADAL" clId="{3C62E95B-14AF-4972-80A8-E7262BB79806}" dt="2022-03-06T04:20:40.536" v="224"/>
          <ac:inkMkLst>
            <pc:docMk/>
            <pc:sldMk cId="0" sldId="258"/>
            <ac:inkMk id="101" creationId="{FC629238-923A-411D-A5DB-D9B94E2B9423}"/>
          </ac:inkMkLst>
        </pc:inkChg>
        <pc:inkChg chg="add mod">
          <ac:chgData name="Aniket Chhabra" userId="598e0514-bef3-4e71-b6aa-f2edd6441cff" providerId="ADAL" clId="{3C62E95B-14AF-4972-80A8-E7262BB79806}" dt="2022-03-06T04:20:40.536" v="224"/>
          <ac:inkMkLst>
            <pc:docMk/>
            <pc:sldMk cId="0" sldId="258"/>
            <ac:inkMk id="102" creationId="{373AA00D-3F9F-4585-B35D-033A25970261}"/>
          </ac:inkMkLst>
        </pc:inkChg>
        <pc:inkChg chg="add mod">
          <ac:chgData name="Aniket Chhabra" userId="598e0514-bef3-4e71-b6aa-f2edd6441cff" providerId="ADAL" clId="{3C62E95B-14AF-4972-80A8-E7262BB79806}" dt="2022-03-06T04:20:40.536" v="224"/>
          <ac:inkMkLst>
            <pc:docMk/>
            <pc:sldMk cId="0" sldId="258"/>
            <ac:inkMk id="103" creationId="{9394630D-5FA0-4BE7-882E-B7CA815AB933}"/>
          </ac:inkMkLst>
        </pc:inkChg>
        <pc:inkChg chg="add mod">
          <ac:chgData name="Aniket Chhabra" userId="598e0514-bef3-4e71-b6aa-f2edd6441cff" providerId="ADAL" clId="{3C62E95B-14AF-4972-80A8-E7262BB79806}" dt="2022-03-06T04:20:40.536" v="224"/>
          <ac:inkMkLst>
            <pc:docMk/>
            <pc:sldMk cId="0" sldId="258"/>
            <ac:inkMk id="104" creationId="{D79E8CC3-918F-48DC-8CD1-6B8A85B7AD70}"/>
          </ac:inkMkLst>
        </pc:inkChg>
        <pc:inkChg chg="add mod">
          <ac:chgData name="Aniket Chhabra" userId="598e0514-bef3-4e71-b6aa-f2edd6441cff" providerId="ADAL" clId="{3C62E95B-14AF-4972-80A8-E7262BB79806}" dt="2022-03-06T04:20:40.536" v="224"/>
          <ac:inkMkLst>
            <pc:docMk/>
            <pc:sldMk cId="0" sldId="258"/>
            <ac:inkMk id="105" creationId="{3D457D73-254D-4780-A83A-E9E014D41514}"/>
          </ac:inkMkLst>
        </pc:inkChg>
        <pc:inkChg chg="add mod">
          <ac:chgData name="Aniket Chhabra" userId="598e0514-bef3-4e71-b6aa-f2edd6441cff" providerId="ADAL" clId="{3C62E95B-14AF-4972-80A8-E7262BB79806}" dt="2022-03-06T04:23:33.457" v="298"/>
          <ac:inkMkLst>
            <pc:docMk/>
            <pc:sldMk cId="0" sldId="258"/>
            <ac:inkMk id="107" creationId="{9A99D725-8165-4683-855B-D70435184579}"/>
          </ac:inkMkLst>
        </pc:inkChg>
        <pc:inkChg chg="add mod">
          <ac:chgData name="Aniket Chhabra" userId="598e0514-bef3-4e71-b6aa-f2edd6441cff" providerId="ADAL" clId="{3C62E95B-14AF-4972-80A8-E7262BB79806}" dt="2022-03-06T04:23:33.457" v="298"/>
          <ac:inkMkLst>
            <pc:docMk/>
            <pc:sldMk cId="0" sldId="258"/>
            <ac:inkMk id="108" creationId="{624C8713-EA71-4422-BEC7-D907C4183EE3}"/>
          </ac:inkMkLst>
        </pc:inkChg>
        <pc:inkChg chg="add mod">
          <ac:chgData name="Aniket Chhabra" userId="598e0514-bef3-4e71-b6aa-f2edd6441cff" providerId="ADAL" clId="{3C62E95B-14AF-4972-80A8-E7262BB79806}" dt="2022-03-06T04:23:33.457" v="298"/>
          <ac:inkMkLst>
            <pc:docMk/>
            <pc:sldMk cId="0" sldId="258"/>
            <ac:inkMk id="110" creationId="{A6CB5472-991D-4762-BAFE-EA62EDF6CFBF}"/>
          </ac:inkMkLst>
        </pc:inkChg>
        <pc:inkChg chg="add mod">
          <ac:chgData name="Aniket Chhabra" userId="598e0514-bef3-4e71-b6aa-f2edd6441cff" providerId="ADAL" clId="{3C62E95B-14AF-4972-80A8-E7262BB79806}" dt="2022-03-06T04:23:33.457" v="298"/>
          <ac:inkMkLst>
            <pc:docMk/>
            <pc:sldMk cId="0" sldId="258"/>
            <ac:inkMk id="111" creationId="{33E65950-7A80-4FB6-AA02-0E0D498972E0}"/>
          </ac:inkMkLst>
        </pc:inkChg>
        <pc:inkChg chg="add mod">
          <ac:chgData name="Aniket Chhabra" userId="598e0514-bef3-4e71-b6aa-f2edd6441cff" providerId="ADAL" clId="{3C62E95B-14AF-4972-80A8-E7262BB79806}" dt="2022-03-06T04:23:33.457" v="298"/>
          <ac:inkMkLst>
            <pc:docMk/>
            <pc:sldMk cId="0" sldId="258"/>
            <ac:inkMk id="112" creationId="{4F256B3B-79E5-4E48-894E-CBAE39E3FB31}"/>
          </ac:inkMkLst>
        </pc:inkChg>
        <pc:inkChg chg="add mod">
          <ac:chgData name="Aniket Chhabra" userId="598e0514-bef3-4e71-b6aa-f2edd6441cff" providerId="ADAL" clId="{3C62E95B-14AF-4972-80A8-E7262BB79806}" dt="2022-03-06T04:23:33.457" v="298"/>
          <ac:inkMkLst>
            <pc:docMk/>
            <pc:sldMk cId="0" sldId="258"/>
            <ac:inkMk id="114" creationId="{D37EAEC6-FBC6-4C3E-AE55-107D84C405CF}"/>
          </ac:inkMkLst>
        </pc:inkChg>
        <pc:inkChg chg="add mod">
          <ac:chgData name="Aniket Chhabra" userId="598e0514-bef3-4e71-b6aa-f2edd6441cff" providerId="ADAL" clId="{3C62E95B-14AF-4972-80A8-E7262BB79806}" dt="2022-03-06T04:23:33.457" v="298"/>
          <ac:inkMkLst>
            <pc:docMk/>
            <pc:sldMk cId="0" sldId="258"/>
            <ac:inkMk id="115" creationId="{53299629-C5A5-4CC8-BBFB-024A9545B81D}"/>
          </ac:inkMkLst>
        </pc:inkChg>
        <pc:inkChg chg="add mod">
          <ac:chgData name="Aniket Chhabra" userId="598e0514-bef3-4e71-b6aa-f2edd6441cff" providerId="ADAL" clId="{3C62E95B-14AF-4972-80A8-E7262BB79806}" dt="2022-03-06T04:23:33.457" v="298"/>
          <ac:inkMkLst>
            <pc:docMk/>
            <pc:sldMk cId="0" sldId="258"/>
            <ac:inkMk id="117" creationId="{6E66DFA2-A00E-411D-A05D-F46201AC5067}"/>
          </ac:inkMkLst>
        </pc:inkChg>
        <pc:inkChg chg="add mod">
          <ac:chgData name="Aniket Chhabra" userId="598e0514-bef3-4e71-b6aa-f2edd6441cff" providerId="ADAL" clId="{3C62E95B-14AF-4972-80A8-E7262BB79806}" dt="2022-03-06T04:23:33.457" v="298"/>
          <ac:inkMkLst>
            <pc:docMk/>
            <pc:sldMk cId="0" sldId="258"/>
            <ac:inkMk id="118" creationId="{B14E4940-D8A3-42AE-AF7A-67E7730B62AB}"/>
          </ac:inkMkLst>
        </pc:inkChg>
        <pc:inkChg chg="add mod">
          <ac:chgData name="Aniket Chhabra" userId="598e0514-bef3-4e71-b6aa-f2edd6441cff" providerId="ADAL" clId="{3C62E95B-14AF-4972-80A8-E7262BB79806}" dt="2022-03-06T04:23:33.457" v="298"/>
          <ac:inkMkLst>
            <pc:docMk/>
            <pc:sldMk cId="0" sldId="258"/>
            <ac:inkMk id="119" creationId="{D99F90AE-E224-429C-B1F1-BF4CBAD6F72B}"/>
          </ac:inkMkLst>
        </pc:inkChg>
        <pc:inkChg chg="add mod">
          <ac:chgData name="Aniket Chhabra" userId="598e0514-bef3-4e71-b6aa-f2edd6441cff" providerId="ADAL" clId="{3C62E95B-14AF-4972-80A8-E7262BB79806}" dt="2022-03-06T04:23:33.457" v="298"/>
          <ac:inkMkLst>
            <pc:docMk/>
            <pc:sldMk cId="0" sldId="258"/>
            <ac:inkMk id="120" creationId="{6D688269-490D-47F4-A727-42FCB508C808}"/>
          </ac:inkMkLst>
        </pc:inkChg>
        <pc:inkChg chg="add mod">
          <ac:chgData name="Aniket Chhabra" userId="598e0514-bef3-4e71-b6aa-f2edd6441cff" providerId="ADAL" clId="{3C62E95B-14AF-4972-80A8-E7262BB79806}" dt="2022-03-06T04:23:33.457" v="298"/>
          <ac:inkMkLst>
            <pc:docMk/>
            <pc:sldMk cId="0" sldId="258"/>
            <ac:inkMk id="121" creationId="{0695321B-DEE2-4F9A-8650-0C687A62701F}"/>
          </ac:inkMkLst>
        </pc:inkChg>
        <pc:inkChg chg="add mod">
          <ac:chgData name="Aniket Chhabra" userId="598e0514-bef3-4e71-b6aa-f2edd6441cff" providerId="ADAL" clId="{3C62E95B-14AF-4972-80A8-E7262BB79806}" dt="2022-03-06T04:23:33.457" v="298"/>
          <ac:inkMkLst>
            <pc:docMk/>
            <pc:sldMk cId="0" sldId="258"/>
            <ac:inkMk id="122" creationId="{536372B8-2DE9-411F-A859-3EC7418F8421}"/>
          </ac:inkMkLst>
        </pc:inkChg>
        <pc:inkChg chg="add mod">
          <ac:chgData name="Aniket Chhabra" userId="598e0514-bef3-4e71-b6aa-f2edd6441cff" providerId="ADAL" clId="{3C62E95B-14AF-4972-80A8-E7262BB79806}" dt="2022-03-06T04:23:33.457" v="298"/>
          <ac:inkMkLst>
            <pc:docMk/>
            <pc:sldMk cId="0" sldId="258"/>
            <ac:inkMk id="123" creationId="{B3282758-92DE-45F4-BDC1-EDBAF4F11F73}"/>
          </ac:inkMkLst>
        </pc:inkChg>
        <pc:inkChg chg="add mod">
          <ac:chgData name="Aniket Chhabra" userId="598e0514-bef3-4e71-b6aa-f2edd6441cff" providerId="ADAL" clId="{3C62E95B-14AF-4972-80A8-E7262BB79806}" dt="2022-03-06T04:23:33.457" v="298"/>
          <ac:inkMkLst>
            <pc:docMk/>
            <pc:sldMk cId="0" sldId="258"/>
            <ac:inkMk id="124" creationId="{1B60C70F-793D-4D75-8296-689FCBD307D2}"/>
          </ac:inkMkLst>
        </pc:inkChg>
        <pc:inkChg chg="add mod">
          <ac:chgData name="Aniket Chhabra" userId="598e0514-bef3-4e71-b6aa-f2edd6441cff" providerId="ADAL" clId="{3C62E95B-14AF-4972-80A8-E7262BB79806}" dt="2022-03-06T04:23:33.457" v="298"/>
          <ac:inkMkLst>
            <pc:docMk/>
            <pc:sldMk cId="0" sldId="258"/>
            <ac:inkMk id="125" creationId="{ACB1DB4B-4B3E-41F2-98BA-16418BF249F5}"/>
          </ac:inkMkLst>
        </pc:inkChg>
        <pc:inkChg chg="add mod">
          <ac:chgData name="Aniket Chhabra" userId="598e0514-bef3-4e71-b6aa-f2edd6441cff" providerId="ADAL" clId="{3C62E95B-14AF-4972-80A8-E7262BB79806}" dt="2022-03-06T04:23:33.457" v="298"/>
          <ac:inkMkLst>
            <pc:docMk/>
            <pc:sldMk cId="0" sldId="258"/>
            <ac:inkMk id="126" creationId="{1604FCAE-1AAF-449A-BFA9-E5FBD26C8D46}"/>
          </ac:inkMkLst>
        </pc:inkChg>
        <pc:inkChg chg="add mod">
          <ac:chgData name="Aniket Chhabra" userId="598e0514-bef3-4e71-b6aa-f2edd6441cff" providerId="ADAL" clId="{3C62E95B-14AF-4972-80A8-E7262BB79806}" dt="2022-03-06T04:23:33.457" v="298"/>
          <ac:inkMkLst>
            <pc:docMk/>
            <pc:sldMk cId="0" sldId="258"/>
            <ac:inkMk id="127" creationId="{2B934596-9A89-403B-B8A4-49B87878297A}"/>
          </ac:inkMkLst>
        </pc:inkChg>
        <pc:inkChg chg="add mod">
          <ac:chgData name="Aniket Chhabra" userId="598e0514-bef3-4e71-b6aa-f2edd6441cff" providerId="ADAL" clId="{3C62E95B-14AF-4972-80A8-E7262BB79806}" dt="2022-03-06T04:23:33.457" v="298"/>
          <ac:inkMkLst>
            <pc:docMk/>
            <pc:sldMk cId="0" sldId="258"/>
            <ac:inkMk id="128" creationId="{A16028C5-E168-42BF-BDC7-319A3ABAE922}"/>
          </ac:inkMkLst>
        </pc:inkChg>
        <pc:inkChg chg="add mod">
          <ac:chgData name="Aniket Chhabra" userId="598e0514-bef3-4e71-b6aa-f2edd6441cff" providerId="ADAL" clId="{3C62E95B-14AF-4972-80A8-E7262BB79806}" dt="2022-03-06T04:23:33.457" v="298"/>
          <ac:inkMkLst>
            <pc:docMk/>
            <pc:sldMk cId="0" sldId="258"/>
            <ac:inkMk id="130" creationId="{69E91FB2-C36F-434D-B55A-CD8661222C4B}"/>
          </ac:inkMkLst>
        </pc:inkChg>
        <pc:inkChg chg="add mod">
          <ac:chgData name="Aniket Chhabra" userId="598e0514-bef3-4e71-b6aa-f2edd6441cff" providerId="ADAL" clId="{3C62E95B-14AF-4972-80A8-E7262BB79806}" dt="2022-03-06T04:23:33.457" v="298"/>
          <ac:inkMkLst>
            <pc:docMk/>
            <pc:sldMk cId="0" sldId="258"/>
            <ac:inkMk id="131" creationId="{FB5B4F21-E3E5-402D-A5B6-7B08E88A45DF}"/>
          </ac:inkMkLst>
        </pc:inkChg>
        <pc:inkChg chg="add mod">
          <ac:chgData name="Aniket Chhabra" userId="598e0514-bef3-4e71-b6aa-f2edd6441cff" providerId="ADAL" clId="{3C62E95B-14AF-4972-80A8-E7262BB79806}" dt="2022-03-06T04:23:33.457" v="298"/>
          <ac:inkMkLst>
            <pc:docMk/>
            <pc:sldMk cId="0" sldId="258"/>
            <ac:inkMk id="132" creationId="{C0F4A91A-787D-4846-980F-479A219859AA}"/>
          </ac:inkMkLst>
        </pc:inkChg>
        <pc:inkChg chg="add mod">
          <ac:chgData name="Aniket Chhabra" userId="598e0514-bef3-4e71-b6aa-f2edd6441cff" providerId="ADAL" clId="{3C62E95B-14AF-4972-80A8-E7262BB79806}" dt="2022-03-06T04:23:33.457" v="298"/>
          <ac:inkMkLst>
            <pc:docMk/>
            <pc:sldMk cId="0" sldId="258"/>
            <ac:inkMk id="133" creationId="{3CC52470-18E8-43FC-B38B-C57279B43B3A}"/>
          </ac:inkMkLst>
        </pc:inkChg>
        <pc:inkChg chg="add mod">
          <ac:chgData name="Aniket Chhabra" userId="598e0514-bef3-4e71-b6aa-f2edd6441cff" providerId="ADAL" clId="{3C62E95B-14AF-4972-80A8-E7262BB79806}" dt="2022-03-06T04:23:33.457" v="298"/>
          <ac:inkMkLst>
            <pc:docMk/>
            <pc:sldMk cId="0" sldId="258"/>
            <ac:inkMk id="134" creationId="{FFFF423F-BB87-4EA0-863C-E3DB5CE9A2AB}"/>
          </ac:inkMkLst>
        </pc:inkChg>
        <pc:inkChg chg="add mod">
          <ac:chgData name="Aniket Chhabra" userId="598e0514-bef3-4e71-b6aa-f2edd6441cff" providerId="ADAL" clId="{3C62E95B-14AF-4972-80A8-E7262BB79806}" dt="2022-03-06T04:21:09.778" v="276"/>
          <ac:inkMkLst>
            <pc:docMk/>
            <pc:sldMk cId="0" sldId="258"/>
            <ac:inkMk id="136" creationId="{15F98A62-B9EA-4EC1-99CE-80360BAC4FBD}"/>
          </ac:inkMkLst>
        </pc:inkChg>
        <pc:inkChg chg="add mod">
          <ac:chgData name="Aniket Chhabra" userId="598e0514-bef3-4e71-b6aa-f2edd6441cff" providerId="ADAL" clId="{3C62E95B-14AF-4972-80A8-E7262BB79806}" dt="2022-03-06T04:21:09.778" v="276"/>
          <ac:inkMkLst>
            <pc:docMk/>
            <pc:sldMk cId="0" sldId="258"/>
            <ac:inkMk id="137" creationId="{2BB76172-DF76-4D1D-AE42-7AA2B89F5374}"/>
          </ac:inkMkLst>
        </pc:inkChg>
        <pc:inkChg chg="add mod">
          <ac:chgData name="Aniket Chhabra" userId="598e0514-bef3-4e71-b6aa-f2edd6441cff" providerId="ADAL" clId="{3C62E95B-14AF-4972-80A8-E7262BB79806}" dt="2022-03-06T04:21:09.778" v="276"/>
          <ac:inkMkLst>
            <pc:docMk/>
            <pc:sldMk cId="0" sldId="258"/>
            <ac:inkMk id="138" creationId="{97991543-72CE-4D01-AA8D-129938308DB9}"/>
          </ac:inkMkLst>
        </pc:inkChg>
        <pc:inkChg chg="add mod">
          <ac:chgData name="Aniket Chhabra" userId="598e0514-bef3-4e71-b6aa-f2edd6441cff" providerId="ADAL" clId="{3C62E95B-14AF-4972-80A8-E7262BB79806}" dt="2022-03-06T04:21:09.778" v="276"/>
          <ac:inkMkLst>
            <pc:docMk/>
            <pc:sldMk cId="0" sldId="258"/>
            <ac:inkMk id="139" creationId="{E42EF3B1-3A7D-4B51-88C9-49A3DC31E85D}"/>
          </ac:inkMkLst>
        </pc:inkChg>
        <pc:inkChg chg="add mod">
          <ac:chgData name="Aniket Chhabra" userId="598e0514-bef3-4e71-b6aa-f2edd6441cff" providerId="ADAL" clId="{3C62E95B-14AF-4972-80A8-E7262BB79806}" dt="2022-03-06T04:21:09.778" v="276"/>
          <ac:inkMkLst>
            <pc:docMk/>
            <pc:sldMk cId="0" sldId="258"/>
            <ac:inkMk id="140" creationId="{2211F64F-7707-4F02-AD9F-79F785614D30}"/>
          </ac:inkMkLst>
        </pc:inkChg>
        <pc:inkChg chg="add mod">
          <ac:chgData name="Aniket Chhabra" userId="598e0514-bef3-4e71-b6aa-f2edd6441cff" providerId="ADAL" clId="{3C62E95B-14AF-4972-80A8-E7262BB79806}" dt="2022-03-06T04:21:09.778" v="276"/>
          <ac:inkMkLst>
            <pc:docMk/>
            <pc:sldMk cId="0" sldId="258"/>
            <ac:inkMk id="141" creationId="{10FE623A-06AE-41D4-91D3-884695A89F42}"/>
          </ac:inkMkLst>
        </pc:inkChg>
        <pc:inkChg chg="add mod">
          <ac:chgData name="Aniket Chhabra" userId="598e0514-bef3-4e71-b6aa-f2edd6441cff" providerId="ADAL" clId="{3C62E95B-14AF-4972-80A8-E7262BB79806}" dt="2022-03-06T04:21:09.778" v="276"/>
          <ac:inkMkLst>
            <pc:docMk/>
            <pc:sldMk cId="0" sldId="258"/>
            <ac:inkMk id="144" creationId="{A0905757-1B5B-43FF-8CD7-03E38CDC155E}"/>
          </ac:inkMkLst>
        </pc:inkChg>
        <pc:inkChg chg="add mod">
          <ac:chgData name="Aniket Chhabra" userId="598e0514-bef3-4e71-b6aa-f2edd6441cff" providerId="ADAL" clId="{3C62E95B-14AF-4972-80A8-E7262BB79806}" dt="2022-03-06T04:21:09.778" v="276"/>
          <ac:inkMkLst>
            <pc:docMk/>
            <pc:sldMk cId="0" sldId="258"/>
            <ac:inkMk id="145" creationId="{AC226F60-ED3F-40F5-A32A-51603B3FF10E}"/>
          </ac:inkMkLst>
        </pc:inkChg>
        <pc:inkChg chg="add mod">
          <ac:chgData name="Aniket Chhabra" userId="598e0514-bef3-4e71-b6aa-f2edd6441cff" providerId="ADAL" clId="{3C62E95B-14AF-4972-80A8-E7262BB79806}" dt="2022-03-06T04:21:09.778" v="276"/>
          <ac:inkMkLst>
            <pc:docMk/>
            <pc:sldMk cId="0" sldId="258"/>
            <ac:inkMk id="146" creationId="{AB6AEA2B-231B-41F1-BD97-D7F3F31208EF}"/>
          </ac:inkMkLst>
        </pc:inkChg>
        <pc:inkChg chg="add mod">
          <ac:chgData name="Aniket Chhabra" userId="598e0514-bef3-4e71-b6aa-f2edd6441cff" providerId="ADAL" clId="{3C62E95B-14AF-4972-80A8-E7262BB79806}" dt="2022-03-06T04:21:09.778" v="276"/>
          <ac:inkMkLst>
            <pc:docMk/>
            <pc:sldMk cId="0" sldId="258"/>
            <ac:inkMk id="147" creationId="{C0A48C60-4CD6-4E87-BCE1-357C9657F703}"/>
          </ac:inkMkLst>
        </pc:inkChg>
        <pc:inkChg chg="add mod">
          <ac:chgData name="Aniket Chhabra" userId="598e0514-bef3-4e71-b6aa-f2edd6441cff" providerId="ADAL" clId="{3C62E95B-14AF-4972-80A8-E7262BB79806}" dt="2022-03-06T04:21:09.778" v="276"/>
          <ac:inkMkLst>
            <pc:docMk/>
            <pc:sldMk cId="0" sldId="258"/>
            <ac:inkMk id="148" creationId="{7EAE6B00-C0C3-4B2D-BA21-0320F6EC9DAB}"/>
          </ac:inkMkLst>
        </pc:inkChg>
        <pc:inkChg chg="add mod">
          <ac:chgData name="Aniket Chhabra" userId="598e0514-bef3-4e71-b6aa-f2edd6441cff" providerId="ADAL" clId="{3C62E95B-14AF-4972-80A8-E7262BB79806}" dt="2022-03-06T04:21:09.778" v="276"/>
          <ac:inkMkLst>
            <pc:docMk/>
            <pc:sldMk cId="0" sldId="258"/>
            <ac:inkMk id="149" creationId="{7B355EB3-69E8-46AE-9301-32030C5A3D8E}"/>
          </ac:inkMkLst>
        </pc:inkChg>
        <pc:inkChg chg="add mod">
          <ac:chgData name="Aniket Chhabra" userId="598e0514-bef3-4e71-b6aa-f2edd6441cff" providerId="ADAL" clId="{3C62E95B-14AF-4972-80A8-E7262BB79806}" dt="2022-03-06T04:21:09.778" v="276"/>
          <ac:inkMkLst>
            <pc:docMk/>
            <pc:sldMk cId="0" sldId="258"/>
            <ac:inkMk id="150" creationId="{CF1C9475-7953-4DA4-AAC4-2E80CA4764BF}"/>
          </ac:inkMkLst>
        </pc:inkChg>
        <pc:inkChg chg="add mod">
          <ac:chgData name="Aniket Chhabra" userId="598e0514-bef3-4e71-b6aa-f2edd6441cff" providerId="ADAL" clId="{3C62E95B-14AF-4972-80A8-E7262BB79806}" dt="2022-03-06T04:21:09.778" v="276"/>
          <ac:inkMkLst>
            <pc:docMk/>
            <pc:sldMk cId="0" sldId="258"/>
            <ac:inkMk id="151" creationId="{2F628E5B-B49E-4548-B1F6-E0FAFF487EF9}"/>
          </ac:inkMkLst>
        </pc:inkChg>
        <pc:inkChg chg="add mod">
          <ac:chgData name="Aniket Chhabra" userId="598e0514-bef3-4e71-b6aa-f2edd6441cff" providerId="ADAL" clId="{3C62E95B-14AF-4972-80A8-E7262BB79806}" dt="2022-03-06T04:21:09.778" v="276"/>
          <ac:inkMkLst>
            <pc:docMk/>
            <pc:sldMk cId="0" sldId="258"/>
            <ac:inkMk id="152" creationId="{A8453FD5-CDC2-4D55-9B69-FC071F346752}"/>
          </ac:inkMkLst>
        </pc:inkChg>
        <pc:inkChg chg="add mod">
          <ac:chgData name="Aniket Chhabra" userId="598e0514-bef3-4e71-b6aa-f2edd6441cff" providerId="ADAL" clId="{3C62E95B-14AF-4972-80A8-E7262BB79806}" dt="2022-03-06T04:21:09.778" v="276"/>
          <ac:inkMkLst>
            <pc:docMk/>
            <pc:sldMk cId="0" sldId="258"/>
            <ac:inkMk id="153" creationId="{DB55A837-9BA0-447E-B14B-47CE1718EAC5}"/>
          </ac:inkMkLst>
        </pc:inkChg>
        <pc:inkChg chg="add mod">
          <ac:chgData name="Aniket Chhabra" userId="598e0514-bef3-4e71-b6aa-f2edd6441cff" providerId="ADAL" clId="{3C62E95B-14AF-4972-80A8-E7262BB79806}" dt="2022-03-06T04:21:09.778" v="276"/>
          <ac:inkMkLst>
            <pc:docMk/>
            <pc:sldMk cId="0" sldId="258"/>
            <ac:inkMk id="154" creationId="{D7DA3586-7501-467F-B8DD-D84F9061B5A5}"/>
          </ac:inkMkLst>
        </pc:inkChg>
        <pc:inkChg chg="add mod">
          <ac:chgData name="Aniket Chhabra" userId="598e0514-bef3-4e71-b6aa-f2edd6441cff" providerId="ADAL" clId="{3C62E95B-14AF-4972-80A8-E7262BB79806}" dt="2022-03-06T04:21:09.778" v="276"/>
          <ac:inkMkLst>
            <pc:docMk/>
            <pc:sldMk cId="0" sldId="258"/>
            <ac:inkMk id="155" creationId="{5D55596D-E3D4-427A-AF68-CF68418F2C6C}"/>
          </ac:inkMkLst>
        </pc:inkChg>
        <pc:inkChg chg="add mod">
          <ac:chgData name="Aniket Chhabra" userId="598e0514-bef3-4e71-b6aa-f2edd6441cff" providerId="ADAL" clId="{3C62E95B-14AF-4972-80A8-E7262BB79806}" dt="2022-03-06T04:21:09.778" v="276"/>
          <ac:inkMkLst>
            <pc:docMk/>
            <pc:sldMk cId="0" sldId="258"/>
            <ac:inkMk id="156" creationId="{BC32FB9E-879C-40B7-AA3E-40C538FF8319}"/>
          </ac:inkMkLst>
        </pc:inkChg>
        <pc:inkChg chg="add mod">
          <ac:chgData name="Aniket Chhabra" userId="598e0514-bef3-4e71-b6aa-f2edd6441cff" providerId="ADAL" clId="{3C62E95B-14AF-4972-80A8-E7262BB79806}" dt="2022-03-06T04:21:09.778" v="276"/>
          <ac:inkMkLst>
            <pc:docMk/>
            <pc:sldMk cId="0" sldId="258"/>
            <ac:inkMk id="157" creationId="{AD2C6BB7-CF9D-47C6-A933-5803A73F58CC}"/>
          </ac:inkMkLst>
        </pc:inkChg>
        <pc:inkChg chg="add mod">
          <ac:chgData name="Aniket Chhabra" userId="598e0514-bef3-4e71-b6aa-f2edd6441cff" providerId="ADAL" clId="{3C62E95B-14AF-4972-80A8-E7262BB79806}" dt="2022-03-06T04:21:09.778" v="276"/>
          <ac:inkMkLst>
            <pc:docMk/>
            <pc:sldMk cId="0" sldId="258"/>
            <ac:inkMk id="158" creationId="{A7B022A5-320A-4201-882D-AD54178136E8}"/>
          </ac:inkMkLst>
        </pc:inkChg>
        <pc:inkChg chg="add mod">
          <ac:chgData name="Aniket Chhabra" userId="598e0514-bef3-4e71-b6aa-f2edd6441cff" providerId="ADAL" clId="{3C62E95B-14AF-4972-80A8-E7262BB79806}" dt="2022-03-06T04:23:33.457" v="298"/>
          <ac:inkMkLst>
            <pc:docMk/>
            <pc:sldMk cId="0" sldId="258"/>
            <ac:inkMk id="162" creationId="{8EE61CE6-D070-473A-83D1-C0D701708380}"/>
          </ac:inkMkLst>
        </pc:inkChg>
        <pc:inkChg chg="add mod">
          <ac:chgData name="Aniket Chhabra" userId="598e0514-bef3-4e71-b6aa-f2edd6441cff" providerId="ADAL" clId="{3C62E95B-14AF-4972-80A8-E7262BB79806}" dt="2022-03-06T04:23:33.457" v="298"/>
          <ac:inkMkLst>
            <pc:docMk/>
            <pc:sldMk cId="0" sldId="258"/>
            <ac:inkMk id="163" creationId="{19CF967C-63D1-45C1-AB65-4E99CDE9112B}"/>
          </ac:inkMkLst>
        </pc:inkChg>
        <pc:inkChg chg="add mod">
          <ac:chgData name="Aniket Chhabra" userId="598e0514-bef3-4e71-b6aa-f2edd6441cff" providerId="ADAL" clId="{3C62E95B-14AF-4972-80A8-E7262BB79806}" dt="2022-03-06T04:23:33.457" v="298"/>
          <ac:inkMkLst>
            <pc:docMk/>
            <pc:sldMk cId="0" sldId="258"/>
            <ac:inkMk id="164" creationId="{62C3EE2C-DBF0-444B-8C01-C825FCBD5C59}"/>
          </ac:inkMkLst>
        </pc:inkChg>
        <pc:inkChg chg="add mod">
          <ac:chgData name="Aniket Chhabra" userId="598e0514-bef3-4e71-b6aa-f2edd6441cff" providerId="ADAL" clId="{3C62E95B-14AF-4972-80A8-E7262BB79806}" dt="2022-03-06T04:23:33.457" v="298"/>
          <ac:inkMkLst>
            <pc:docMk/>
            <pc:sldMk cId="0" sldId="258"/>
            <ac:inkMk id="165" creationId="{941B49D1-3B31-484C-BDFF-13303DD82E65}"/>
          </ac:inkMkLst>
        </pc:inkChg>
        <pc:inkChg chg="add mod">
          <ac:chgData name="Aniket Chhabra" userId="598e0514-bef3-4e71-b6aa-f2edd6441cff" providerId="ADAL" clId="{3C62E95B-14AF-4972-80A8-E7262BB79806}" dt="2022-03-06T04:23:33.457" v="298"/>
          <ac:inkMkLst>
            <pc:docMk/>
            <pc:sldMk cId="0" sldId="258"/>
            <ac:inkMk id="166" creationId="{754A1B81-F84E-4942-A0E7-CF7B2C52A2A1}"/>
          </ac:inkMkLst>
        </pc:inkChg>
        <pc:inkChg chg="add mod">
          <ac:chgData name="Aniket Chhabra" userId="598e0514-bef3-4e71-b6aa-f2edd6441cff" providerId="ADAL" clId="{3C62E95B-14AF-4972-80A8-E7262BB79806}" dt="2022-03-06T04:23:33.457" v="298"/>
          <ac:inkMkLst>
            <pc:docMk/>
            <pc:sldMk cId="0" sldId="258"/>
            <ac:inkMk id="167" creationId="{62B81DEB-8ADD-40AE-9BE3-C4FCFF052464}"/>
          </ac:inkMkLst>
        </pc:inkChg>
        <pc:inkChg chg="add mod">
          <ac:chgData name="Aniket Chhabra" userId="598e0514-bef3-4e71-b6aa-f2edd6441cff" providerId="ADAL" clId="{3C62E95B-14AF-4972-80A8-E7262BB79806}" dt="2022-03-06T04:23:33.457" v="298"/>
          <ac:inkMkLst>
            <pc:docMk/>
            <pc:sldMk cId="0" sldId="258"/>
            <ac:inkMk id="168" creationId="{628024AE-3104-40B3-BD42-85974FAAFEAB}"/>
          </ac:inkMkLst>
        </pc:inkChg>
        <pc:inkChg chg="add mod">
          <ac:chgData name="Aniket Chhabra" userId="598e0514-bef3-4e71-b6aa-f2edd6441cff" providerId="ADAL" clId="{3C62E95B-14AF-4972-80A8-E7262BB79806}" dt="2022-03-06T04:23:33.457" v="298"/>
          <ac:inkMkLst>
            <pc:docMk/>
            <pc:sldMk cId="0" sldId="258"/>
            <ac:inkMk id="169" creationId="{2035C45A-2623-4BB2-A8AE-7C19081CAFAA}"/>
          </ac:inkMkLst>
        </pc:inkChg>
        <pc:inkChg chg="add mod">
          <ac:chgData name="Aniket Chhabra" userId="598e0514-bef3-4e71-b6aa-f2edd6441cff" providerId="ADAL" clId="{3C62E95B-14AF-4972-80A8-E7262BB79806}" dt="2022-03-06T04:23:33.457" v="298"/>
          <ac:inkMkLst>
            <pc:docMk/>
            <pc:sldMk cId="0" sldId="258"/>
            <ac:inkMk id="170" creationId="{811F9C47-393E-46C8-96B5-88D16D442B49}"/>
          </ac:inkMkLst>
        </pc:inkChg>
        <pc:inkChg chg="add mod">
          <ac:chgData name="Aniket Chhabra" userId="598e0514-bef3-4e71-b6aa-f2edd6441cff" providerId="ADAL" clId="{3C62E95B-14AF-4972-80A8-E7262BB79806}" dt="2022-03-06T04:23:33.457" v="298"/>
          <ac:inkMkLst>
            <pc:docMk/>
            <pc:sldMk cId="0" sldId="258"/>
            <ac:inkMk id="171" creationId="{5003C8C0-E2BE-4854-A61A-B02CB97ADBC9}"/>
          </ac:inkMkLst>
        </pc:inkChg>
        <pc:inkChg chg="add mod">
          <ac:chgData name="Aniket Chhabra" userId="598e0514-bef3-4e71-b6aa-f2edd6441cff" providerId="ADAL" clId="{3C62E95B-14AF-4972-80A8-E7262BB79806}" dt="2022-03-06T04:23:33.457" v="298"/>
          <ac:inkMkLst>
            <pc:docMk/>
            <pc:sldMk cId="0" sldId="258"/>
            <ac:inkMk id="172" creationId="{60A1A971-9F7B-4C2B-855B-E815E17B34EC}"/>
          </ac:inkMkLst>
        </pc:inkChg>
        <pc:inkChg chg="add mod">
          <ac:chgData name="Aniket Chhabra" userId="598e0514-bef3-4e71-b6aa-f2edd6441cff" providerId="ADAL" clId="{3C62E95B-14AF-4972-80A8-E7262BB79806}" dt="2022-03-06T04:23:33.457" v="298"/>
          <ac:inkMkLst>
            <pc:docMk/>
            <pc:sldMk cId="0" sldId="258"/>
            <ac:inkMk id="173" creationId="{66B89CF5-0B33-4CD2-956D-A27D3534218E}"/>
          </ac:inkMkLst>
        </pc:inkChg>
        <pc:inkChg chg="add mod">
          <ac:chgData name="Aniket Chhabra" userId="598e0514-bef3-4e71-b6aa-f2edd6441cff" providerId="ADAL" clId="{3C62E95B-14AF-4972-80A8-E7262BB79806}" dt="2022-03-06T04:23:33.457" v="298"/>
          <ac:inkMkLst>
            <pc:docMk/>
            <pc:sldMk cId="0" sldId="258"/>
            <ac:inkMk id="174" creationId="{9C14728A-EA44-4F88-A085-2F6C824CB424}"/>
          </ac:inkMkLst>
        </pc:inkChg>
        <pc:inkChg chg="add mod">
          <ac:chgData name="Aniket Chhabra" userId="598e0514-bef3-4e71-b6aa-f2edd6441cff" providerId="ADAL" clId="{3C62E95B-14AF-4972-80A8-E7262BB79806}" dt="2022-03-06T04:23:33.457" v="298"/>
          <ac:inkMkLst>
            <pc:docMk/>
            <pc:sldMk cId="0" sldId="258"/>
            <ac:inkMk id="175" creationId="{02B0D400-FCD9-4E2D-B5E9-2021742C16FD}"/>
          </ac:inkMkLst>
        </pc:inkChg>
        <pc:inkChg chg="add mod">
          <ac:chgData name="Aniket Chhabra" userId="598e0514-bef3-4e71-b6aa-f2edd6441cff" providerId="ADAL" clId="{3C62E95B-14AF-4972-80A8-E7262BB79806}" dt="2022-03-06T04:23:33.457" v="298"/>
          <ac:inkMkLst>
            <pc:docMk/>
            <pc:sldMk cId="0" sldId="258"/>
            <ac:inkMk id="176" creationId="{6604130E-5E89-423A-BD4D-1A4DCFC46E28}"/>
          </ac:inkMkLst>
        </pc:inkChg>
        <pc:inkChg chg="add mod">
          <ac:chgData name="Aniket Chhabra" userId="598e0514-bef3-4e71-b6aa-f2edd6441cff" providerId="ADAL" clId="{3C62E95B-14AF-4972-80A8-E7262BB79806}" dt="2022-03-06T04:23:33.457" v="298"/>
          <ac:inkMkLst>
            <pc:docMk/>
            <pc:sldMk cId="0" sldId="258"/>
            <ac:inkMk id="177" creationId="{553BFF7D-258E-4EA0-8ADC-FC960D904210}"/>
          </ac:inkMkLst>
        </pc:inkChg>
        <pc:inkChg chg="add mod">
          <ac:chgData name="Aniket Chhabra" userId="598e0514-bef3-4e71-b6aa-f2edd6441cff" providerId="ADAL" clId="{3C62E95B-14AF-4972-80A8-E7262BB79806}" dt="2022-03-06T04:23:33.457" v="298"/>
          <ac:inkMkLst>
            <pc:docMk/>
            <pc:sldMk cId="0" sldId="258"/>
            <ac:inkMk id="178" creationId="{8CE3C5E3-E4F7-425C-B1F1-E91EF8087B82}"/>
          </ac:inkMkLst>
        </pc:inkChg>
        <pc:inkChg chg="add mod">
          <ac:chgData name="Aniket Chhabra" userId="598e0514-bef3-4e71-b6aa-f2edd6441cff" providerId="ADAL" clId="{3C62E95B-14AF-4972-80A8-E7262BB79806}" dt="2022-03-06T04:23:33.457" v="298"/>
          <ac:inkMkLst>
            <pc:docMk/>
            <pc:sldMk cId="0" sldId="258"/>
            <ac:inkMk id="179" creationId="{30113618-A74B-4865-AD8E-4F1D94DB126B}"/>
          </ac:inkMkLst>
        </pc:inkChg>
        <pc:inkChg chg="add mod">
          <ac:chgData name="Aniket Chhabra" userId="598e0514-bef3-4e71-b6aa-f2edd6441cff" providerId="ADAL" clId="{3C62E95B-14AF-4972-80A8-E7262BB79806}" dt="2022-03-06T04:23:33.457" v="298"/>
          <ac:inkMkLst>
            <pc:docMk/>
            <pc:sldMk cId="0" sldId="258"/>
            <ac:inkMk id="180" creationId="{E07AD66E-35A3-4B07-AE39-07B996EB6356}"/>
          </ac:inkMkLst>
        </pc:inkChg>
        <pc:inkChg chg="add mod">
          <ac:chgData name="Aniket Chhabra" userId="598e0514-bef3-4e71-b6aa-f2edd6441cff" providerId="ADAL" clId="{3C62E95B-14AF-4972-80A8-E7262BB79806}" dt="2022-03-06T04:23:33.457" v="298"/>
          <ac:inkMkLst>
            <pc:docMk/>
            <pc:sldMk cId="0" sldId="258"/>
            <ac:inkMk id="181" creationId="{76F4AA9F-265F-4604-B551-A173632585C7}"/>
          </ac:inkMkLst>
        </pc:inkChg>
        <pc:inkChg chg="add mod">
          <ac:chgData name="Aniket Chhabra" userId="598e0514-bef3-4e71-b6aa-f2edd6441cff" providerId="ADAL" clId="{3C62E95B-14AF-4972-80A8-E7262BB79806}" dt="2022-03-06T04:23:33.457" v="298"/>
          <ac:inkMkLst>
            <pc:docMk/>
            <pc:sldMk cId="0" sldId="258"/>
            <ac:inkMk id="182" creationId="{072881E3-542C-4EF4-B01C-C280D00880AF}"/>
          </ac:inkMkLst>
        </pc:inkChg>
      </pc:sldChg>
      <pc:sldChg chg="delSp mod">
        <pc:chgData name="Aniket Chhabra" userId="598e0514-bef3-4e71-b6aa-f2edd6441cff" providerId="ADAL" clId="{3C62E95B-14AF-4972-80A8-E7262BB79806}" dt="2022-03-05T09:55:01.244" v="0" actId="478"/>
        <pc:sldMkLst>
          <pc:docMk/>
          <pc:sldMk cId="0" sldId="266"/>
        </pc:sldMkLst>
        <pc:spChg chg="del">
          <ac:chgData name="Aniket Chhabra" userId="598e0514-bef3-4e71-b6aa-f2edd6441cff" providerId="ADAL" clId="{3C62E95B-14AF-4972-80A8-E7262BB79806}" dt="2022-03-05T09:55:01.244" v="0" actId="478"/>
          <ac:spMkLst>
            <pc:docMk/>
            <pc:sldMk cId="0" sldId="266"/>
            <ac:spMk id="125" creationId="{00000000-0000-0000-0000-000000000000}"/>
          </ac:spMkLst>
        </pc:spChg>
      </pc:sldChg>
      <pc:sldChg chg="delSp modSp mod">
        <pc:chgData name="Aniket Chhabra" userId="598e0514-bef3-4e71-b6aa-f2edd6441cff" providerId="ADAL" clId="{3C62E95B-14AF-4972-80A8-E7262BB79806}" dt="2022-03-05T10:18:28.141" v="10" actId="1036"/>
        <pc:sldMkLst>
          <pc:docMk/>
          <pc:sldMk cId="0" sldId="267"/>
        </pc:sldMkLst>
        <pc:spChg chg="del">
          <ac:chgData name="Aniket Chhabra" userId="598e0514-bef3-4e71-b6aa-f2edd6441cff" providerId="ADAL" clId="{3C62E95B-14AF-4972-80A8-E7262BB79806}" dt="2022-03-05T09:55:09.631" v="2" actId="478"/>
          <ac:spMkLst>
            <pc:docMk/>
            <pc:sldMk cId="0" sldId="267"/>
            <ac:spMk id="132" creationId="{00000000-0000-0000-0000-000000000000}"/>
          </ac:spMkLst>
        </pc:spChg>
        <pc:picChg chg="mod">
          <ac:chgData name="Aniket Chhabra" userId="598e0514-bef3-4e71-b6aa-f2edd6441cff" providerId="ADAL" clId="{3C62E95B-14AF-4972-80A8-E7262BB79806}" dt="2022-03-05T10:18:28.141" v="10" actId="1036"/>
          <ac:picMkLst>
            <pc:docMk/>
            <pc:sldMk cId="0" sldId="267"/>
            <ac:picMk id="133" creationId="{00000000-0000-0000-0000-000000000000}"/>
          </ac:picMkLst>
        </pc:picChg>
      </pc:sldChg>
      <pc:sldChg chg="addSp delSp modSp mod">
        <pc:chgData name="Aniket Chhabra" userId="598e0514-bef3-4e71-b6aa-f2edd6441cff" providerId="ADAL" clId="{3C62E95B-14AF-4972-80A8-E7262BB79806}" dt="2022-03-05T10:19:22.440" v="59"/>
        <pc:sldMkLst>
          <pc:docMk/>
          <pc:sldMk cId="0" sldId="268"/>
        </pc:sldMkLst>
        <pc:spChg chg="del">
          <ac:chgData name="Aniket Chhabra" userId="598e0514-bef3-4e71-b6aa-f2edd6441cff" providerId="ADAL" clId="{3C62E95B-14AF-4972-80A8-E7262BB79806}" dt="2022-03-05T09:56:02.811" v="5" actId="478"/>
          <ac:spMkLst>
            <pc:docMk/>
            <pc:sldMk cId="0" sldId="268"/>
            <ac:spMk id="139" creationId="{00000000-0000-0000-0000-000000000000}"/>
          </ac:spMkLst>
        </pc:spChg>
        <pc:grpChg chg="mod">
          <ac:chgData name="Aniket Chhabra" userId="598e0514-bef3-4e71-b6aa-f2edd6441cff" providerId="ADAL" clId="{3C62E95B-14AF-4972-80A8-E7262BB79806}" dt="2022-03-05T10:18:46.378" v="21"/>
          <ac:grpSpMkLst>
            <pc:docMk/>
            <pc:sldMk cId="0" sldId="268"/>
            <ac:grpSpMk id="8" creationId="{CC9A9E44-4134-4C8A-9BD4-F1B21F7C895E}"/>
          </ac:grpSpMkLst>
        </pc:grpChg>
        <pc:grpChg chg="del mod">
          <ac:chgData name="Aniket Chhabra" userId="598e0514-bef3-4e71-b6aa-f2edd6441cff" providerId="ADAL" clId="{3C62E95B-14AF-4972-80A8-E7262BB79806}" dt="2022-03-05T10:18:57.500" v="45"/>
          <ac:grpSpMkLst>
            <pc:docMk/>
            <pc:sldMk cId="0" sldId="268"/>
            <ac:grpSpMk id="19" creationId="{E56E74AF-5B33-48A1-AE4A-A6A0D3A497AF}"/>
          </ac:grpSpMkLst>
        </pc:grpChg>
        <pc:grpChg chg="mod">
          <ac:chgData name="Aniket Chhabra" userId="598e0514-bef3-4e71-b6aa-f2edd6441cff" providerId="ADAL" clId="{3C62E95B-14AF-4972-80A8-E7262BB79806}" dt="2022-03-05T10:18:57.500" v="45"/>
          <ac:grpSpMkLst>
            <pc:docMk/>
            <pc:sldMk cId="0" sldId="268"/>
            <ac:grpSpMk id="28" creationId="{87F93D94-54B6-4B9D-9606-AF575CD99F07}"/>
          </ac:grpSpMkLst>
        </pc:grpChg>
        <pc:grpChg chg="mod">
          <ac:chgData name="Aniket Chhabra" userId="598e0514-bef3-4e71-b6aa-f2edd6441cff" providerId="ADAL" clId="{3C62E95B-14AF-4972-80A8-E7262BB79806}" dt="2022-03-05T10:18:57.500" v="45"/>
          <ac:grpSpMkLst>
            <pc:docMk/>
            <pc:sldMk cId="0" sldId="268"/>
            <ac:grpSpMk id="29" creationId="{EAF5CC15-0365-4C12-BBD9-8A267C2C65A4}"/>
          </ac:grpSpMkLst>
        </pc:grpChg>
        <pc:grpChg chg="mod">
          <ac:chgData name="Aniket Chhabra" userId="598e0514-bef3-4e71-b6aa-f2edd6441cff" providerId="ADAL" clId="{3C62E95B-14AF-4972-80A8-E7262BB79806}" dt="2022-03-05T10:19:22.440" v="59"/>
          <ac:grpSpMkLst>
            <pc:docMk/>
            <pc:sldMk cId="0" sldId="268"/>
            <ac:grpSpMk id="142" creationId="{3D5057A1-448B-4397-B0DC-5157112A6459}"/>
          </ac:grpSpMkLst>
        </pc:grpChg>
        <pc:grpChg chg="mod">
          <ac:chgData name="Aniket Chhabra" userId="598e0514-bef3-4e71-b6aa-f2edd6441cff" providerId="ADAL" clId="{3C62E95B-14AF-4972-80A8-E7262BB79806}" dt="2022-03-05T10:19:22.440" v="59"/>
          <ac:grpSpMkLst>
            <pc:docMk/>
            <pc:sldMk cId="0" sldId="268"/>
            <ac:grpSpMk id="143" creationId="{5C29975A-03FA-4E04-B0F5-0099ED8B65C5}"/>
          </ac:grpSpMkLst>
        </pc:grpChg>
        <pc:picChg chg="mod">
          <ac:chgData name="Aniket Chhabra" userId="598e0514-bef3-4e71-b6aa-f2edd6441cff" providerId="ADAL" clId="{3C62E95B-14AF-4972-80A8-E7262BB79806}" dt="2022-03-05T09:56:07.740" v="8" actId="14100"/>
          <ac:picMkLst>
            <pc:docMk/>
            <pc:sldMk cId="0" sldId="268"/>
            <ac:picMk id="140" creationId="{00000000-0000-0000-0000-000000000000}"/>
          </ac:picMkLst>
        </pc:picChg>
        <pc:inkChg chg="add mod">
          <ac:chgData name="Aniket Chhabra" userId="598e0514-bef3-4e71-b6aa-f2edd6441cff" providerId="ADAL" clId="{3C62E95B-14AF-4972-80A8-E7262BB79806}" dt="2022-03-05T10:18:46.378" v="21"/>
          <ac:inkMkLst>
            <pc:docMk/>
            <pc:sldMk cId="0" sldId="268"/>
            <ac:inkMk id="2" creationId="{1F3032B6-840A-4210-9DBB-EDEA41742082}"/>
          </ac:inkMkLst>
        </pc:inkChg>
        <pc:inkChg chg="add mod">
          <ac:chgData name="Aniket Chhabra" userId="598e0514-bef3-4e71-b6aa-f2edd6441cff" providerId="ADAL" clId="{3C62E95B-14AF-4972-80A8-E7262BB79806}" dt="2022-03-05T10:18:46.378" v="21"/>
          <ac:inkMkLst>
            <pc:docMk/>
            <pc:sldMk cId="0" sldId="268"/>
            <ac:inkMk id="3" creationId="{D7A393EB-AC40-4784-BE60-3D978B4EF62D}"/>
          </ac:inkMkLst>
        </pc:inkChg>
        <pc:inkChg chg="add mod">
          <ac:chgData name="Aniket Chhabra" userId="598e0514-bef3-4e71-b6aa-f2edd6441cff" providerId="ADAL" clId="{3C62E95B-14AF-4972-80A8-E7262BB79806}" dt="2022-03-05T10:18:46.378" v="21"/>
          <ac:inkMkLst>
            <pc:docMk/>
            <pc:sldMk cId="0" sldId="268"/>
            <ac:inkMk id="4" creationId="{2C0438D2-BABE-4B0B-9028-7A5CFC5050DD}"/>
          </ac:inkMkLst>
        </pc:inkChg>
        <pc:inkChg chg="add del mod">
          <ac:chgData name="Aniket Chhabra" userId="598e0514-bef3-4e71-b6aa-f2edd6441cff" providerId="ADAL" clId="{3C62E95B-14AF-4972-80A8-E7262BB79806}" dt="2022-03-05T10:18:45.623" v="19"/>
          <ac:inkMkLst>
            <pc:docMk/>
            <pc:sldMk cId="0" sldId="268"/>
            <ac:inkMk id="5" creationId="{DDB91C0A-4F58-4714-9658-DBFADC1D6EBA}"/>
          </ac:inkMkLst>
        </pc:inkChg>
        <pc:inkChg chg="add del mod">
          <ac:chgData name="Aniket Chhabra" userId="598e0514-bef3-4e71-b6aa-f2edd6441cff" providerId="ADAL" clId="{3C62E95B-14AF-4972-80A8-E7262BB79806}" dt="2022-03-05T10:18:45.622" v="18"/>
          <ac:inkMkLst>
            <pc:docMk/>
            <pc:sldMk cId="0" sldId="268"/>
            <ac:inkMk id="6" creationId="{F473B3B1-797F-48C5-AB19-BDC6F20AAB94}"/>
          </ac:inkMkLst>
        </pc:inkChg>
        <pc:inkChg chg="add del mod">
          <ac:chgData name="Aniket Chhabra" userId="598e0514-bef3-4e71-b6aa-f2edd6441cff" providerId="ADAL" clId="{3C62E95B-14AF-4972-80A8-E7262BB79806}" dt="2022-03-05T10:18:46.378" v="21"/>
          <ac:inkMkLst>
            <pc:docMk/>
            <pc:sldMk cId="0" sldId="268"/>
            <ac:inkMk id="7" creationId="{B68691D3-2F19-405A-A564-55937CD3C6B6}"/>
          </ac:inkMkLst>
        </pc:inkChg>
        <pc:inkChg chg="add del">
          <ac:chgData name="Aniket Chhabra" userId="598e0514-bef3-4e71-b6aa-f2edd6441cff" providerId="ADAL" clId="{3C62E95B-14AF-4972-80A8-E7262BB79806}" dt="2022-03-05T10:18:49.056" v="30"/>
          <ac:inkMkLst>
            <pc:docMk/>
            <pc:sldMk cId="0" sldId="268"/>
            <ac:inkMk id="9" creationId="{B9B682FC-CDFA-4A41-B92A-E42985C29A9B}"/>
          </ac:inkMkLst>
        </pc:inkChg>
        <pc:inkChg chg="add mod">
          <ac:chgData name="Aniket Chhabra" userId="598e0514-bef3-4e71-b6aa-f2edd6441cff" providerId="ADAL" clId="{3C62E95B-14AF-4972-80A8-E7262BB79806}" dt="2022-03-05T10:18:57.500" v="45"/>
          <ac:inkMkLst>
            <pc:docMk/>
            <pc:sldMk cId="0" sldId="268"/>
            <ac:inkMk id="10" creationId="{EB50ACBC-1210-4EDA-9BC2-68339624302C}"/>
          </ac:inkMkLst>
        </pc:inkChg>
        <pc:inkChg chg="add del">
          <ac:chgData name="Aniket Chhabra" userId="598e0514-bef3-4e71-b6aa-f2edd6441cff" providerId="ADAL" clId="{3C62E95B-14AF-4972-80A8-E7262BB79806}" dt="2022-03-05T10:18:49.054" v="27"/>
          <ac:inkMkLst>
            <pc:docMk/>
            <pc:sldMk cId="0" sldId="268"/>
            <ac:inkMk id="11" creationId="{33C4260A-9390-4FD5-B1B4-1E205BFC8046}"/>
          </ac:inkMkLst>
        </pc:inkChg>
        <pc:inkChg chg="add del">
          <ac:chgData name="Aniket Chhabra" userId="598e0514-bef3-4e71-b6aa-f2edd6441cff" providerId="ADAL" clId="{3C62E95B-14AF-4972-80A8-E7262BB79806}" dt="2022-03-05T10:18:49.055" v="29"/>
          <ac:inkMkLst>
            <pc:docMk/>
            <pc:sldMk cId="0" sldId="268"/>
            <ac:inkMk id="12" creationId="{6CC7F437-48C3-4825-BCF9-A717DD5E24F3}"/>
          </ac:inkMkLst>
        </pc:inkChg>
        <pc:inkChg chg="add del">
          <ac:chgData name="Aniket Chhabra" userId="598e0514-bef3-4e71-b6aa-f2edd6441cff" providerId="ADAL" clId="{3C62E95B-14AF-4972-80A8-E7262BB79806}" dt="2022-03-05T10:18:49.055" v="28"/>
          <ac:inkMkLst>
            <pc:docMk/>
            <pc:sldMk cId="0" sldId="268"/>
            <ac:inkMk id="13" creationId="{D5F8E8F1-81D0-4147-BC16-C937074631D0}"/>
          </ac:inkMkLst>
        </pc:inkChg>
        <pc:inkChg chg="add mod">
          <ac:chgData name="Aniket Chhabra" userId="598e0514-bef3-4e71-b6aa-f2edd6441cff" providerId="ADAL" clId="{3C62E95B-14AF-4972-80A8-E7262BB79806}" dt="2022-03-05T10:18:57.500" v="45"/>
          <ac:inkMkLst>
            <pc:docMk/>
            <pc:sldMk cId="0" sldId="268"/>
            <ac:inkMk id="14" creationId="{2F6A93CE-C781-44D4-9013-817914DA1036}"/>
          </ac:inkMkLst>
        </pc:inkChg>
        <pc:inkChg chg="add mod">
          <ac:chgData name="Aniket Chhabra" userId="598e0514-bef3-4e71-b6aa-f2edd6441cff" providerId="ADAL" clId="{3C62E95B-14AF-4972-80A8-E7262BB79806}" dt="2022-03-05T10:18:57.500" v="45"/>
          <ac:inkMkLst>
            <pc:docMk/>
            <pc:sldMk cId="0" sldId="268"/>
            <ac:inkMk id="15" creationId="{24189E81-64E1-4AED-866F-AE17848E55A4}"/>
          </ac:inkMkLst>
        </pc:inkChg>
        <pc:inkChg chg="add mod">
          <ac:chgData name="Aniket Chhabra" userId="598e0514-bef3-4e71-b6aa-f2edd6441cff" providerId="ADAL" clId="{3C62E95B-14AF-4972-80A8-E7262BB79806}" dt="2022-03-05T10:18:57.500" v="45"/>
          <ac:inkMkLst>
            <pc:docMk/>
            <pc:sldMk cId="0" sldId="268"/>
            <ac:inkMk id="16" creationId="{6E1A604F-4898-45E4-9E2C-0A69D341E5E6}"/>
          </ac:inkMkLst>
        </pc:inkChg>
        <pc:inkChg chg="add mod">
          <ac:chgData name="Aniket Chhabra" userId="598e0514-bef3-4e71-b6aa-f2edd6441cff" providerId="ADAL" clId="{3C62E95B-14AF-4972-80A8-E7262BB79806}" dt="2022-03-05T10:18:57.500" v="45"/>
          <ac:inkMkLst>
            <pc:docMk/>
            <pc:sldMk cId="0" sldId="268"/>
            <ac:inkMk id="17" creationId="{79E2073D-AD18-4F04-8F8F-932151F53EC2}"/>
          </ac:inkMkLst>
        </pc:inkChg>
        <pc:inkChg chg="add mod">
          <ac:chgData name="Aniket Chhabra" userId="598e0514-bef3-4e71-b6aa-f2edd6441cff" providerId="ADAL" clId="{3C62E95B-14AF-4972-80A8-E7262BB79806}" dt="2022-03-05T10:18:57.500" v="45"/>
          <ac:inkMkLst>
            <pc:docMk/>
            <pc:sldMk cId="0" sldId="268"/>
            <ac:inkMk id="18" creationId="{5C8BBC6A-229B-4392-BBFB-4539FDAB0B6A}"/>
          </ac:inkMkLst>
        </pc:inkChg>
        <pc:inkChg chg="add mod">
          <ac:chgData name="Aniket Chhabra" userId="598e0514-bef3-4e71-b6aa-f2edd6441cff" providerId="ADAL" clId="{3C62E95B-14AF-4972-80A8-E7262BB79806}" dt="2022-03-05T10:18:57.500" v="45"/>
          <ac:inkMkLst>
            <pc:docMk/>
            <pc:sldMk cId="0" sldId="268"/>
            <ac:inkMk id="20" creationId="{637C5385-CD85-458E-B7EC-FEB2C176B407}"/>
          </ac:inkMkLst>
        </pc:inkChg>
        <pc:inkChg chg="add mod">
          <ac:chgData name="Aniket Chhabra" userId="598e0514-bef3-4e71-b6aa-f2edd6441cff" providerId="ADAL" clId="{3C62E95B-14AF-4972-80A8-E7262BB79806}" dt="2022-03-05T10:18:57.500" v="45"/>
          <ac:inkMkLst>
            <pc:docMk/>
            <pc:sldMk cId="0" sldId="268"/>
            <ac:inkMk id="21" creationId="{B123CE9B-6736-4033-8723-F008A0A32BEC}"/>
          </ac:inkMkLst>
        </pc:inkChg>
        <pc:inkChg chg="add mod">
          <ac:chgData name="Aniket Chhabra" userId="598e0514-bef3-4e71-b6aa-f2edd6441cff" providerId="ADAL" clId="{3C62E95B-14AF-4972-80A8-E7262BB79806}" dt="2022-03-05T10:18:57.500" v="45"/>
          <ac:inkMkLst>
            <pc:docMk/>
            <pc:sldMk cId="0" sldId="268"/>
            <ac:inkMk id="22" creationId="{28655AA3-C885-46EB-A4CF-C53C099EA91B}"/>
          </ac:inkMkLst>
        </pc:inkChg>
        <pc:inkChg chg="add mod">
          <ac:chgData name="Aniket Chhabra" userId="598e0514-bef3-4e71-b6aa-f2edd6441cff" providerId="ADAL" clId="{3C62E95B-14AF-4972-80A8-E7262BB79806}" dt="2022-03-05T10:18:57.500" v="45"/>
          <ac:inkMkLst>
            <pc:docMk/>
            <pc:sldMk cId="0" sldId="268"/>
            <ac:inkMk id="23" creationId="{3F45D0A4-B376-419C-9ED6-31CD9E105BF1}"/>
          </ac:inkMkLst>
        </pc:inkChg>
        <pc:inkChg chg="add mod">
          <ac:chgData name="Aniket Chhabra" userId="598e0514-bef3-4e71-b6aa-f2edd6441cff" providerId="ADAL" clId="{3C62E95B-14AF-4972-80A8-E7262BB79806}" dt="2022-03-05T10:18:57.500" v="45"/>
          <ac:inkMkLst>
            <pc:docMk/>
            <pc:sldMk cId="0" sldId="268"/>
            <ac:inkMk id="24" creationId="{F076C06A-07C2-4713-BDBA-03D3DE9A4DBF}"/>
          </ac:inkMkLst>
        </pc:inkChg>
        <pc:inkChg chg="add mod">
          <ac:chgData name="Aniket Chhabra" userId="598e0514-bef3-4e71-b6aa-f2edd6441cff" providerId="ADAL" clId="{3C62E95B-14AF-4972-80A8-E7262BB79806}" dt="2022-03-05T10:18:57.500" v="45"/>
          <ac:inkMkLst>
            <pc:docMk/>
            <pc:sldMk cId="0" sldId="268"/>
            <ac:inkMk id="25" creationId="{207B822C-1C49-4F4E-8B2B-BD10FE96FA19}"/>
          </ac:inkMkLst>
        </pc:inkChg>
        <pc:inkChg chg="add mod">
          <ac:chgData name="Aniket Chhabra" userId="598e0514-bef3-4e71-b6aa-f2edd6441cff" providerId="ADAL" clId="{3C62E95B-14AF-4972-80A8-E7262BB79806}" dt="2022-03-05T10:18:57.500" v="45"/>
          <ac:inkMkLst>
            <pc:docMk/>
            <pc:sldMk cId="0" sldId="268"/>
            <ac:inkMk id="26" creationId="{0CE6DB2C-6701-4B26-8148-4B1BBD8C874F}"/>
          </ac:inkMkLst>
        </pc:inkChg>
        <pc:inkChg chg="add mod">
          <ac:chgData name="Aniket Chhabra" userId="598e0514-bef3-4e71-b6aa-f2edd6441cff" providerId="ADAL" clId="{3C62E95B-14AF-4972-80A8-E7262BB79806}" dt="2022-03-05T10:18:57.500" v="45"/>
          <ac:inkMkLst>
            <pc:docMk/>
            <pc:sldMk cId="0" sldId="268"/>
            <ac:inkMk id="27" creationId="{188AC939-4977-403B-BFE5-BA74EB678294}"/>
          </ac:inkMkLst>
        </pc:inkChg>
        <pc:inkChg chg="add mod">
          <ac:chgData name="Aniket Chhabra" userId="598e0514-bef3-4e71-b6aa-f2edd6441cff" providerId="ADAL" clId="{3C62E95B-14AF-4972-80A8-E7262BB79806}" dt="2022-03-05T10:19:22.440" v="59"/>
          <ac:inkMkLst>
            <pc:docMk/>
            <pc:sldMk cId="0" sldId="268"/>
            <ac:inkMk id="30" creationId="{72D90D68-CB48-47B7-83BE-A490FF3F7837}"/>
          </ac:inkMkLst>
        </pc:inkChg>
        <pc:inkChg chg="add mod">
          <ac:chgData name="Aniket Chhabra" userId="598e0514-bef3-4e71-b6aa-f2edd6441cff" providerId="ADAL" clId="{3C62E95B-14AF-4972-80A8-E7262BB79806}" dt="2022-03-05T10:19:22.440" v="59"/>
          <ac:inkMkLst>
            <pc:docMk/>
            <pc:sldMk cId="0" sldId="268"/>
            <ac:inkMk id="31" creationId="{6E258846-27B6-48D3-9F27-2A90B9D06DA4}"/>
          </ac:inkMkLst>
        </pc:inkChg>
        <pc:inkChg chg="add mod">
          <ac:chgData name="Aniket Chhabra" userId="598e0514-bef3-4e71-b6aa-f2edd6441cff" providerId="ADAL" clId="{3C62E95B-14AF-4972-80A8-E7262BB79806}" dt="2022-03-05T10:19:22.440" v="59"/>
          <ac:inkMkLst>
            <pc:docMk/>
            <pc:sldMk cId="0" sldId="268"/>
            <ac:inkMk id="128" creationId="{67BFDB6C-E464-4927-9F90-59CF23E9AA64}"/>
          </ac:inkMkLst>
        </pc:inkChg>
        <pc:inkChg chg="add mod">
          <ac:chgData name="Aniket Chhabra" userId="598e0514-bef3-4e71-b6aa-f2edd6441cff" providerId="ADAL" clId="{3C62E95B-14AF-4972-80A8-E7262BB79806}" dt="2022-03-05T10:19:22.440" v="59"/>
          <ac:inkMkLst>
            <pc:docMk/>
            <pc:sldMk cId="0" sldId="268"/>
            <ac:inkMk id="129" creationId="{028419BB-DEF4-48B2-804B-63E75AEDFB64}"/>
          </ac:inkMkLst>
        </pc:inkChg>
        <pc:inkChg chg="add mod">
          <ac:chgData name="Aniket Chhabra" userId="598e0514-bef3-4e71-b6aa-f2edd6441cff" providerId="ADAL" clId="{3C62E95B-14AF-4972-80A8-E7262BB79806}" dt="2022-03-05T10:19:22.440" v="59"/>
          <ac:inkMkLst>
            <pc:docMk/>
            <pc:sldMk cId="0" sldId="268"/>
            <ac:inkMk id="130" creationId="{01FE53CC-1A07-40C8-B872-F5B60765585E}"/>
          </ac:inkMkLst>
        </pc:inkChg>
        <pc:inkChg chg="add mod">
          <ac:chgData name="Aniket Chhabra" userId="598e0514-bef3-4e71-b6aa-f2edd6441cff" providerId="ADAL" clId="{3C62E95B-14AF-4972-80A8-E7262BB79806}" dt="2022-03-05T10:19:22.440" v="59"/>
          <ac:inkMkLst>
            <pc:docMk/>
            <pc:sldMk cId="0" sldId="268"/>
            <ac:inkMk id="131" creationId="{6BA16D0D-3A05-444D-A22E-4E9FCB63FF6F}"/>
          </ac:inkMkLst>
        </pc:inkChg>
        <pc:inkChg chg="add mod">
          <ac:chgData name="Aniket Chhabra" userId="598e0514-bef3-4e71-b6aa-f2edd6441cff" providerId="ADAL" clId="{3C62E95B-14AF-4972-80A8-E7262BB79806}" dt="2022-03-05T10:19:22.440" v="59"/>
          <ac:inkMkLst>
            <pc:docMk/>
            <pc:sldMk cId="0" sldId="268"/>
            <ac:inkMk id="132" creationId="{2351AB3E-7DD2-4E69-8645-46B813D1EA9B}"/>
          </ac:inkMkLst>
        </pc:inkChg>
        <pc:inkChg chg="add mod">
          <ac:chgData name="Aniket Chhabra" userId="598e0514-bef3-4e71-b6aa-f2edd6441cff" providerId="ADAL" clId="{3C62E95B-14AF-4972-80A8-E7262BB79806}" dt="2022-03-05T10:19:22.440" v="59"/>
          <ac:inkMkLst>
            <pc:docMk/>
            <pc:sldMk cId="0" sldId="268"/>
            <ac:inkMk id="133" creationId="{7C607C5B-26EC-4B7C-BA5D-125B2E1590E1}"/>
          </ac:inkMkLst>
        </pc:inkChg>
        <pc:inkChg chg="add mod">
          <ac:chgData name="Aniket Chhabra" userId="598e0514-bef3-4e71-b6aa-f2edd6441cff" providerId="ADAL" clId="{3C62E95B-14AF-4972-80A8-E7262BB79806}" dt="2022-03-05T10:19:22.440" v="59"/>
          <ac:inkMkLst>
            <pc:docMk/>
            <pc:sldMk cId="0" sldId="268"/>
            <ac:inkMk id="134" creationId="{57DD58AF-1B22-468A-897A-E318D8BC63B3}"/>
          </ac:inkMkLst>
        </pc:inkChg>
        <pc:inkChg chg="add mod">
          <ac:chgData name="Aniket Chhabra" userId="598e0514-bef3-4e71-b6aa-f2edd6441cff" providerId="ADAL" clId="{3C62E95B-14AF-4972-80A8-E7262BB79806}" dt="2022-03-05T10:19:22.440" v="59"/>
          <ac:inkMkLst>
            <pc:docMk/>
            <pc:sldMk cId="0" sldId="268"/>
            <ac:inkMk id="135" creationId="{C3DBC8D7-DC55-4451-9CF7-AD010321CD26}"/>
          </ac:inkMkLst>
        </pc:inkChg>
        <pc:inkChg chg="add mod">
          <ac:chgData name="Aniket Chhabra" userId="598e0514-bef3-4e71-b6aa-f2edd6441cff" providerId="ADAL" clId="{3C62E95B-14AF-4972-80A8-E7262BB79806}" dt="2022-03-05T10:19:22.440" v="59"/>
          <ac:inkMkLst>
            <pc:docMk/>
            <pc:sldMk cId="0" sldId="268"/>
            <ac:inkMk id="136" creationId="{AFD563BF-E4D8-43BD-8EC3-CE2196E9E10D}"/>
          </ac:inkMkLst>
        </pc:inkChg>
        <pc:inkChg chg="add mod">
          <ac:chgData name="Aniket Chhabra" userId="598e0514-bef3-4e71-b6aa-f2edd6441cff" providerId="ADAL" clId="{3C62E95B-14AF-4972-80A8-E7262BB79806}" dt="2022-03-05T10:19:22.440" v="59"/>
          <ac:inkMkLst>
            <pc:docMk/>
            <pc:sldMk cId="0" sldId="268"/>
            <ac:inkMk id="137" creationId="{EDD3A733-DC9E-4038-8654-B32F5FDC4C11}"/>
          </ac:inkMkLst>
        </pc:inkChg>
        <pc:inkChg chg="add mod">
          <ac:chgData name="Aniket Chhabra" userId="598e0514-bef3-4e71-b6aa-f2edd6441cff" providerId="ADAL" clId="{3C62E95B-14AF-4972-80A8-E7262BB79806}" dt="2022-03-05T10:19:22.440" v="59"/>
          <ac:inkMkLst>
            <pc:docMk/>
            <pc:sldMk cId="0" sldId="268"/>
            <ac:inkMk id="141" creationId="{ADE5392D-A6AF-400F-BFD4-1DBAC550EFDF}"/>
          </ac:inkMkLst>
        </pc:inkChg>
      </pc:sldChg>
      <pc:sldChg chg="addSp delSp modSp mod">
        <pc:chgData name="Aniket Chhabra" userId="598e0514-bef3-4e71-b6aa-f2edd6441cff" providerId="ADAL" clId="{3C62E95B-14AF-4972-80A8-E7262BB79806}" dt="2022-03-05T10:21:14.909" v="71" actId="14100"/>
        <pc:sldMkLst>
          <pc:docMk/>
          <pc:sldMk cId="0" sldId="269"/>
        </pc:sldMkLst>
        <pc:spChg chg="del">
          <ac:chgData name="Aniket Chhabra" userId="598e0514-bef3-4e71-b6aa-f2edd6441cff" providerId="ADAL" clId="{3C62E95B-14AF-4972-80A8-E7262BB79806}" dt="2022-03-05T10:19:42.283" v="60" actId="478"/>
          <ac:spMkLst>
            <pc:docMk/>
            <pc:sldMk cId="0" sldId="269"/>
            <ac:spMk id="146" creationId="{00000000-0000-0000-0000-000000000000}"/>
          </ac:spMkLst>
        </pc:spChg>
        <pc:picChg chg="add del mod">
          <ac:chgData name="Aniket Chhabra" userId="598e0514-bef3-4e71-b6aa-f2edd6441cff" providerId="ADAL" clId="{3C62E95B-14AF-4972-80A8-E7262BB79806}" dt="2022-03-05T10:21:14.134" v="69"/>
          <ac:picMkLst>
            <pc:docMk/>
            <pc:sldMk cId="0" sldId="269"/>
            <ac:picMk id="5" creationId="{DB2B193D-9AB5-4364-9035-893E278BD2EF}"/>
          </ac:picMkLst>
        </pc:picChg>
        <pc:picChg chg="mod">
          <ac:chgData name="Aniket Chhabra" userId="598e0514-bef3-4e71-b6aa-f2edd6441cff" providerId="ADAL" clId="{3C62E95B-14AF-4972-80A8-E7262BB79806}" dt="2022-03-05T10:21:14.909" v="71" actId="14100"/>
          <ac:picMkLst>
            <pc:docMk/>
            <pc:sldMk cId="0" sldId="269"/>
            <ac:picMk id="147" creationId="{00000000-0000-0000-0000-000000000000}"/>
          </ac:picMkLst>
        </pc:picChg>
      </pc:sldChg>
      <pc:sldChg chg="addSp delSp mod">
        <pc:chgData name="Aniket Chhabra" userId="598e0514-bef3-4e71-b6aa-f2edd6441cff" providerId="ADAL" clId="{3C62E95B-14AF-4972-80A8-E7262BB79806}" dt="2022-03-05T10:21:18.232" v="73" actId="478"/>
        <pc:sldMkLst>
          <pc:docMk/>
          <pc:sldMk cId="0" sldId="270"/>
        </pc:sldMkLst>
        <pc:spChg chg="add del">
          <ac:chgData name="Aniket Chhabra" userId="598e0514-bef3-4e71-b6aa-f2edd6441cff" providerId="ADAL" clId="{3C62E95B-14AF-4972-80A8-E7262BB79806}" dt="2022-03-05T10:21:18.232" v="73" actId="478"/>
          <ac:spMkLst>
            <pc:docMk/>
            <pc:sldMk cId="0" sldId="270"/>
            <ac:spMk id="153" creationId="{00000000-0000-0000-0000-000000000000}"/>
          </ac:spMkLst>
        </pc:spChg>
      </pc:sldChg>
      <pc:sldChg chg="delSp modSp mod">
        <pc:chgData name="Aniket Chhabra" userId="598e0514-bef3-4e71-b6aa-f2edd6441cff" providerId="ADAL" clId="{3C62E95B-14AF-4972-80A8-E7262BB79806}" dt="2022-03-05T10:24:03.867" v="126" actId="1076"/>
        <pc:sldMkLst>
          <pc:docMk/>
          <pc:sldMk cId="0" sldId="271"/>
        </pc:sldMkLst>
        <pc:spChg chg="del">
          <ac:chgData name="Aniket Chhabra" userId="598e0514-bef3-4e71-b6aa-f2edd6441cff" providerId="ADAL" clId="{3C62E95B-14AF-4972-80A8-E7262BB79806}" dt="2022-03-05T10:22:17.472" v="75" actId="478"/>
          <ac:spMkLst>
            <pc:docMk/>
            <pc:sldMk cId="0" sldId="271"/>
            <ac:spMk id="160" creationId="{00000000-0000-0000-0000-000000000000}"/>
          </ac:spMkLst>
        </pc:spChg>
        <pc:picChg chg="mod">
          <ac:chgData name="Aniket Chhabra" userId="598e0514-bef3-4e71-b6aa-f2edd6441cff" providerId="ADAL" clId="{3C62E95B-14AF-4972-80A8-E7262BB79806}" dt="2022-03-05T10:24:03.867" v="126" actId="1076"/>
          <ac:picMkLst>
            <pc:docMk/>
            <pc:sldMk cId="0" sldId="271"/>
            <ac:picMk id="161" creationId="{00000000-0000-0000-0000-000000000000}"/>
          </ac:picMkLst>
        </pc:picChg>
      </pc:sldChg>
      <pc:sldChg chg="delSp mod">
        <pc:chgData name="Aniket Chhabra" userId="598e0514-bef3-4e71-b6aa-f2edd6441cff" providerId="ADAL" clId="{3C62E95B-14AF-4972-80A8-E7262BB79806}" dt="2022-03-05T10:22:03.336" v="74" actId="478"/>
        <pc:sldMkLst>
          <pc:docMk/>
          <pc:sldMk cId="0" sldId="272"/>
        </pc:sldMkLst>
        <pc:spChg chg="del">
          <ac:chgData name="Aniket Chhabra" userId="598e0514-bef3-4e71-b6aa-f2edd6441cff" providerId="ADAL" clId="{3C62E95B-14AF-4972-80A8-E7262BB79806}" dt="2022-03-05T10:22:03.336" v="74" actId="478"/>
          <ac:spMkLst>
            <pc:docMk/>
            <pc:sldMk cId="0" sldId="272"/>
            <ac:spMk id="167" creationId="{00000000-0000-0000-0000-000000000000}"/>
          </ac:spMkLst>
        </pc:spChg>
      </pc:sldChg>
      <pc:sldChg chg="addSp delSp modSp new add mod">
        <pc:chgData name="Aniket Chhabra" userId="598e0514-bef3-4e71-b6aa-f2edd6441cff" providerId="ADAL" clId="{3C62E95B-14AF-4972-80A8-E7262BB79806}" dt="2022-03-05T10:23:33.430" v="124" actId="1076"/>
        <pc:sldMkLst>
          <pc:docMk/>
          <pc:sldMk cId="4111441889" sldId="281"/>
        </pc:sldMkLst>
        <pc:spChg chg="del">
          <ac:chgData name="Aniket Chhabra" userId="598e0514-bef3-4e71-b6aa-f2edd6441cff" providerId="ADAL" clId="{3C62E95B-14AF-4972-80A8-E7262BB79806}" dt="2022-03-05T10:23:29.336" v="87" actId="478"/>
          <ac:spMkLst>
            <pc:docMk/>
            <pc:sldMk cId="4111441889" sldId="281"/>
            <ac:spMk id="2" creationId="{E2178391-EFE3-49E2-A8B4-9B9DB9E74114}"/>
          </ac:spMkLst>
        </pc:spChg>
        <pc:spChg chg="del">
          <ac:chgData name="Aniket Chhabra" userId="598e0514-bef3-4e71-b6aa-f2edd6441cff" providerId="ADAL" clId="{3C62E95B-14AF-4972-80A8-E7262BB79806}" dt="2022-03-05T10:23:29.336" v="87" actId="478"/>
          <ac:spMkLst>
            <pc:docMk/>
            <pc:sldMk cId="4111441889" sldId="281"/>
            <ac:spMk id="3" creationId="{EFF16658-12BD-41DA-965E-45D82373C458}"/>
          </ac:spMkLst>
        </pc:spChg>
        <pc:graphicFrameChg chg="add mod ord modVis replST">
          <ac:chgData name="Aniket Chhabra" userId="598e0514-bef3-4e71-b6aa-f2edd6441cff" providerId="ADAL" clId="{3C62E95B-14AF-4972-80A8-E7262BB79806}" dt="2022-03-05T10:23:30.259" v="122"/>
          <ac:graphicFrameMkLst>
            <pc:docMk/>
            <pc:sldMk cId="4111441889" sldId="281"/>
            <ac:graphicFrameMk id="10" creationId="{1D444811-9944-4F35-A19D-0A8B877F8A6C}"/>
          </ac:graphicFrameMkLst>
        </pc:graphicFrameChg>
        <pc:picChg chg="add del">
          <ac:chgData name="Aniket Chhabra" userId="598e0514-bef3-4e71-b6aa-f2edd6441cff" providerId="ADAL" clId="{3C62E95B-14AF-4972-80A8-E7262BB79806}" dt="2022-03-05T10:23:25.183" v="83" actId="478"/>
          <ac:picMkLst>
            <pc:docMk/>
            <pc:sldMk cId="4111441889" sldId="281"/>
            <ac:picMk id="5" creationId="{FADA918B-B6BE-4B2A-B5E5-6160ADD66391}"/>
          </ac:picMkLst>
        </pc:picChg>
        <pc:picChg chg="add del">
          <ac:chgData name="Aniket Chhabra" userId="598e0514-bef3-4e71-b6aa-f2edd6441cff" providerId="ADAL" clId="{3C62E95B-14AF-4972-80A8-E7262BB79806}" dt="2022-03-05T10:23:27.116" v="86" actId="22"/>
          <ac:picMkLst>
            <pc:docMk/>
            <pc:sldMk cId="4111441889" sldId="281"/>
            <ac:picMk id="7" creationId="{2BEE319D-FC08-4A3E-8166-AFCB1E5776C3}"/>
          </ac:picMkLst>
        </pc:picChg>
        <pc:picChg chg="add mod">
          <ac:chgData name="Aniket Chhabra" userId="598e0514-bef3-4e71-b6aa-f2edd6441cff" providerId="ADAL" clId="{3C62E95B-14AF-4972-80A8-E7262BB79806}" dt="2022-03-05T10:23:33.430" v="124" actId="1076"/>
          <ac:picMkLst>
            <pc:docMk/>
            <pc:sldMk cId="4111441889" sldId="281"/>
            <ac:picMk id="9" creationId="{A70F925C-63CA-4590-AC38-D13F3D3C5089}"/>
          </ac:picMkLst>
        </pc:picChg>
      </pc:sldChg>
      <pc:sldChg chg="addSp delSp modSp new add mod ord">
        <pc:chgData name="Aniket Chhabra" userId="598e0514-bef3-4e71-b6aa-f2edd6441cff" providerId="ADAL" clId="{3C62E95B-14AF-4972-80A8-E7262BB79806}" dt="2022-03-05T10:26:29.696" v="160" actId="1076"/>
        <pc:sldMkLst>
          <pc:docMk/>
          <pc:sldMk cId="3805900786" sldId="282"/>
        </pc:sldMkLst>
        <pc:spChg chg="del">
          <ac:chgData name="Aniket Chhabra" userId="598e0514-bef3-4e71-b6aa-f2edd6441cff" providerId="ADAL" clId="{3C62E95B-14AF-4972-80A8-E7262BB79806}" dt="2022-03-05T10:26:00.450" v="131" actId="478"/>
          <ac:spMkLst>
            <pc:docMk/>
            <pc:sldMk cId="3805900786" sldId="282"/>
            <ac:spMk id="2" creationId="{635ABC28-C56A-4505-AAB0-BF50F6A82B8F}"/>
          </ac:spMkLst>
        </pc:spChg>
        <pc:spChg chg="del">
          <ac:chgData name="Aniket Chhabra" userId="598e0514-bef3-4e71-b6aa-f2edd6441cff" providerId="ADAL" clId="{3C62E95B-14AF-4972-80A8-E7262BB79806}" dt="2022-03-05T10:26:00.450" v="131" actId="478"/>
          <ac:spMkLst>
            <pc:docMk/>
            <pc:sldMk cId="3805900786" sldId="282"/>
            <ac:spMk id="3" creationId="{9520BF87-7082-4308-A20E-F0AC0D6234C8}"/>
          </ac:spMkLst>
        </pc:spChg>
        <pc:graphicFrameChg chg="add mod ord modVis replST">
          <ac:chgData name="Aniket Chhabra" userId="598e0514-bef3-4e71-b6aa-f2edd6441cff" providerId="ADAL" clId="{3C62E95B-14AF-4972-80A8-E7262BB79806}" dt="2022-03-05T10:26:00.995" v="150"/>
          <ac:graphicFrameMkLst>
            <pc:docMk/>
            <pc:sldMk cId="3805900786" sldId="282"/>
            <ac:graphicFrameMk id="6" creationId="{3A0B5FD4-7162-49B9-B59A-93F14BE9ED85}"/>
          </ac:graphicFrameMkLst>
        </pc:graphicFrameChg>
        <pc:picChg chg="add del">
          <ac:chgData name="Aniket Chhabra" userId="598e0514-bef3-4e71-b6aa-f2edd6441cff" providerId="ADAL" clId="{3C62E95B-14AF-4972-80A8-E7262BB79806}" dt="2022-03-05T10:26:13.714" v="151" actId="478"/>
          <ac:picMkLst>
            <pc:docMk/>
            <pc:sldMk cId="3805900786" sldId="282"/>
            <ac:picMk id="5" creationId="{757FDBF1-C53D-4B53-B885-E20774B22212}"/>
          </ac:picMkLst>
        </pc:picChg>
        <pc:picChg chg="add mod">
          <ac:chgData name="Aniket Chhabra" userId="598e0514-bef3-4e71-b6aa-f2edd6441cff" providerId="ADAL" clId="{3C62E95B-14AF-4972-80A8-E7262BB79806}" dt="2022-03-05T10:26:29.696" v="160" actId="1076"/>
          <ac:picMkLst>
            <pc:docMk/>
            <pc:sldMk cId="3805900786" sldId="282"/>
            <ac:picMk id="8" creationId="{2D730EBE-567D-40F6-B575-2A50997EC0BD}"/>
          </ac:picMkLst>
        </pc:picChg>
      </pc:sldChg>
      <pc:sldMasterChg chg="addSp modSp mod">
        <pc:chgData name="Aniket Chhabra" userId="598e0514-bef3-4e71-b6aa-f2edd6441cff" providerId="ADAL" clId="{3C62E95B-14AF-4972-80A8-E7262BB79806}" dt="2022-03-05T10:23:30.213" v="106"/>
        <pc:sldMasterMkLst>
          <pc:docMk/>
          <pc:sldMasterMk cId="0" sldId="2147483648"/>
        </pc:sldMasterMkLst>
        <pc:graphicFrameChg chg="add mod ord modVis replST">
          <ac:chgData name="Aniket Chhabra" userId="598e0514-bef3-4e71-b6aa-f2edd6441cff" providerId="ADAL" clId="{3C62E95B-14AF-4972-80A8-E7262BB79806}" dt="2022-03-05T10:23:30.213" v="106"/>
          <ac:graphicFrameMkLst>
            <pc:docMk/>
            <pc:sldMasterMk cId="0" sldId="2147483648"/>
            <ac:graphicFrameMk id="2" creationId="{C45ED559-8497-4CCF-B419-B92C1880DE37}"/>
          </ac:graphicFrameMkLst>
        </pc:graphicFrameChg>
      </pc:sldMasterChg>
    </pc:docChg>
  </pc:docChgLst>
  <pc:docChgLst>
    <pc:chgData name="Aniket Chhabra" userId="598e0514-bef3-4e71-b6aa-f2edd6441cff" providerId="ADAL" clId="{E1032901-1DA4-4941-B011-F516E50845DD}"/>
    <pc:docChg chg="undo custSel modSld sldOrd">
      <pc:chgData name="Aniket Chhabra" userId="598e0514-bef3-4e71-b6aa-f2edd6441cff" providerId="ADAL" clId="{E1032901-1DA4-4941-B011-F516E50845DD}" dt="2023-02-12T06:04:09.048" v="631"/>
      <pc:docMkLst>
        <pc:docMk/>
      </pc:docMkLst>
      <pc:sldChg chg="addSp delSp modSp mod">
        <pc:chgData name="Aniket Chhabra" userId="598e0514-bef3-4e71-b6aa-f2edd6441cff" providerId="ADAL" clId="{E1032901-1DA4-4941-B011-F516E50845DD}" dt="2023-02-12T05:55:57.309" v="541" actId="9405"/>
        <pc:sldMkLst>
          <pc:docMk/>
          <pc:sldMk cId="0" sldId="266"/>
        </pc:sldMkLst>
        <pc:grpChg chg="mod">
          <ac:chgData name="Aniket Chhabra" userId="598e0514-bef3-4e71-b6aa-f2edd6441cff" providerId="ADAL" clId="{E1032901-1DA4-4941-B011-F516E50845DD}" dt="2023-02-12T05:45:36.795" v="26"/>
          <ac:grpSpMkLst>
            <pc:docMk/>
            <pc:sldMk cId="0" sldId="266"/>
            <ac:grpSpMk id="22" creationId="{999168EF-05B9-90E1-255D-03E09B77DA5A}"/>
          </ac:grpSpMkLst>
        </pc:grpChg>
        <pc:grpChg chg="del mod">
          <ac:chgData name="Aniket Chhabra" userId="598e0514-bef3-4e71-b6aa-f2edd6441cff" providerId="ADAL" clId="{E1032901-1DA4-4941-B011-F516E50845DD}" dt="2023-02-12T05:45:51.368" v="32"/>
          <ac:grpSpMkLst>
            <pc:docMk/>
            <pc:sldMk cId="0" sldId="266"/>
            <ac:grpSpMk id="26" creationId="{562B745C-A797-9C97-EB6A-1EE8053DA289}"/>
          </ac:grpSpMkLst>
        </pc:grpChg>
        <pc:grpChg chg="del mod">
          <ac:chgData name="Aniket Chhabra" userId="598e0514-bef3-4e71-b6aa-f2edd6441cff" providerId="ADAL" clId="{E1032901-1DA4-4941-B011-F516E50845DD}" dt="2023-02-12T05:46:01.385" v="37"/>
          <ac:grpSpMkLst>
            <pc:docMk/>
            <pc:sldMk cId="0" sldId="266"/>
            <ac:grpSpMk id="28" creationId="{CFDBCD06-2CF1-F2E7-1508-6CB7D9B50CE5}"/>
          </ac:grpSpMkLst>
        </pc:grpChg>
        <pc:grpChg chg="del mod">
          <ac:chgData name="Aniket Chhabra" userId="598e0514-bef3-4e71-b6aa-f2edd6441cff" providerId="ADAL" clId="{E1032901-1DA4-4941-B011-F516E50845DD}" dt="2023-02-12T05:46:44.324" v="63"/>
          <ac:grpSpMkLst>
            <pc:docMk/>
            <pc:sldMk cId="0" sldId="266"/>
            <ac:grpSpMk id="31" creationId="{A251B409-8ED7-31AE-76CB-EF13F336C2F7}"/>
          </ac:grpSpMkLst>
        </pc:grpChg>
        <pc:grpChg chg="del mod">
          <ac:chgData name="Aniket Chhabra" userId="598e0514-bef3-4e71-b6aa-f2edd6441cff" providerId="ADAL" clId="{E1032901-1DA4-4941-B011-F516E50845DD}" dt="2023-02-12T05:46:05.963" v="42"/>
          <ac:grpSpMkLst>
            <pc:docMk/>
            <pc:sldMk cId="0" sldId="266"/>
            <ac:grpSpMk id="33" creationId="{07CEBB2B-168B-FA5B-BFAA-E5BF994F2D57}"/>
          </ac:grpSpMkLst>
        </pc:grpChg>
        <pc:grpChg chg="mod">
          <ac:chgData name="Aniket Chhabra" userId="598e0514-bef3-4e71-b6aa-f2edd6441cff" providerId="ADAL" clId="{E1032901-1DA4-4941-B011-F516E50845DD}" dt="2023-02-12T05:46:05.963" v="42"/>
          <ac:grpSpMkLst>
            <pc:docMk/>
            <pc:sldMk cId="0" sldId="266"/>
            <ac:grpSpMk id="38" creationId="{2B33B454-50C5-E857-32AC-EDCB01507B98}"/>
          </ac:grpSpMkLst>
        </pc:grpChg>
        <pc:grpChg chg="del mod">
          <ac:chgData name="Aniket Chhabra" userId="598e0514-bef3-4e71-b6aa-f2edd6441cff" providerId="ADAL" clId="{E1032901-1DA4-4941-B011-F516E50845DD}" dt="2023-02-12T05:46:18.887" v="53"/>
          <ac:grpSpMkLst>
            <pc:docMk/>
            <pc:sldMk cId="0" sldId="266"/>
            <ac:grpSpMk id="42" creationId="{8F72B9D1-E6C3-00AD-B29B-A5E9523DCFD4}"/>
          </ac:grpSpMkLst>
        </pc:grpChg>
        <pc:grpChg chg="mod">
          <ac:chgData name="Aniket Chhabra" userId="598e0514-bef3-4e71-b6aa-f2edd6441cff" providerId="ADAL" clId="{E1032901-1DA4-4941-B011-F516E50845DD}" dt="2023-02-12T05:46:18.887" v="53"/>
          <ac:grpSpMkLst>
            <pc:docMk/>
            <pc:sldMk cId="0" sldId="266"/>
            <ac:grpSpMk id="49" creationId="{D1B9F4E7-4AA6-3568-257D-2709E8A3DECF}"/>
          </ac:grpSpMkLst>
        </pc:grpChg>
        <pc:grpChg chg="mod">
          <ac:chgData name="Aniket Chhabra" userId="598e0514-bef3-4e71-b6aa-f2edd6441cff" providerId="ADAL" clId="{E1032901-1DA4-4941-B011-F516E50845DD}" dt="2023-02-12T05:46:25.653" v="56"/>
          <ac:grpSpMkLst>
            <pc:docMk/>
            <pc:sldMk cId="0" sldId="266"/>
            <ac:grpSpMk id="52" creationId="{BB7EFC58-DAF8-0DA2-BD3A-7D8D9D935153}"/>
          </ac:grpSpMkLst>
        </pc:grpChg>
        <pc:grpChg chg="del mod">
          <ac:chgData name="Aniket Chhabra" userId="598e0514-bef3-4e71-b6aa-f2edd6441cff" providerId="ADAL" clId="{E1032901-1DA4-4941-B011-F516E50845DD}" dt="2023-02-12T05:46:44.324" v="63"/>
          <ac:grpSpMkLst>
            <pc:docMk/>
            <pc:sldMk cId="0" sldId="266"/>
            <ac:grpSpMk id="57" creationId="{F1D73D5A-8010-6517-6766-1C14FA672D0D}"/>
          </ac:grpSpMkLst>
        </pc:grpChg>
        <pc:grpChg chg="del mod">
          <ac:chgData name="Aniket Chhabra" userId="598e0514-bef3-4e71-b6aa-f2edd6441cff" providerId="ADAL" clId="{E1032901-1DA4-4941-B011-F516E50845DD}" dt="2023-02-12T05:46:45.985" v="66"/>
          <ac:grpSpMkLst>
            <pc:docMk/>
            <pc:sldMk cId="0" sldId="266"/>
            <ac:grpSpMk id="59" creationId="{8D07628D-7722-1588-5188-F00CC983E973}"/>
          </ac:grpSpMkLst>
        </pc:grpChg>
        <pc:grpChg chg="del mod">
          <ac:chgData name="Aniket Chhabra" userId="598e0514-bef3-4e71-b6aa-f2edd6441cff" providerId="ADAL" clId="{E1032901-1DA4-4941-B011-F516E50845DD}" dt="2023-02-12T05:49:20.720" v="124"/>
          <ac:grpSpMkLst>
            <pc:docMk/>
            <pc:sldMk cId="0" sldId="266"/>
            <ac:grpSpMk id="62" creationId="{014A14C8-6A5F-EA5B-BC0D-23B9BB5335B9}"/>
          </ac:grpSpMkLst>
        </pc:grpChg>
        <pc:grpChg chg="mod">
          <ac:chgData name="Aniket Chhabra" userId="598e0514-bef3-4e71-b6aa-f2edd6441cff" providerId="ADAL" clId="{E1032901-1DA4-4941-B011-F516E50845DD}" dt="2023-02-12T05:49:20.720" v="124"/>
          <ac:grpSpMkLst>
            <pc:docMk/>
            <pc:sldMk cId="0" sldId="266"/>
            <ac:grpSpMk id="66" creationId="{FCC79A19-269C-7746-071C-101DC75E62B4}"/>
          </ac:grpSpMkLst>
        </pc:grpChg>
        <pc:inkChg chg="add mod">
          <ac:chgData name="Aniket Chhabra" userId="598e0514-bef3-4e71-b6aa-f2edd6441cff" providerId="ADAL" clId="{E1032901-1DA4-4941-B011-F516E50845DD}" dt="2023-02-12T05:45:36.795" v="26"/>
          <ac:inkMkLst>
            <pc:docMk/>
            <pc:sldMk cId="0" sldId="266"/>
            <ac:inkMk id="2" creationId="{CBA08287-02CF-5890-FA16-66FFAEB58628}"/>
          </ac:inkMkLst>
        </pc:inkChg>
        <pc:inkChg chg="add mod">
          <ac:chgData name="Aniket Chhabra" userId="598e0514-bef3-4e71-b6aa-f2edd6441cff" providerId="ADAL" clId="{E1032901-1DA4-4941-B011-F516E50845DD}" dt="2023-02-12T05:45:36.795" v="26"/>
          <ac:inkMkLst>
            <pc:docMk/>
            <pc:sldMk cId="0" sldId="266"/>
            <ac:inkMk id="3" creationId="{DEE42A8E-6720-9498-0BDA-6C6A99CBE011}"/>
          </ac:inkMkLst>
        </pc:inkChg>
        <pc:inkChg chg="add mod">
          <ac:chgData name="Aniket Chhabra" userId="598e0514-bef3-4e71-b6aa-f2edd6441cff" providerId="ADAL" clId="{E1032901-1DA4-4941-B011-F516E50845DD}" dt="2023-02-12T05:45:36.795" v="26"/>
          <ac:inkMkLst>
            <pc:docMk/>
            <pc:sldMk cId="0" sldId="266"/>
            <ac:inkMk id="4" creationId="{938F622A-A202-51C4-7649-2B79D995125E}"/>
          </ac:inkMkLst>
        </pc:inkChg>
        <pc:inkChg chg="add mod">
          <ac:chgData name="Aniket Chhabra" userId="598e0514-bef3-4e71-b6aa-f2edd6441cff" providerId="ADAL" clId="{E1032901-1DA4-4941-B011-F516E50845DD}" dt="2023-02-12T05:45:36.795" v="26"/>
          <ac:inkMkLst>
            <pc:docMk/>
            <pc:sldMk cId="0" sldId="266"/>
            <ac:inkMk id="5" creationId="{66661981-7371-885E-E095-EACF38404A85}"/>
          </ac:inkMkLst>
        </pc:inkChg>
        <pc:inkChg chg="add mod">
          <ac:chgData name="Aniket Chhabra" userId="598e0514-bef3-4e71-b6aa-f2edd6441cff" providerId="ADAL" clId="{E1032901-1DA4-4941-B011-F516E50845DD}" dt="2023-02-12T05:45:36.795" v="26"/>
          <ac:inkMkLst>
            <pc:docMk/>
            <pc:sldMk cId="0" sldId="266"/>
            <ac:inkMk id="6" creationId="{6E93C8B2-1319-A269-23E6-BA668EEC9FFA}"/>
          </ac:inkMkLst>
        </pc:inkChg>
        <pc:inkChg chg="add mod">
          <ac:chgData name="Aniket Chhabra" userId="598e0514-bef3-4e71-b6aa-f2edd6441cff" providerId="ADAL" clId="{E1032901-1DA4-4941-B011-F516E50845DD}" dt="2023-02-12T05:45:36.795" v="26"/>
          <ac:inkMkLst>
            <pc:docMk/>
            <pc:sldMk cId="0" sldId="266"/>
            <ac:inkMk id="7" creationId="{428CD598-F398-543E-FA65-D2C810FBDBEC}"/>
          </ac:inkMkLst>
        </pc:inkChg>
        <pc:inkChg chg="add mod">
          <ac:chgData name="Aniket Chhabra" userId="598e0514-bef3-4e71-b6aa-f2edd6441cff" providerId="ADAL" clId="{E1032901-1DA4-4941-B011-F516E50845DD}" dt="2023-02-12T05:45:36.795" v="26"/>
          <ac:inkMkLst>
            <pc:docMk/>
            <pc:sldMk cId="0" sldId="266"/>
            <ac:inkMk id="8" creationId="{81BCA0D9-D3A3-279F-5F72-556CE24C4B29}"/>
          </ac:inkMkLst>
        </pc:inkChg>
        <pc:inkChg chg="add mod">
          <ac:chgData name="Aniket Chhabra" userId="598e0514-bef3-4e71-b6aa-f2edd6441cff" providerId="ADAL" clId="{E1032901-1DA4-4941-B011-F516E50845DD}" dt="2023-02-12T05:45:36.795" v="26"/>
          <ac:inkMkLst>
            <pc:docMk/>
            <pc:sldMk cId="0" sldId="266"/>
            <ac:inkMk id="9" creationId="{45954E12-91D0-33A6-DEDC-FCFF9F8D6CB9}"/>
          </ac:inkMkLst>
        </pc:inkChg>
        <pc:inkChg chg="add mod">
          <ac:chgData name="Aniket Chhabra" userId="598e0514-bef3-4e71-b6aa-f2edd6441cff" providerId="ADAL" clId="{E1032901-1DA4-4941-B011-F516E50845DD}" dt="2023-02-12T05:45:36.795" v="26"/>
          <ac:inkMkLst>
            <pc:docMk/>
            <pc:sldMk cId="0" sldId="266"/>
            <ac:inkMk id="10" creationId="{736DC584-B410-B866-DB0F-C7DC65D54B95}"/>
          </ac:inkMkLst>
        </pc:inkChg>
        <pc:inkChg chg="add mod">
          <ac:chgData name="Aniket Chhabra" userId="598e0514-bef3-4e71-b6aa-f2edd6441cff" providerId="ADAL" clId="{E1032901-1DA4-4941-B011-F516E50845DD}" dt="2023-02-12T05:45:36.795" v="26"/>
          <ac:inkMkLst>
            <pc:docMk/>
            <pc:sldMk cId="0" sldId="266"/>
            <ac:inkMk id="11" creationId="{680ACF6F-AC07-33AE-98D3-DC971B182866}"/>
          </ac:inkMkLst>
        </pc:inkChg>
        <pc:inkChg chg="add mod">
          <ac:chgData name="Aniket Chhabra" userId="598e0514-bef3-4e71-b6aa-f2edd6441cff" providerId="ADAL" clId="{E1032901-1DA4-4941-B011-F516E50845DD}" dt="2023-02-12T05:45:36.795" v="26"/>
          <ac:inkMkLst>
            <pc:docMk/>
            <pc:sldMk cId="0" sldId="266"/>
            <ac:inkMk id="12" creationId="{D81B8DE9-B62D-B8B6-B7B9-6509A7DDC219}"/>
          </ac:inkMkLst>
        </pc:inkChg>
        <pc:inkChg chg="add mod">
          <ac:chgData name="Aniket Chhabra" userId="598e0514-bef3-4e71-b6aa-f2edd6441cff" providerId="ADAL" clId="{E1032901-1DA4-4941-B011-F516E50845DD}" dt="2023-02-12T05:45:36.795" v="26"/>
          <ac:inkMkLst>
            <pc:docMk/>
            <pc:sldMk cId="0" sldId="266"/>
            <ac:inkMk id="13" creationId="{B5FA0CD4-A993-3EBC-8F8C-2D635A0CB9F4}"/>
          </ac:inkMkLst>
        </pc:inkChg>
        <pc:inkChg chg="add mod">
          <ac:chgData name="Aniket Chhabra" userId="598e0514-bef3-4e71-b6aa-f2edd6441cff" providerId="ADAL" clId="{E1032901-1DA4-4941-B011-F516E50845DD}" dt="2023-02-12T05:45:36.795" v="26"/>
          <ac:inkMkLst>
            <pc:docMk/>
            <pc:sldMk cId="0" sldId="266"/>
            <ac:inkMk id="14" creationId="{AEDC429A-1259-5392-1A4F-BBF8F43972DC}"/>
          </ac:inkMkLst>
        </pc:inkChg>
        <pc:inkChg chg="add mod">
          <ac:chgData name="Aniket Chhabra" userId="598e0514-bef3-4e71-b6aa-f2edd6441cff" providerId="ADAL" clId="{E1032901-1DA4-4941-B011-F516E50845DD}" dt="2023-02-12T05:45:36.795" v="26"/>
          <ac:inkMkLst>
            <pc:docMk/>
            <pc:sldMk cId="0" sldId="266"/>
            <ac:inkMk id="15" creationId="{ABEC934E-172B-53C3-C858-6711D14E4232}"/>
          </ac:inkMkLst>
        </pc:inkChg>
        <pc:inkChg chg="add mod">
          <ac:chgData name="Aniket Chhabra" userId="598e0514-bef3-4e71-b6aa-f2edd6441cff" providerId="ADAL" clId="{E1032901-1DA4-4941-B011-F516E50845DD}" dt="2023-02-12T05:45:36.795" v="26"/>
          <ac:inkMkLst>
            <pc:docMk/>
            <pc:sldMk cId="0" sldId="266"/>
            <ac:inkMk id="16" creationId="{E9E6445F-28F9-38D0-C179-3F8B74CFEAC2}"/>
          </ac:inkMkLst>
        </pc:inkChg>
        <pc:inkChg chg="add mod">
          <ac:chgData name="Aniket Chhabra" userId="598e0514-bef3-4e71-b6aa-f2edd6441cff" providerId="ADAL" clId="{E1032901-1DA4-4941-B011-F516E50845DD}" dt="2023-02-12T05:45:36.795" v="26"/>
          <ac:inkMkLst>
            <pc:docMk/>
            <pc:sldMk cId="0" sldId="266"/>
            <ac:inkMk id="17" creationId="{246A8CE2-EDDF-DB5A-334C-DAE64476B4F4}"/>
          </ac:inkMkLst>
        </pc:inkChg>
        <pc:inkChg chg="add mod">
          <ac:chgData name="Aniket Chhabra" userId="598e0514-bef3-4e71-b6aa-f2edd6441cff" providerId="ADAL" clId="{E1032901-1DA4-4941-B011-F516E50845DD}" dt="2023-02-12T05:45:36.795" v="26"/>
          <ac:inkMkLst>
            <pc:docMk/>
            <pc:sldMk cId="0" sldId="266"/>
            <ac:inkMk id="18" creationId="{F73E8665-85F7-5451-66AC-A40904E697A8}"/>
          </ac:inkMkLst>
        </pc:inkChg>
        <pc:inkChg chg="add mod">
          <ac:chgData name="Aniket Chhabra" userId="598e0514-bef3-4e71-b6aa-f2edd6441cff" providerId="ADAL" clId="{E1032901-1DA4-4941-B011-F516E50845DD}" dt="2023-02-12T05:45:36.795" v="26"/>
          <ac:inkMkLst>
            <pc:docMk/>
            <pc:sldMk cId="0" sldId="266"/>
            <ac:inkMk id="19" creationId="{D2590478-8164-3BCB-FF82-C555A2C6F30F}"/>
          </ac:inkMkLst>
        </pc:inkChg>
        <pc:inkChg chg="add mod">
          <ac:chgData name="Aniket Chhabra" userId="598e0514-bef3-4e71-b6aa-f2edd6441cff" providerId="ADAL" clId="{E1032901-1DA4-4941-B011-F516E50845DD}" dt="2023-02-12T05:45:36.795" v="26"/>
          <ac:inkMkLst>
            <pc:docMk/>
            <pc:sldMk cId="0" sldId="266"/>
            <ac:inkMk id="20" creationId="{D74D97C9-A966-8AE1-011F-E7B51C028551}"/>
          </ac:inkMkLst>
        </pc:inkChg>
        <pc:inkChg chg="add mod">
          <ac:chgData name="Aniket Chhabra" userId="598e0514-bef3-4e71-b6aa-f2edd6441cff" providerId="ADAL" clId="{E1032901-1DA4-4941-B011-F516E50845DD}" dt="2023-02-12T05:45:36.795" v="26"/>
          <ac:inkMkLst>
            <pc:docMk/>
            <pc:sldMk cId="0" sldId="266"/>
            <ac:inkMk id="21" creationId="{DBA0ED58-69FA-1EBE-9DFF-3AC5D65C951C}"/>
          </ac:inkMkLst>
        </pc:inkChg>
        <pc:inkChg chg="add">
          <ac:chgData name="Aniket Chhabra" userId="598e0514-bef3-4e71-b6aa-f2edd6441cff" providerId="ADAL" clId="{E1032901-1DA4-4941-B011-F516E50845DD}" dt="2023-02-12T05:45:44.785" v="27" actId="9405"/>
          <ac:inkMkLst>
            <pc:docMk/>
            <pc:sldMk cId="0" sldId="266"/>
            <ac:inkMk id="23" creationId="{68EE792C-42B3-070B-223A-607178A6B3CB}"/>
          </ac:inkMkLst>
        </pc:inkChg>
        <pc:inkChg chg="add mod">
          <ac:chgData name="Aniket Chhabra" userId="598e0514-bef3-4e71-b6aa-f2edd6441cff" providerId="ADAL" clId="{E1032901-1DA4-4941-B011-F516E50845DD}" dt="2023-02-12T05:46:05.963" v="42"/>
          <ac:inkMkLst>
            <pc:docMk/>
            <pc:sldMk cId="0" sldId="266"/>
            <ac:inkMk id="24" creationId="{8E410187-A094-C630-EC91-67BC03EDC0FC}"/>
          </ac:inkMkLst>
        </pc:inkChg>
        <pc:inkChg chg="add mod">
          <ac:chgData name="Aniket Chhabra" userId="598e0514-bef3-4e71-b6aa-f2edd6441cff" providerId="ADAL" clId="{E1032901-1DA4-4941-B011-F516E50845DD}" dt="2023-02-12T05:46:05.963" v="42"/>
          <ac:inkMkLst>
            <pc:docMk/>
            <pc:sldMk cId="0" sldId="266"/>
            <ac:inkMk id="25" creationId="{90587691-67F5-35FD-C5AE-B555DF37C161}"/>
          </ac:inkMkLst>
        </pc:inkChg>
        <pc:inkChg chg="add mod">
          <ac:chgData name="Aniket Chhabra" userId="598e0514-bef3-4e71-b6aa-f2edd6441cff" providerId="ADAL" clId="{E1032901-1DA4-4941-B011-F516E50845DD}" dt="2023-02-12T05:46:05.963" v="42"/>
          <ac:inkMkLst>
            <pc:docMk/>
            <pc:sldMk cId="0" sldId="266"/>
            <ac:inkMk id="27" creationId="{04096E3A-0CC4-C811-F28B-F5FAFB88A881}"/>
          </ac:inkMkLst>
        </pc:inkChg>
        <pc:inkChg chg="add mod">
          <ac:chgData name="Aniket Chhabra" userId="598e0514-bef3-4e71-b6aa-f2edd6441cff" providerId="ADAL" clId="{E1032901-1DA4-4941-B011-F516E50845DD}" dt="2023-02-12T05:49:20.720" v="124"/>
          <ac:inkMkLst>
            <pc:docMk/>
            <pc:sldMk cId="0" sldId="266"/>
            <ac:inkMk id="29" creationId="{91DDA4CD-B746-AD4B-844A-379C6D187EB9}"/>
          </ac:inkMkLst>
        </pc:inkChg>
        <pc:inkChg chg="add mod">
          <ac:chgData name="Aniket Chhabra" userId="598e0514-bef3-4e71-b6aa-f2edd6441cff" providerId="ADAL" clId="{E1032901-1DA4-4941-B011-F516E50845DD}" dt="2023-02-12T05:49:20.720" v="124"/>
          <ac:inkMkLst>
            <pc:docMk/>
            <pc:sldMk cId="0" sldId="266"/>
            <ac:inkMk id="30" creationId="{4C8159FB-8604-C5E9-E0E9-490FC7443872}"/>
          </ac:inkMkLst>
        </pc:inkChg>
        <pc:inkChg chg="add mod">
          <ac:chgData name="Aniket Chhabra" userId="598e0514-bef3-4e71-b6aa-f2edd6441cff" providerId="ADAL" clId="{E1032901-1DA4-4941-B011-F516E50845DD}" dt="2023-02-12T05:46:05.963" v="42"/>
          <ac:inkMkLst>
            <pc:docMk/>
            <pc:sldMk cId="0" sldId="266"/>
            <ac:inkMk id="32" creationId="{DD43C8D0-11FC-FF17-B458-B75CA63968DD}"/>
          </ac:inkMkLst>
        </pc:inkChg>
        <pc:inkChg chg="add mod">
          <ac:chgData name="Aniket Chhabra" userId="598e0514-bef3-4e71-b6aa-f2edd6441cff" providerId="ADAL" clId="{E1032901-1DA4-4941-B011-F516E50845DD}" dt="2023-02-12T05:46:05.963" v="42"/>
          <ac:inkMkLst>
            <pc:docMk/>
            <pc:sldMk cId="0" sldId="266"/>
            <ac:inkMk id="34" creationId="{B8DCA117-972C-F1C8-FCAF-898765AECA8D}"/>
          </ac:inkMkLst>
        </pc:inkChg>
        <pc:inkChg chg="add mod">
          <ac:chgData name="Aniket Chhabra" userId="598e0514-bef3-4e71-b6aa-f2edd6441cff" providerId="ADAL" clId="{E1032901-1DA4-4941-B011-F516E50845DD}" dt="2023-02-12T05:46:05.963" v="42"/>
          <ac:inkMkLst>
            <pc:docMk/>
            <pc:sldMk cId="0" sldId="266"/>
            <ac:inkMk id="35" creationId="{373C5521-C5ED-F29E-5190-DC1A4E764AFA}"/>
          </ac:inkMkLst>
        </pc:inkChg>
        <pc:inkChg chg="add mod">
          <ac:chgData name="Aniket Chhabra" userId="598e0514-bef3-4e71-b6aa-f2edd6441cff" providerId="ADAL" clId="{E1032901-1DA4-4941-B011-F516E50845DD}" dt="2023-02-12T05:46:05.963" v="42"/>
          <ac:inkMkLst>
            <pc:docMk/>
            <pc:sldMk cId="0" sldId="266"/>
            <ac:inkMk id="36" creationId="{C18395E5-E417-0B85-7109-A27D7339BEFF}"/>
          </ac:inkMkLst>
        </pc:inkChg>
        <pc:inkChg chg="add mod">
          <ac:chgData name="Aniket Chhabra" userId="598e0514-bef3-4e71-b6aa-f2edd6441cff" providerId="ADAL" clId="{E1032901-1DA4-4941-B011-F516E50845DD}" dt="2023-02-12T05:46:05.963" v="42"/>
          <ac:inkMkLst>
            <pc:docMk/>
            <pc:sldMk cId="0" sldId="266"/>
            <ac:inkMk id="37" creationId="{5C5B7B4C-643A-0EE8-BD50-02D8A5B14200}"/>
          </ac:inkMkLst>
        </pc:inkChg>
        <pc:inkChg chg="add mod">
          <ac:chgData name="Aniket Chhabra" userId="598e0514-bef3-4e71-b6aa-f2edd6441cff" providerId="ADAL" clId="{E1032901-1DA4-4941-B011-F516E50845DD}" dt="2023-02-12T05:46:18.887" v="53"/>
          <ac:inkMkLst>
            <pc:docMk/>
            <pc:sldMk cId="0" sldId="266"/>
            <ac:inkMk id="39" creationId="{ABFE5027-472A-B818-8ED7-6DF41708A404}"/>
          </ac:inkMkLst>
        </pc:inkChg>
        <pc:inkChg chg="add mod">
          <ac:chgData name="Aniket Chhabra" userId="598e0514-bef3-4e71-b6aa-f2edd6441cff" providerId="ADAL" clId="{E1032901-1DA4-4941-B011-F516E50845DD}" dt="2023-02-12T05:46:18.887" v="53"/>
          <ac:inkMkLst>
            <pc:docMk/>
            <pc:sldMk cId="0" sldId="266"/>
            <ac:inkMk id="40" creationId="{2F476538-7027-325A-AC93-530CB84D63A7}"/>
          </ac:inkMkLst>
        </pc:inkChg>
        <pc:inkChg chg="add">
          <ac:chgData name="Aniket Chhabra" userId="598e0514-bef3-4e71-b6aa-f2edd6441cff" providerId="ADAL" clId="{E1032901-1DA4-4941-B011-F516E50845DD}" dt="2023-02-12T05:46:07.480" v="45" actId="9405"/>
          <ac:inkMkLst>
            <pc:docMk/>
            <pc:sldMk cId="0" sldId="266"/>
            <ac:inkMk id="41" creationId="{B21EE4EC-BDBC-B39C-5B57-7EE9F2850FBE}"/>
          </ac:inkMkLst>
        </pc:inkChg>
        <pc:inkChg chg="add">
          <ac:chgData name="Aniket Chhabra" userId="598e0514-bef3-4e71-b6aa-f2edd6441cff" providerId="ADAL" clId="{E1032901-1DA4-4941-B011-F516E50845DD}" dt="2023-02-12T05:46:10.787" v="47" actId="9405"/>
          <ac:inkMkLst>
            <pc:docMk/>
            <pc:sldMk cId="0" sldId="266"/>
            <ac:inkMk id="43" creationId="{1194970A-7E23-B096-07C8-C8D53DEAB3BC}"/>
          </ac:inkMkLst>
        </pc:inkChg>
        <pc:inkChg chg="add">
          <ac:chgData name="Aniket Chhabra" userId="598e0514-bef3-4e71-b6aa-f2edd6441cff" providerId="ADAL" clId="{E1032901-1DA4-4941-B011-F516E50845DD}" dt="2023-02-12T05:46:11.577" v="48" actId="9405"/>
          <ac:inkMkLst>
            <pc:docMk/>
            <pc:sldMk cId="0" sldId="266"/>
            <ac:inkMk id="44" creationId="{C8049C55-B78F-98ED-12BF-0300C583F633}"/>
          </ac:inkMkLst>
        </pc:inkChg>
        <pc:inkChg chg="add mod">
          <ac:chgData name="Aniket Chhabra" userId="598e0514-bef3-4e71-b6aa-f2edd6441cff" providerId="ADAL" clId="{E1032901-1DA4-4941-B011-F516E50845DD}" dt="2023-02-12T05:49:20.720" v="124"/>
          <ac:inkMkLst>
            <pc:docMk/>
            <pc:sldMk cId="0" sldId="266"/>
            <ac:inkMk id="45" creationId="{4A552974-F901-EDE1-25C1-FF80FC80F39A}"/>
          </ac:inkMkLst>
        </pc:inkChg>
        <pc:inkChg chg="add mod">
          <ac:chgData name="Aniket Chhabra" userId="598e0514-bef3-4e71-b6aa-f2edd6441cff" providerId="ADAL" clId="{E1032901-1DA4-4941-B011-F516E50845DD}" dt="2023-02-12T05:49:20.720" v="124"/>
          <ac:inkMkLst>
            <pc:docMk/>
            <pc:sldMk cId="0" sldId="266"/>
            <ac:inkMk id="46" creationId="{D3705F5B-2B2C-E5E6-CDB4-55F0B264E8C3}"/>
          </ac:inkMkLst>
        </pc:inkChg>
        <pc:inkChg chg="add mod">
          <ac:chgData name="Aniket Chhabra" userId="598e0514-bef3-4e71-b6aa-f2edd6441cff" providerId="ADAL" clId="{E1032901-1DA4-4941-B011-F516E50845DD}" dt="2023-02-12T05:49:20.720" v="124"/>
          <ac:inkMkLst>
            <pc:docMk/>
            <pc:sldMk cId="0" sldId="266"/>
            <ac:inkMk id="47" creationId="{9F5EFED4-2622-7A26-E7E7-59F51758B9C5}"/>
          </ac:inkMkLst>
        </pc:inkChg>
        <pc:inkChg chg="add mod">
          <ac:chgData name="Aniket Chhabra" userId="598e0514-bef3-4e71-b6aa-f2edd6441cff" providerId="ADAL" clId="{E1032901-1DA4-4941-B011-F516E50845DD}" dt="2023-02-12T05:46:18.887" v="53"/>
          <ac:inkMkLst>
            <pc:docMk/>
            <pc:sldMk cId="0" sldId="266"/>
            <ac:inkMk id="48" creationId="{27F11D04-E431-0274-58BD-48542A8D3AD5}"/>
          </ac:inkMkLst>
        </pc:inkChg>
        <pc:inkChg chg="add mod">
          <ac:chgData name="Aniket Chhabra" userId="598e0514-bef3-4e71-b6aa-f2edd6441cff" providerId="ADAL" clId="{E1032901-1DA4-4941-B011-F516E50845DD}" dt="2023-02-12T05:46:25.653" v="56"/>
          <ac:inkMkLst>
            <pc:docMk/>
            <pc:sldMk cId="0" sldId="266"/>
            <ac:inkMk id="50" creationId="{F4B58935-9985-142F-0306-DA32EA4CA0AF}"/>
          </ac:inkMkLst>
        </pc:inkChg>
        <pc:inkChg chg="add mod">
          <ac:chgData name="Aniket Chhabra" userId="598e0514-bef3-4e71-b6aa-f2edd6441cff" providerId="ADAL" clId="{E1032901-1DA4-4941-B011-F516E50845DD}" dt="2023-02-12T05:46:25.653" v="56"/>
          <ac:inkMkLst>
            <pc:docMk/>
            <pc:sldMk cId="0" sldId="266"/>
            <ac:inkMk id="51" creationId="{333B54EF-4067-1E00-3265-8C44AC3F261A}"/>
          </ac:inkMkLst>
        </pc:inkChg>
        <pc:inkChg chg="add mod">
          <ac:chgData name="Aniket Chhabra" userId="598e0514-bef3-4e71-b6aa-f2edd6441cff" providerId="ADAL" clId="{E1032901-1DA4-4941-B011-F516E50845DD}" dt="2023-02-12T05:49:20.720" v="124"/>
          <ac:inkMkLst>
            <pc:docMk/>
            <pc:sldMk cId="0" sldId="266"/>
            <ac:inkMk id="53" creationId="{F5CB675E-D3B7-D102-08D8-781CDA52DB27}"/>
          </ac:inkMkLst>
        </pc:inkChg>
        <pc:inkChg chg="add mod">
          <ac:chgData name="Aniket Chhabra" userId="598e0514-bef3-4e71-b6aa-f2edd6441cff" providerId="ADAL" clId="{E1032901-1DA4-4941-B011-F516E50845DD}" dt="2023-02-12T05:49:20.720" v="124"/>
          <ac:inkMkLst>
            <pc:docMk/>
            <pc:sldMk cId="0" sldId="266"/>
            <ac:inkMk id="54" creationId="{EC186D24-CB96-3E86-B1B8-16B217924B2C}"/>
          </ac:inkMkLst>
        </pc:inkChg>
        <pc:inkChg chg="add mod">
          <ac:chgData name="Aniket Chhabra" userId="598e0514-bef3-4e71-b6aa-f2edd6441cff" providerId="ADAL" clId="{E1032901-1DA4-4941-B011-F516E50845DD}" dt="2023-02-12T05:49:20.720" v="124"/>
          <ac:inkMkLst>
            <pc:docMk/>
            <pc:sldMk cId="0" sldId="266"/>
            <ac:inkMk id="55" creationId="{5296C5CE-5E60-867D-084B-90BF560035AE}"/>
          </ac:inkMkLst>
        </pc:inkChg>
        <pc:inkChg chg="add mod">
          <ac:chgData name="Aniket Chhabra" userId="598e0514-bef3-4e71-b6aa-f2edd6441cff" providerId="ADAL" clId="{E1032901-1DA4-4941-B011-F516E50845DD}" dt="2023-02-12T05:49:20.720" v="124"/>
          <ac:inkMkLst>
            <pc:docMk/>
            <pc:sldMk cId="0" sldId="266"/>
            <ac:inkMk id="56" creationId="{707E1782-9915-6CE8-A4B9-21ED15434665}"/>
          </ac:inkMkLst>
        </pc:inkChg>
        <pc:inkChg chg="add mod">
          <ac:chgData name="Aniket Chhabra" userId="598e0514-bef3-4e71-b6aa-f2edd6441cff" providerId="ADAL" clId="{E1032901-1DA4-4941-B011-F516E50845DD}" dt="2023-02-12T05:49:20.720" v="124"/>
          <ac:inkMkLst>
            <pc:docMk/>
            <pc:sldMk cId="0" sldId="266"/>
            <ac:inkMk id="58" creationId="{FA61F9B7-9266-5D51-456D-C92616A89365}"/>
          </ac:inkMkLst>
        </pc:inkChg>
        <pc:inkChg chg="add mod">
          <ac:chgData name="Aniket Chhabra" userId="598e0514-bef3-4e71-b6aa-f2edd6441cff" providerId="ADAL" clId="{E1032901-1DA4-4941-B011-F516E50845DD}" dt="2023-02-12T05:49:20.720" v="124"/>
          <ac:inkMkLst>
            <pc:docMk/>
            <pc:sldMk cId="0" sldId="266"/>
            <ac:inkMk id="60" creationId="{69D1BB18-D05F-EC42-59D7-4B7B3B7333D4}"/>
          </ac:inkMkLst>
        </pc:inkChg>
        <pc:inkChg chg="add mod">
          <ac:chgData name="Aniket Chhabra" userId="598e0514-bef3-4e71-b6aa-f2edd6441cff" providerId="ADAL" clId="{E1032901-1DA4-4941-B011-F516E50845DD}" dt="2023-02-12T05:49:20.720" v="124"/>
          <ac:inkMkLst>
            <pc:docMk/>
            <pc:sldMk cId="0" sldId="266"/>
            <ac:inkMk id="61" creationId="{96A6160E-7E52-1048-E058-773DEF577038}"/>
          </ac:inkMkLst>
        </pc:inkChg>
        <pc:inkChg chg="add">
          <ac:chgData name="Aniket Chhabra" userId="598e0514-bef3-4e71-b6aa-f2edd6441cff" providerId="ADAL" clId="{E1032901-1DA4-4941-B011-F516E50845DD}" dt="2023-02-12T05:48:35.322" v="96" actId="9405"/>
          <ac:inkMkLst>
            <pc:docMk/>
            <pc:sldMk cId="0" sldId="266"/>
            <ac:inkMk id="63" creationId="{52ED4899-B2CF-DBB1-D6DD-CF92D981CA42}"/>
          </ac:inkMkLst>
        </pc:inkChg>
        <pc:inkChg chg="add">
          <ac:chgData name="Aniket Chhabra" userId="598e0514-bef3-4e71-b6aa-f2edd6441cff" providerId="ADAL" clId="{E1032901-1DA4-4941-B011-F516E50845DD}" dt="2023-02-12T05:48:35.806" v="97" actId="9405"/>
          <ac:inkMkLst>
            <pc:docMk/>
            <pc:sldMk cId="0" sldId="266"/>
            <ac:inkMk id="64" creationId="{099A4084-86FB-519D-596E-FA442BF48B3C}"/>
          </ac:inkMkLst>
        </pc:inkChg>
        <pc:inkChg chg="add mod">
          <ac:chgData name="Aniket Chhabra" userId="598e0514-bef3-4e71-b6aa-f2edd6441cff" providerId="ADAL" clId="{E1032901-1DA4-4941-B011-F516E50845DD}" dt="2023-02-12T05:49:20.720" v="124"/>
          <ac:inkMkLst>
            <pc:docMk/>
            <pc:sldMk cId="0" sldId="266"/>
            <ac:inkMk id="65" creationId="{9456259A-0CD5-5274-A2C4-55880514BC54}"/>
          </ac:inkMkLst>
        </pc:inkChg>
        <pc:inkChg chg="add">
          <ac:chgData name="Aniket Chhabra" userId="598e0514-bef3-4e71-b6aa-f2edd6441cff" providerId="ADAL" clId="{E1032901-1DA4-4941-B011-F516E50845DD}" dt="2023-02-12T05:55:57.309" v="541" actId="9405"/>
          <ac:inkMkLst>
            <pc:docMk/>
            <pc:sldMk cId="0" sldId="266"/>
            <ac:inkMk id="67" creationId="{C6AC22B3-47DF-3F58-186E-4B8DD2ACD584}"/>
          </ac:inkMkLst>
        </pc:inkChg>
      </pc:sldChg>
      <pc:sldChg chg="addSp delSp modSp mod">
        <pc:chgData name="Aniket Chhabra" userId="598e0514-bef3-4e71-b6aa-f2edd6441cff" providerId="ADAL" clId="{E1032901-1DA4-4941-B011-F516E50845DD}" dt="2023-02-12T05:48:02.659" v="90" actId="9405"/>
        <pc:sldMkLst>
          <pc:docMk/>
          <pc:sldMk cId="0" sldId="267"/>
        </pc:sldMkLst>
        <pc:grpChg chg="mod">
          <ac:chgData name="Aniket Chhabra" userId="598e0514-bef3-4e71-b6aa-f2edd6441cff" providerId="ADAL" clId="{E1032901-1DA4-4941-B011-F516E50845DD}" dt="2023-02-12T01:58:48.231" v="3"/>
          <ac:grpSpMkLst>
            <pc:docMk/>
            <pc:sldMk cId="0" sldId="267"/>
            <ac:grpSpMk id="5" creationId="{CCB6E461-426C-7319-990B-D60818E218A8}"/>
          </ac:grpSpMkLst>
        </pc:grpChg>
        <pc:grpChg chg="mod">
          <ac:chgData name="Aniket Chhabra" userId="598e0514-bef3-4e71-b6aa-f2edd6441cff" providerId="ADAL" clId="{E1032901-1DA4-4941-B011-F516E50845DD}" dt="2023-02-12T05:47:10.389" v="69"/>
          <ac:grpSpMkLst>
            <pc:docMk/>
            <pc:sldMk cId="0" sldId="267"/>
            <ac:grpSpMk id="8" creationId="{5F57C2C3-FD62-B0DB-D584-3D1DD7D90323}"/>
          </ac:grpSpMkLst>
        </pc:grpChg>
        <pc:grpChg chg="del mod">
          <ac:chgData name="Aniket Chhabra" userId="598e0514-bef3-4e71-b6aa-f2edd6441cff" providerId="ADAL" clId="{E1032901-1DA4-4941-B011-F516E50845DD}" dt="2023-02-12T05:47:30.278" v="77"/>
          <ac:grpSpMkLst>
            <pc:docMk/>
            <pc:sldMk cId="0" sldId="267"/>
            <ac:grpSpMk id="14" creationId="{C169CE83-CEC0-1951-711B-E65A12C420FD}"/>
          </ac:grpSpMkLst>
        </pc:grpChg>
        <pc:grpChg chg="mod">
          <ac:chgData name="Aniket Chhabra" userId="598e0514-bef3-4e71-b6aa-f2edd6441cff" providerId="ADAL" clId="{E1032901-1DA4-4941-B011-F516E50845DD}" dt="2023-02-12T05:47:30.278" v="77"/>
          <ac:grpSpMkLst>
            <pc:docMk/>
            <pc:sldMk cId="0" sldId="267"/>
            <ac:grpSpMk id="16" creationId="{E333A915-6F28-51C1-BF5F-552083030D3C}"/>
          </ac:grpSpMkLst>
        </pc:grpChg>
        <pc:grpChg chg="mod">
          <ac:chgData name="Aniket Chhabra" userId="598e0514-bef3-4e71-b6aa-f2edd6441cff" providerId="ADAL" clId="{E1032901-1DA4-4941-B011-F516E50845DD}" dt="2023-02-12T05:47:32.861" v="83"/>
          <ac:grpSpMkLst>
            <pc:docMk/>
            <pc:sldMk cId="0" sldId="267"/>
            <ac:grpSpMk id="22" creationId="{FF2193B3-6298-270F-7A63-15356A14367F}"/>
          </ac:grpSpMkLst>
        </pc:grpChg>
        <pc:grpChg chg="mod">
          <ac:chgData name="Aniket Chhabra" userId="598e0514-bef3-4e71-b6aa-f2edd6441cff" providerId="ADAL" clId="{E1032901-1DA4-4941-B011-F516E50845DD}" dt="2023-02-12T05:47:32.861" v="83"/>
          <ac:grpSpMkLst>
            <pc:docMk/>
            <pc:sldMk cId="0" sldId="267"/>
            <ac:grpSpMk id="23" creationId="{2F9E54BE-15DE-6A49-4C52-4EC38FBD7937}"/>
          </ac:grpSpMkLst>
        </pc:grpChg>
        <pc:grpChg chg="mod">
          <ac:chgData name="Aniket Chhabra" userId="598e0514-bef3-4e71-b6aa-f2edd6441cff" providerId="ADAL" clId="{E1032901-1DA4-4941-B011-F516E50845DD}" dt="2023-02-12T05:47:58.857" v="87"/>
          <ac:grpSpMkLst>
            <pc:docMk/>
            <pc:sldMk cId="0" sldId="267"/>
            <ac:grpSpMk id="27" creationId="{066A36F1-D475-5986-8144-14C194E5087E}"/>
          </ac:grpSpMkLst>
        </pc:grpChg>
        <pc:inkChg chg="add mod">
          <ac:chgData name="Aniket Chhabra" userId="598e0514-bef3-4e71-b6aa-f2edd6441cff" providerId="ADAL" clId="{E1032901-1DA4-4941-B011-F516E50845DD}" dt="2023-02-12T01:58:48.231" v="3"/>
          <ac:inkMkLst>
            <pc:docMk/>
            <pc:sldMk cId="0" sldId="267"/>
            <ac:inkMk id="2" creationId="{D545488D-D99B-0C8B-0767-12B81B33CD3D}"/>
          </ac:inkMkLst>
        </pc:inkChg>
        <pc:inkChg chg="add mod">
          <ac:chgData name="Aniket Chhabra" userId="598e0514-bef3-4e71-b6aa-f2edd6441cff" providerId="ADAL" clId="{E1032901-1DA4-4941-B011-F516E50845DD}" dt="2023-02-12T01:58:48.231" v="3"/>
          <ac:inkMkLst>
            <pc:docMk/>
            <pc:sldMk cId="0" sldId="267"/>
            <ac:inkMk id="3" creationId="{C914F388-74F3-D480-5F9D-E7B670DA0FD0}"/>
          </ac:inkMkLst>
        </pc:inkChg>
        <pc:inkChg chg="add mod">
          <ac:chgData name="Aniket Chhabra" userId="598e0514-bef3-4e71-b6aa-f2edd6441cff" providerId="ADAL" clId="{E1032901-1DA4-4941-B011-F516E50845DD}" dt="2023-02-12T01:58:48.231" v="3"/>
          <ac:inkMkLst>
            <pc:docMk/>
            <pc:sldMk cId="0" sldId="267"/>
            <ac:inkMk id="4" creationId="{31114FAD-B6DC-CAC4-368C-2CD9B6E91265}"/>
          </ac:inkMkLst>
        </pc:inkChg>
        <pc:inkChg chg="add mod">
          <ac:chgData name="Aniket Chhabra" userId="598e0514-bef3-4e71-b6aa-f2edd6441cff" providerId="ADAL" clId="{E1032901-1DA4-4941-B011-F516E50845DD}" dt="2023-02-12T05:47:10.389" v="69"/>
          <ac:inkMkLst>
            <pc:docMk/>
            <pc:sldMk cId="0" sldId="267"/>
            <ac:inkMk id="6" creationId="{D5554CC4-A9A4-7136-70B2-A162914C2DFD}"/>
          </ac:inkMkLst>
        </pc:inkChg>
        <pc:inkChg chg="add mod">
          <ac:chgData name="Aniket Chhabra" userId="598e0514-bef3-4e71-b6aa-f2edd6441cff" providerId="ADAL" clId="{E1032901-1DA4-4941-B011-F516E50845DD}" dt="2023-02-12T05:47:10.389" v="69"/>
          <ac:inkMkLst>
            <pc:docMk/>
            <pc:sldMk cId="0" sldId="267"/>
            <ac:inkMk id="7" creationId="{E6D0CFAD-16D6-FFDB-8867-FACA5B684A43}"/>
          </ac:inkMkLst>
        </pc:inkChg>
        <pc:inkChg chg="add">
          <ac:chgData name="Aniket Chhabra" userId="598e0514-bef3-4e71-b6aa-f2edd6441cff" providerId="ADAL" clId="{E1032901-1DA4-4941-B011-F516E50845DD}" dt="2023-02-12T05:47:19.583" v="70" actId="9405"/>
          <ac:inkMkLst>
            <pc:docMk/>
            <pc:sldMk cId="0" sldId="267"/>
            <ac:inkMk id="9" creationId="{75F3A6DE-6F4E-06BE-1D2A-E09955EF66E1}"/>
          </ac:inkMkLst>
        </pc:inkChg>
        <pc:inkChg chg="add">
          <ac:chgData name="Aniket Chhabra" userId="598e0514-bef3-4e71-b6aa-f2edd6441cff" providerId="ADAL" clId="{E1032901-1DA4-4941-B011-F516E50845DD}" dt="2023-02-12T05:47:22.796" v="71" actId="9405"/>
          <ac:inkMkLst>
            <pc:docMk/>
            <pc:sldMk cId="0" sldId="267"/>
            <ac:inkMk id="10" creationId="{66717344-716D-C473-71B4-0AF314CBDDC1}"/>
          </ac:inkMkLst>
        </pc:inkChg>
        <pc:inkChg chg="add">
          <ac:chgData name="Aniket Chhabra" userId="598e0514-bef3-4e71-b6aa-f2edd6441cff" providerId="ADAL" clId="{E1032901-1DA4-4941-B011-F516E50845DD}" dt="2023-02-12T05:47:25.870" v="72" actId="9405"/>
          <ac:inkMkLst>
            <pc:docMk/>
            <pc:sldMk cId="0" sldId="267"/>
            <ac:inkMk id="11" creationId="{30C6BC37-3616-1909-5FAC-832D85508EF6}"/>
          </ac:inkMkLst>
        </pc:inkChg>
        <pc:inkChg chg="add mod">
          <ac:chgData name="Aniket Chhabra" userId="598e0514-bef3-4e71-b6aa-f2edd6441cff" providerId="ADAL" clId="{E1032901-1DA4-4941-B011-F516E50845DD}" dt="2023-02-12T05:47:30.278" v="77"/>
          <ac:inkMkLst>
            <pc:docMk/>
            <pc:sldMk cId="0" sldId="267"/>
            <ac:inkMk id="12" creationId="{75480CFE-DAC6-CA3A-8605-591F818BC62E}"/>
          </ac:inkMkLst>
        </pc:inkChg>
        <pc:inkChg chg="add mod">
          <ac:chgData name="Aniket Chhabra" userId="598e0514-bef3-4e71-b6aa-f2edd6441cff" providerId="ADAL" clId="{E1032901-1DA4-4941-B011-F516E50845DD}" dt="2023-02-12T05:47:30.278" v="77"/>
          <ac:inkMkLst>
            <pc:docMk/>
            <pc:sldMk cId="0" sldId="267"/>
            <ac:inkMk id="13" creationId="{E42A2FF4-0ED2-D07F-BE5B-6C6FC759EE85}"/>
          </ac:inkMkLst>
        </pc:inkChg>
        <pc:inkChg chg="add mod">
          <ac:chgData name="Aniket Chhabra" userId="598e0514-bef3-4e71-b6aa-f2edd6441cff" providerId="ADAL" clId="{E1032901-1DA4-4941-B011-F516E50845DD}" dt="2023-02-12T05:47:30.278" v="77"/>
          <ac:inkMkLst>
            <pc:docMk/>
            <pc:sldMk cId="0" sldId="267"/>
            <ac:inkMk id="15" creationId="{A7608803-AC84-DA29-1F80-3B7E025F1349}"/>
          </ac:inkMkLst>
        </pc:inkChg>
        <pc:inkChg chg="add mod">
          <ac:chgData name="Aniket Chhabra" userId="598e0514-bef3-4e71-b6aa-f2edd6441cff" providerId="ADAL" clId="{E1032901-1DA4-4941-B011-F516E50845DD}" dt="2023-02-12T05:47:32.861" v="83"/>
          <ac:inkMkLst>
            <pc:docMk/>
            <pc:sldMk cId="0" sldId="267"/>
            <ac:inkMk id="17" creationId="{39877713-D957-E234-DF8D-81D2B377C52E}"/>
          </ac:inkMkLst>
        </pc:inkChg>
        <pc:inkChg chg="add mod">
          <ac:chgData name="Aniket Chhabra" userId="598e0514-bef3-4e71-b6aa-f2edd6441cff" providerId="ADAL" clId="{E1032901-1DA4-4941-B011-F516E50845DD}" dt="2023-02-12T05:47:32.861" v="83"/>
          <ac:inkMkLst>
            <pc:docMk/>
            <pc:sldMk cId="0" sldId="267"/>
            <ac:inkMk id="18" creationId="{BF2138E2-21B0-C4B2-8717-A588E1397A99}"/>
          </ac:inkMkLst>
        </pc:inkChg>
        <pc:inkChg chg="add mod">
          <ac:chgData name="Aniket Chhabra" userId="598e0514-bef3-4e71-b6aa-f2edd6441cff" providerId="ADAL" clId="{E1032901-1DA4-4941-B011-F516E50845DD}" dt="2023-02-12T05:47:32.861" v="83"/>
          <ac:inkMkLst>
            <pc:docMk/>
            <pc:sldMk cId="0" sldId="267"/>
            <ac:inkMk id="19" creationId="{00E29E0D-D107-A4D6-CDFB-3EB2D56C278B}"/>
          </ac:inkMkLst>
        </pc:inkChg>
        <pc:inkChg chg="add mod">
          <ac:chgData name="Aniket Chhabra" userId="598e0514-bef3-4e71-b6aa-f2edd6441cff" providerId="ADAL" clId="{E1032901-1DA4-4941-B011-F516E50845DD}" dt="2023-02-12T05:47:32.861" v="83"/>
          <ac:inkMkLst>
            <pc:docMk/>
            <pc:sldMk cId="0" sldId="267"/>
            <ac:inkMk id="20" creationId="{23652702-FB61-1F4D-9B1F-4BAEC07739AC}"/>
          </ac:inkMkLst>
        </pc:inkChg>
        <pc:inkChg chg="add mod">
          <ac:chgData name="Aniket Chhabra" userId="598e0514-bef3-4e71-b6aa-f2edd6441cff" providerId="ADAL" clId="{E1032901-1DA4-4941-B011-F516E50845DD}" dt="2023-02-12T05:47:32.861" v="83"/>
          <ac:inkMkLst>
            <pc:docMk/>
            <pc:sldMk cId="0" sldId="267"/>
            <ac:inkMk id="21" creationId="{5A55AAEF-3B0A-92BB-B71E-3E426335283F}"/>
          </ac:inkMkLst>
        </pc:inkChg>
        <pc:inkChg chg="add">
          <ac:chgData name="Aniket Chhabra" userId="598e0514-bef3-4e71-b6aa-f2edd6441cff" providerId="ADAL" clId="{E1032901-1DA4-4941-B011-F516E50845DD}" dt="2023-02-12T05:47:33.438" v="84" actId="9405"/>
          <ac:inkMkLst>
            <pc:docMk/>
            <pc:sldMk cId="0" sldId="267"/>
            <ac:inkMk id="24" creationId="{7F95C474-1069-BA64-E8A0-8200C8F82199}"/>
          </ac:inkMkLst>
        </pc:inkChg>
        <pc:inkChg chg="add mod">
          <ac:chgData name="Aniket Chhabra" userId="598e0514-bef3-4e71-b6aa-f2edd6441cff" providerId="ADAL" clId="{E1032901-1DA4-4941-B011-F516E50845DD}" dt="2023-02-12T05:47:58.857" v="87"/>
          <ac:inkMkLst>
            <pc:docMk/>
            <pc:sldMk cId="0" sldId="267"/>
            <ac:inkMk id="25" creationId="{4C232A13-73E1-6A11-4657-6291A449BEDE}"/>
          </ac:inkMkLst>
        </pc:inkChg>
        <pc:inkChg chg="add mod">
          <ac:chgData name="Aniket Chhabra" userId="598e0514-bef3-4e71-b6aa-f2edd6441cff" providerId="ADAL" clId="{E1032901-1DA4-4941-B011-F516E50845DD}" dt="2023-02-12T05:47:58.857" v="87"/>
          <ac:inkMkLst>
            <pc:docMk/>
            <pc:sldMk cId="0" sldId="267"/>
            <ac:inkMk id="26" creationId="{96EBC615-85AE-A176-02E1-19746D7BAEDC}"/>
          </ac:inkMkLst>
        </pc:inkChg>
        <pc:inkChg chg="add">
          <ac:chgData name="Aniket Chhabra" userId="598e0514-bef3-4e71-b6aa-f2edd6441cff" providerId="ADAL" clId="{E1032901-1DA4-4941-B011-F516E50845DD}" dt="2023-02-12T05:47:59.918" v="88" actId="9405"/>
          <ac:inkMkLst>
            <pc:docMk/>
            <pc:sldMk cId="0" sldId="267"/>
            <ac:inkMk id="28" creationId="{3C1926F1-912E-7C13-DD17-DC0CA446E515}"/>
          </ac:inkMkLst>
        </pc:inkChg>
        <pc:inkChg chg="add">
          <ac:chgData name="Aniket Chhabra" userId="598e0514-bef3-4e71-b6aa-f2edd6441cff" providerId="ADAL" clId="{E1032901-1DA4-4941-B011-F516E50845DD}" dt="2023-02-12T05:48:00.699" v="89" actId="9405"/>
          <ac:inkMkLst>
            <pc:docMk/>
            <pc:sldMk cId="0" sldId="267"/>
            <ac:inkMk id="29" creationId="{95885951-C0D0-A3F3-7E39-868EB2076459}"/>
          </ac:inkMkLst>
        </pc:inkChg>
        <pc:inkChg chg="add">
          <ac:chgData name="Aniket Chhabra" userId="598e0514-bef3-4e71-b6aa-f2edd6441cff" providerId="ADAL" clId="{E1032901-1DA4-4941-B011-F516E50845DD}" dt="2023-02-12T05:48:02.659" v="90" actId="9405"/>
          <ac:inkMkLst>
            <pc:docMk/>
            <pc:sldMk cId="0" sldId="267"/>
            <ac:inkMk id="30" creationId="{8AADD089-8394-DD71-5129-70245016600B}"/>
          </ac:inkMkLst>
        </pc:inkChg>
      </pc:sldChg>
      <pc:sldChg chg="addSp delSp modSp mod">
        <pc:chgData name="Aniket Chhabra" userId="598e0514-bef3-4e71-b6aa-f2edd6441cff" providerId="ADAL" clId="{E1032901-1DA4-4941-B011-F516E50845DD}" dt="2023-02-12T06:04:09.048" v="631"/>
        <pc:sldMkLst>
          <pc:docMk/>
          <pc:sldMk cId="0" sldId="268"/>
        </pc:sldMkLst>
        <pc:grpChg chg="mod">
          <ac:chgData name="Aniket Chhabra" userId="598e0514-bef3-4e71-b6aa-f2edd6441cff" providerId="ADAL" clId="{E1032901-1DA4-4941-B011-F516E50845DD}" dt="2023-02-12T05:48:31.455" v="94"/>
          <ac:grpSpMkLst>
            <pc:docMk/>
            <pc:sldMk cId="0" sldId="268"/>
            <ac:grpSpMk id="9" creationId="{EFB3AC57-0433-846B-333F-2B997557F370}"/>
          </ac:grpSpMkLst>
        </pc:grpChg>
        <pc:grpChg chg="del mod">
          <ac:chgData name="Aniket Chhabra" userId="598e0514-bef3-4e71-b6aa-f2edd6441cff" providerId="ADAL" clId="{E1032901-1DA4-4941-B011-F516E50845DD}" dt="2023-02-12T05:48:41.659" v="102"/>
          <ac:grpSpMkLst>
            <pc:docMk/>
            <pc:sldMk cId="0" sldId="268"/>
            <ac:grpSpMk id="19" creationId="{4D9FFBE8-3809-2744-55D4-216F2F660DBA}"/>
          </ac:grpSpMkLst>
        </pc:grpChg>
        <pc:grpChg chg="del mod">
          <ac:chgData name="Aniket Chhabra" userId="598e0514-bef3-4e71-b6aa-f2edd6441cff" providerId="ADAL" clId="{E1032901-1DA4-4941-B011-F516E50845DD}" dt="2023-02-12T05:48:43.445" v="104"/>
          <ac:grpSpMkLst>
            <pc:docMk/>
            <pc:sldMk cId="0" sldId="268"/>
            <ac:grpSpMk id="33" creationId="{2F50001F-2C1A-143D-AF14-27E75716C4D4}"/>
          </ac:grpSpMkLst>
        </pc:grpChg>
        <pc:grpChg chg="del mod">
          <ac:chgData name="Aniket Chhabra" userId="598e0514-bef3-4e71-b6aa-f2edd6441cff" providerId="ADAL" clId="{E1032901-1DA4-4941-B011-F516E50845DD}" dt="2023-02-12T05:48:44.268" v="106"/>
          <ac:grpSpMkLst>
            <pc:docMk/>
            <pc:sldMk cId="0" sldId="268"/>
            <ac:grpSpMk id="35" creationId="{D7713F5F-A81A-53F0-A5E1-3AC703295DE6}"/>
          </ac:grpSpMkLst>
        </pc:grpChg>
        <pc:grpChg chg="del mod">
          <ac:chgData name="Aniket Chhabra" userId="598e0514-bef3-4e71-b6aa-f2edd6441cff" providerId="ADAL" clId="{E1032901-1DA4-4941-B011-F516E50845DD}" dt="2023-02-12T05:48:45.844" v="108"/>
          <ac:grpSpMkLst>
            <pc:docMk/>
            <pc:sldMk cId="0" sldId="268"/>
            <ac:grpSpMk id="37" creationId="{F4D58AE3-B347-64C8-8101-0B6DFAD76CC8}"/>
          </ac:grpSpMkLst>
        </pc:grpChg>
        <pc:grpChg chg="del mod">
          <ac:chgData name="Aniket Chhabra" userId="598e0514-bef3-4e71-b6aa-f2edd6441cff" providerId="ADAL" clId="{E1032901-1DA4-4941-B011-F516E50845DD}" dt="2023-02-12T05:48:47.010" v="110"/>
          <ac:grpSpMkLst>
            <pc:docMk/>
            <pc:sldMk cId="0" sldId="268"/>
            <ac:grpSpMk id="39" creationId="{DF97D2B6-7230-2B24-C0F9-4222BFBB8347}"/>
          </ac:grpSpMkLst>
        </pc:grpChg>
        <pc:grpChg chg="del mod">
          <ac:chgData name="Aniket Chhabra" userId="598e0514-bef3-4e71-b6aa-f2edd6441cff" providerId="ADAL" clId="{E1032901-1DA4-4941-B011-F516E50845DD}" dt="2023-02-12T05:48:47.935" v="112"/>
          <ac:grpSpMkLst>
            <pc:docMk/>
            <pc:sldMk cId="0" sldId="268"/>
            <ac:grpSpMk id="41" creationId="{8ACC19BD-0596-4DDE-F785-5BC22A4B86A6}"/>
          </ac:grpSpMkLst>
        </pc:grpChg>
        <pc:grpChg chg="mod">
          <ac:chgData name="Aniket Chhabra" userId="598e0514-bef3-4e71-b6aa-f2edd6441cff" providerId="ADAL" clId="{E1032901-1DA4-4941-B011-F516E50845DD}" dt="2023-02-12T05:48:47.935" v="112"/>
          <ac:grpSpMkLst>
            <pc:docMk/>
            <pc:sldMk cId="0" sldId="268"/>
            <ac:grpSpMk id="43" creationId="{2BEF1612-673F-8037-1D11-41D15A1E7504}"/>
          </ac:grpSpMkLst>
        </pc:grpChg>
        <pc:grpChg chg="mod">
          <ac:chgData name="Aniket Chhabra" userId="598e0514-bef3-4e71-b6aa-f2edd6441cff" providerId="ADAL" clId="{E1032901-1DA4-4941-B011-F516E50845DD}" dt="2023-02-12T05:48:55.822" v="117"/>
          <ac:grpSpMkLst>
            <pc:docMk/>
            <pc:sldMk cId="0" sldId="268"/>
            <ac:grpSpMk id="48" creationId="{151BF404-8156-7B03-0A65-1053089DFB5C}"/>
          </ac:grpSpMkLst>
        </pc:grpChg>
        <pc:grpChg chg="mod">
          <ac:chgData name="Aniket Chhabra" userId="598e0514-bef3-4e71-b6aa-f2edd6441cff" providerId="ADAL" clId="{E1032901-1DA4-4941-B011-F516E50845DD}" dt="2023-02-12T06:04:09.048" v="631"/>
          <ac:grpSpMkLst>
            <pc:docMk/>
            <pc:sldMk cId="0" sldId="268"/>
            <ac:grpSpMk id="53" creationId="{56D9469B-2BC6-CE4F-42DA-7BBB6B3F99F9}"/>
          </ac:grpSpMkLst>
        </pc:grpChg>
        <pc:inkChg chg="add mod">
          <ac:chgData name="Aniket Chhabra" userId="598e0514-bef3-4e71-b6aa-f2edd6441cff" providerId="ADAL" clId="{E1032901-1DA4-4941-B011-F516E50845DD}" dt="2023-02-12T05:48:31.455" v="94"/>
          <ac:inkMkLst>
            <pc:docMk/>
            <pc:sldMk cId="0" sldId="268"/>
            <ac:inkMk id="5" creationId="{29CB15DB-7692-B2C9-0AEF-806E7CBBB887}"/>
          </ac:inkMkLst>
        </pc:inkChg>
        <pc:inkChg chg="add mod">
          <ac:chgData name="Aniket Chhabra" userId="598e0514-bef3-4e71-b6aa-f2edd6441cff" providerId="ADAL" clId="{E1032901-1DA4-4941-B011-F516E50845DD}" dt="2023-02-12T05:48:31.455" v="94"/>
          <ac:inkMkLst>
            <pc:docMk/>
            <pc:sldMk cId="0" sldId="268"/>
            <ac:inkMk id="6" creationId="{0DAF90B5-88A6-13B4-879B-767E3D972832}"/>
          </ac:inkMkLst>
        </pc:inkChg>
        <pc:inkChg chg="add mod">
          <ac:chgData name="Aniket Chhabra" userId="598e0514-bef3-4e71-b6aa-f2edd6441cff" providerId="ADAL" clId="{E1032901-1DA4-4941-B011-F516E50845DD}" dt="2023-02-12T05:48:31.455" v="94"/>
          <ac:inkMkLst>
            <pc:docMk/>
            <pc:sldMk cId="0" sldId="268"/>
            <ac:inkMk id="7" creationId="{B02F95EE-484F-1E71-5BBB-EA7AB6131E10}"/>
          </ac:inkMkLst>
        </pc:inkChg>
        <pc:inkChg chg="add">
          <ac:chgData name="Aniket Chhabra" userId="598e0514-bef3-4e71-b6aa-f2edd6441cff" providerId="ADAL" clId="{E1032901-1DA4-4941-B011-F516E50845DD}" dt="2023-02-12T05:48:32.644" v="95" actId="9405"/>
          <ac:inkMkLst>
            <pc:docMk/>
            <pc:sldMk cId="0" sldId="268"/>
            <ac:inkMk id="11" creationId="{9A466DCC-7635-0376-1622-97F0E929E394}"/>
          </ac:inkMkLst>
        </pc:inkChg>
        <pc:inkChg chg="add mod">
          <ac:chgData name="Aniket Chhabra" userId="598e0514-bef3-4e71-b6aa-f2edd6441cff" providerId="ADAL" clId="{E1032901-1DA4-4941-B011-F516E50845DD}" dt="2023-02-12T05:48:47.935" v="112"/>
          <ac:inkMkLst>
            <pc:docMk/>
            <pc:sldMk cId="0" sldId="268"/>
            <ac:inkMk id="12" creationId="{35823F20-B06D-B705-C9E8-DD8D620AB326}"/>
          </ac:inkMkLst>
        </pc:inkChg>
        <pc:inkChg chg="add mod">
          <ac:chgData name="Aniket Chhabra" userId="598e0514-bef3-4e71-b6aa-f2edd6441cff" providerId="ADAL" clId="{E1032901-1DA4-4941-B011-F516E50845DD}" dt="2023-02-12T05:48:47.935" v="112"/>
          <ac:inkMkLst>
            <pc:docMk/>
            <pc:sldMk cId="0" sldId="268"/>
            <ac:inkMk id="13" creationId="{916FCAEC-C43A-3DC1-94FB-2606BDE0FBF0}"/>
          </ac:inkMkLst>
        </pc:inkChg>
        <pc:inkChg chg="add mod">
          <ac:chgData name="Aniket Chhabra" userId="598e0514-bef3-4e71-b6aa-f2edd6441cff" providerId="ADAL" clId="{E1032901-1DA4-4941-B011-F516E50845DD}" dt="2023-02-12T05:48:47.935" v="112"/>
          <ac:inkMkLst>
            <pc:docMk/>
            <pc:sldMk cId="0" sldId="268"/>
            <ac:inkMk id="32" creationId="{FB1EB1A2-20F1-BB40-416B-737B3DCA6805}"/>
          </ac:inkMkLst>
        </pc:inkChg>
        <pc:inkChg chg="add mod">
          <ac:chgData name="Aniket Chhabra" userId="598e0514-bef3-4e71-b6aa-f2edd6441cff" providerId="ADAL" clId="{E1032901-1DA4-4941-B011-F516E50845DD}" dt="2023-02-12T05:48:47.935" v="112"/>
          <ac:inkMkLst>
            <pc:docMk/>
            <pc:sldMk cId="0" sldId="268"/>
            <ac:inkMk id="34" creationId="{C7A09A83-8994-FCA2-7C84-ADA3C73B0217}"/>
          </ac:inkMkLst>
        </pc:inkChg>
        <pc:inkChg chg="add mod">
          <ac:chgData name="Aniket Chhabra" userId="598e0514-bef3-4e71-b6aa-f2edd6441cff" providerId="ADAL" clId="{E1032901-1DA4-4941-B011-F516E50845DD}" dt="2023-02-12T05:48:47.935" v="112"/>
          <ac:inkMkLst>
            <pc:docMk/>
            <pc:sldMk cId="0" sldId="268"/>
            <ac:inkMk id="36" creationId="{D22B43B2-C356-82D0-81C9-4D33273C6225}"/>
          </ac:inkMkLst>
        </pc:inkChg>
        <pc:inkChg chg="add mod">
          <ac:chgData name="Aniket Chhabra" userId="598e0514-bef3-4e71-b6aa-f2edd6441cff" providerId="ADAL" clId="{E1032901-1DA4-4941-B011-F516E50845DD}" dt="2023-02-12T05:48:47.935" v="112"/>
          <ac:inkMkLst>
            <pc:docMk/>
            <pc:sldMk cId="0" sldId="268"/>
            <ac:inkMk id="38" creationId="{4F1989C2-4315-84A0-4698-6C867DA37F61}"/>
          </ac:inkMkLst>
        </pc:inkChg>
        <pc:inkChg chg="add mod">
          <ac:chgData name="Aniket Chhabra" userId="598e0514-bef3-4e71-b6aa-f2edd6441cff" providerId="ADAL" clId="{E1032901-1DA4-4941-B011-F516E50845DD}" dt="2023-02-12T05:48:47.935" v="112"/>
          <ac:inkMkLst>
            <pc:docMk/>
            <pc:sldMk cId="0" sldId="268"/>
            <ac:inkMk id="40" creationId="{9E9A2CF1-85E7-B3BF-C5DE-B6A8494A9DC2}"/>
          </ac:inkMkLst>
        </pc:inkChg>
        <pc:inkChg chg="add mod">
          <ac:chgData name="Aniket Chhabra" userId="598e0514-bef3-4e71-b6aa-f2edd6441cff" providerId="ADAL" clId="{E1032901-1DA4-4941-B011-F516E50845DD}" dt="2023-02-12T05:48:47.935" v="112"/>
          <ac:inkMkLst>
            <pc:docMk/>
            <pc:sldMk cId="0" sldId="268"/>
            <ac:inkMk id="42" creationId="{3F8F9B64-4116-EDFF-49B5-6593427EA89B}"/>
          </ac:inkMkLst>
        </pc:inkChg>
        <pc:inkChg chg="add">
          <ac:chgData name="Aniket Chhabra" userId="598e0514-bef3-4e71-b6aa-f2edd6441cff" providerId="ADAL" clId="{E1032901-1DA4-4941-B011-F516E50845DD}" dt="2023-02-12T05:48:52.636" v="113" actId="9405"/>
          <ac:inkMkLst>
            <pc:docMk/>
            <pc:sldMk cId="0" sldId="268"/>
            <ac:inkMk id="44" creationId="{6000DEAD-2246-2234-3405-8980D2BB15F4}"/>
          </ac:inkMkLst>
        </pc:inkChg>
        <pc:inkChg chg="add mod">
          <ac:chgData name="Aniket Chhabra" userId="598e0514-bef3-4e71-b6aa-f2edd6441cff" providerId="ADAL" clId="{E1032901-1DA4-4941-B011-F516E50845DD}" dt="2023-02-12T05:48:55.822" v="117"/>
          <ac:inkMkLst>
            <pc:docMk/>
            <pc:sldMk cId="0" sldId="268"/>
            <ac:inkMk id="45" creationId="{6ACE96D3-1C47-E768-359E-3C218DA798C8}"/>
          </ac:inkMkLst>
        </pc:inkChg>
        <pc:inkChg chg="add mod">
          <ac:chgData name="Aniket Chhabra" userId="598e0514-bef3-4e71-b6aa-f2edd6441cff" providerId="ADAL" clId="{E1032901-1DA4-4941-B011-F516E50845DD}" dt="2023-02-12T05:48:55.822" v="117"/>
          <ac:inkMkLst>
            <pc:docMk/>
            <pc:sldMk cId="0" sldId="268"/>
            <ac:inkMk id="46" creationId="{9022103C-4CD8-C520-2E1E-4895111DB821}"/>
          </ac:inkMkLst>
        </pc:inkChg>
        <pc:inkChg chg="add mod">
          <ac:chgData name="Aniket Chhabra" userId="598e0514-bef3-4e71-b6aa-f2edd6441cff" providerId="ADAL" clId="{E1032901-1DA4-4941-B011-F516E50845DD}" dt="2023-02-12T05:48:55.822" v="117"/>
          <ac:inkMkLst>
            <pc:docMk/>
            <pc:sldMk cId="0" sldId="268"/>
            <ac:inkMk id="47" creationId="{A7E1F5A5-25B4-04BF-66B5-3F915DADED2F}"/>
          </ac:inkMkLst>
        </pc:inkChg>
        <pc:inkChg chg="add">
          <ac:chgData name="Aniket Chhabra" userId="598e0514-bef3-4e71-b6aa-f2edd6441cff" providerId="ADAL" clId="{E1032901-1DA4-4941-B011-F516E50845DD}" dt="2023-02-12T06:04:06.203" v="627" actId="9405"/>
          <ac:inkMkLst>
            <pc:docMk/>
            <pc:sldMk cId="0" sldId="268"/>
            <ac:inkMk id="49" creationId="{DCB6524B-2CB1-A1F9-E2AC-AA50D909C27C}"/>
          </ac:inkMkLst>
        </pc:inkChg>
        <pc:inkChg chg="add">
          <ac:chgData name="Aniket Chhabra" userId="598e0514-bef3-4e71-b6aa-f2edd6441cff" providerId="ADAL" clId="{E1032901-1DA4-4941-B011-F516E50845DD}" dt="2023-02-12T06:04:06.958" v="628" actId="9405"/>
          <ac:inkMkLst>
            <pc:docMk/>
            <pc:sldMk cId="0" sldId="268"/>
            <ac:inkMk id="50" creationId="{D49D193E-2277-B28E-87B1-175880CE49EA}"/>
          </ac:inkMkLst>
        </pc:inkChg>
        <pc:inkChg chg="add mod">
          <ac:chgData name="Aniket Chhabra" userId="598e0514-bef3-4e71-b6aa-f2edd6441cff" providerId="ADAL" clId="{E1032901-1DA4-4941-B011-F516E50845DD}" dt="2023-02-12T06:04:09.048" v="631"/>
          <ac:inkMkLst>
            <pc:docMk/>
            <pc:sldMk cId="0" sldId="268"/>
            <ac:inkMk id="51" creationId="{2D6F1E9B-1CAB-A62C-96A9-1F18CD63B478}"/>
          </ac:inkMkLst>
        </pc:inkChg>
        <pc:inkChg chg="add mod">
          <ac:chgData name="Aniket Chhabra" userId="598e0514-bef3-4e71-b6aa-f2edd6441cff" providerId="ADAL" clId="{E1032901-1DA4-4941-B011-F516E50845DD}" dt="2023-02-12T06:04:09.048" v="631"/>
          <ac:inkMkLst>
            <pc:docMk/>
            <pc:sldMk cId="0" sldId="268"/>
            <ac:inkMk id="52" creationId="{61DC32F1-4F68-C5C9-123B-D0F8E8AC3A03}"/>
          </ac:inkMkLst>
        </pc:inkChg>
      </pc:sldChg>
      <pc:sldChg chg="addSp delSp modSp mod ord">
        <pc:chgData name="Aniket Chhabra" userId="598e0514-bef3-4e71-b6aa-f2edd6441cff" providerId="ADAL" clId="{E1032901-1DA4-4941-B011-F516E50845DD}" dt="2023-02-12T05:54:16.497" v="421"/>
        <pc:sldMkLst>
          <pc:docMk/>
          <pc:sldMk cId="0" sldId="269"/>
        </pc:sldMkLst>
        <pc:grpChg chg="del mod">
          <ac:chgData name="Aniket Chhabra" userId="598e0514-bef3-4e71-b6aa-f2edd6441cff" providerId="ADAL" clId="{E1032901-1DA4-4941-B011-F516E50845DD}" dt="2023-02-12T05:51:50.165" v="287"/>
          <ac:grpSpMkLst>
            <pc:docMk/>
            <pc:sldMk cId="0" sldId="269"/>
            <ac:grpSpMk id="30" creationId="{840F937C-6733-DA49-FC73-1319A8D4080D}"/>
          </ac:grpSpMkLst>
        </pc:grpChg>
        <pc:grpChg chg="del mod">
          <ac:chgData name="Aniket Chhabra" userId="598e0514-bef3-4e71-b6aa-f2edd6441cff" providerId="ADAL" clId="{E1032901-1DA4-4941-B011-F516E50845DD}" dt="2023-02-12T05:50:45.840" v="234"/>
          <ac:grpSpMkLst>
            <pc:docMk/>
            <pc:sldMk cId="0" sldId="269"/>
            <ac:grpSpMk id="31" creationId="{0975D8BB-5DFC-649B-ADF2-65D9F1A6C23D}"/>
          </ac:grpSpMkLst>
        </pc:grpChg>
        <pc:grpChg chg="del mod">
          <ac:chgData name="Aniket Chhabra" userId="598e0514-bef3-4e71-b6aa-f2edd6441cff" providerId="ADAL" clId="{E1032901-1DA4-4941-B011-F516E50845DD}" dt="2023-02-12T05:50:45.840" v="234"/>
          <ac:grpSpMkLst>
            <pc:docMk/>
            <pc:sldMk cId="0" sldId="269"/>
            <ac:grpSpMk id="32" creationId="{C2A27B70-EA89-F8E6-4A69-2C30D3901935}"/>
          </ac:grpSpMkLst>
        </pc:grpChg>
        <pc:grpChg chg="mod">
          <ac:chgData name="Aniket Chhabra" userId="598e0514-bef3-4e71-b6aa-f2edd6441cff" providerId="ADAL" clId="{E1032901-1DA4-4941-B011-F516E50845DD}" dt="2023-02-12T05:49:52.657" v="159"/>
          <ac:grpSpMkLst>
            <pc:docMk/>
            <pc:sldMk cId="0" sldId="269"/>
            <ac:grpSpMk id="41" creationId="{122C54BF-15C4-8583-CA3B-DDEC6DED55F9}"/>
          </ac:grpSpMkLst>
        </pc:grpChg>
        <pc:grpChg chg="del mod">
          <ac:chgData name="Aniket Chhabra" userId="598e0514-bef3-4e71-b6aa-f2edd6441cff" providerId="ADAL" clId="{E1032901-1DA4-4941-B011-F516E50845DD}" dt="2023-02-12T05:50:45.840" v="234"/>
          <ac:grpSpMkLst>
            <pc:docMk/>
            <pc:sldMk cId="0" sldId="269"/>
            <ac:grpSpMk id="50" creationId="{0434933F-BFFA-67FD-80B6-CE12AC61B139}"/>
          </ac:grpSpMkLst>
        </pc:grpChg>
        <pc:grpChg chg="del mod">
          <ac:chgData name="Aniket Chhabra" userId="598e0514-bef3-4e71-b6aa-f2edd6441cff" providerId="ADAL" clId="{E1032901-1DA4-4941-B011-F516E50845DD}" dt="2023-02-12T05:50:45.840" v="234"/>
          <ac:grpSpMkLst>
            <pc:docMk/>
            <pc:sldMk cId="0" sldId="269"/>
            <ac:grpSpMk id="51" creationId="{188E52B0-18CB-B9AF-0EDE-FA8F2D337C3B}"/>
          </ac:grpSpMkLst>
        </pc:grpChg>
        <pc:grpChg chg="del mod">
          <ac:chgData name="Aniket Chhabra" userId="598e0514-bef3-4e71-b6aa-f2edd6441cff" providerId="ADAL" clId="{E1032901-1DA4-4941-B011-F516E50845DD}" dt="2023-02-12T05:50:45.840" v="234"/>
          <ac:grpSpMkLst>
            <pc:docMk/>
            <pc:sldMk cId="0" sldId="269"/>
            <ac:grpSpMk id="56" creationId="{98A8A8DE-B010-1425-8FB1-84CA1A0E566C}"/>
          </ac:grpSpMkLst>
        </pc:grpChg>
        <pc:grpChg chg="del mod">
          <ac:chgData name="Aniket Chhabra" userId="598e0514-bef3-4e71-b6aa-f2edd6441cff" providerId="ADAL" clId="{E1032901-1DA4-4941-B011-F516E50845DD}" dt="2023-02-12T05:52:44.773" v="340"/>
          <ac:grpSpMkLst>
            <pc:docMk/>
            <pc:sldMk cId="0" sldId="269"/>
            <ac:grpSpMk id="129" creationId="{0763E965-CD56-386E-8089-6455CD09E9C7}"/>
          </ac:grpSpMkLst>
        </pc:grpChg>
        <pc:grpChg chg="del mod">
          <ac:chgData name="Aniket Chhabra" userId="598e0514-bef3-4e71-b6aa-f2edd6441cff" providerId="ADAL" clId="{E1032901-1DA4-4941-B011-F516E50845DD}" dt="2023-02-12T05:50:45.840" v="234"/>
          <ac:grpSpMkLst>
            <pc:docMk/>
            <pc:sldMk cId="0" sldId="269"/>
            <ac:grpSpMk id="134" creationId="{735A5A18-F17F-CC75-2A0D-7CD5671397BC}"/>
          </ac:grpSpMkLst>
        </pc:grpChg>
        <pc:grpChg chg="del mod">
          <ac:chgData name="Aniket Chhabra" userId="598e0514-bef3-4e71-b6aa-f2edd6441cff" providerId="ADAL" clId="{E1032901-1DA4-4941-B011-F516E50845DD}" dt="2023-02-12T05:50:45.840" v="234"/>
          <ac:grpSpMkLst>
            <pc:docMk/>
            <pc:sldMk cId="0" sldId="269"/>
            <ac:grpSpMk id="155" creationId="{90A1464D-5D07-3DC3-360B-9065001A5E13}"/>
          </ac:grpSpMkLst>
        </pc:grpChg>
        <pc:grpChg chg="del mod">
          <ac:chgData name="Aniket Chhabra" userId="598e0514-bef3-4e71-b6aa-f2edd6441cff" providerId="ADAL" clId="{E1032901-1DA4-4941-B011-F516E50845DD}" dt="2023-02-12T05:50:45.840" v="234"/>
          <ac:grpSpMkLst>
            <pc:docMk/>
            <pc:sldMk cId="0" sldId="269"/>
            <ac:grpSpMk id="156" creationId="{B2FBEDC7-D70C-C5D3-D899-9B547EC23670}"/>
          </ac:grpSpMkLst>
        </pc:grpChg>
        <pc:grpChg chg="del mod">
          <ac:chgData name="Aniket Chhabra" userId="598e0514-bef3-4e71-b6aa-f2edd6441cff" providerId="ADAL" clId="{E1032901-1DA4-4941-B011-F516E50845DD}" dt="2023-02-12T05:50:28.560" v="223"/>
          <ac:grpSpMkLst>
            <pc:docMk/>
            <pc:sldMk cId="0" sldId="269"/>
            <ac:grpSpMk id="160" creationId="{BC3F64F3-D267-CD05-AE3D-581AE7AB5FA9}"/>
          </ac:grpSpMkLst>
        </pc:grpChg>
        <pc:grpChg chg="del mod">
          <ac:chgData name="Aniket Chhabra" userId="598e0514-bef3-4e71-b6aa-f2edd6441cff" providerId="ADAL" clId="{E1032901-1DA4-4941-B011-F516E50845DD}" dt="2023-02-12T05:50:28.560" v="223"/>
          <ac:grpSpMkLst>
            <pc:docMk/>
            <pc:sldMk cId="0" sldId="269"/>
            <ac:grpSpMk id="166" creationId="{88ACAE08-E7BE-1E5F-AF39-F89B9C03FD79}"/>
          </ac:grpSpMkLst>
        </pc:grpChg>
        <pc:grpChg chg="del mod">
          <ac:chgData name="Aniket Chhabra" userId="598e0514-bef3-4e71-b6aa-f2edd6441cff" providerId="ADAL" clId="{E1032901-1DA4-4941-B011-F516E50845DD}" dt="2023-02-12T05:50:30.702" v="225"/>
          <ac:grpSpMkLst>
            <pc:docMk/>
            <pc:sldMk cId="0" sldId="269"/>
            <ac:grpSpMk id="173" creationId="{242D2B84-0E92-99BE-4CEE-20FB5E48158B}"/>
          </ac:grpSpMkLst>
        </pc:grpChg>
        <pc:grpChg chg="del mod">
          <ac:chgData name="Aniket Chhabra" userId="598e0514-bef3-4e71-b6aa-f2edd6441cff" providerId="ADAL" clId="{E1032901-1DA4-4941-B011-F516E50845DD}" dt="2023-02-12T05:50:33.992" v="229"/>
          <ac:grpSpMkLst>
            <pc:docMk/>
            <pc:sldMk cId="0" sldId="269"/>
            <ac:grpSpMk id="175" creationId="{7C92537E-71A4-CFD8-85B1-55F9870E458D}"/>
          </ac:grpSpMkLst>
        </pc:grpChg>
        <pc:grpChg chg="del mod">
          <ac:chgData name="Aniket Chhabra" userId="598e0514-bef3-4e71-b6aa-f2edd6441cff" providerId="ADAL" clId="{E1032901-1DA4-4941-B011-F516E50845DD}" dt="2023-02-12T05:50:36.668" v="231"/>
          <ac:grpSpMkLst>
            <pc:docMk/>
            <pc:sldMk cId="0" sldId="269"/>
            <ac:grpSpMk id="179" creationId="{773C7F97-EA47-18B2-E7AF-2FDFEFF76AC0}"/>
          </ac:grpSpMkLst>
        </pc:grpChg>
        <pc:grpChg chg="del mod">
          <ac:chgData name="Aniket Chhabra" userId="598e0514-bef3-4e71-b6aa-f2edd6441cff" providerId="ADAL" clId="{E1032901-1DA4-4941-B011-F516E50845DD}" dt="2023-02-12T05:51:05.514" v="256"/>
          <ac:grpSpMkLst>
            <pc:docMk/>
            <pc:sldMk cId="0" sldId="269"/>
            <ac:grpSpMk id="181" creationId="{CF1C67B3-0D4F-591F-A03C-88AD71CB7EE3}"/>
          </ac:grpSpMkLst>
        </pc:grpChg>
        <pc:grpChg chg="del mod">
          <ac:chgData name="Aniket Chhabra" userId="598e0514-bef3-4e71-b6aa-f2edd6441cff" providerId="ADAL" clId="{E1032901-1DA4-4941-B011-F516E50845DD}" dt="2023-02-12T05:50:48.071" v="236"/>
          <ac:grpSpMkLst>
            <pc:docMk/>
            <pc:sldMk cId="0" sldId="269"/>
            <ac:grpSpMk id="184" creationId="{F1BE739C-76E4-1FA8-242F-45A028D875DA}"/>
          </ac:grpSpMkLst>
        </pc:grpChg>
        <pc:grpChg chg="del mod">
          <ac:chgData name="Aniket Chhabra" userId="598e0514-bef3-4e71-b6aa-f2edd6441cff" providerId="ADAL" clId="{E1032901-1DA4-4941-B011-F516E50845DD}" dt="2023-02-12T05:50:49.765" v="238"/>
          <ac:grpSpMkLst>
            <pc:docMk/>
            <pc:sldMk cId="0" sldId="269"/>
            <ac:grpSpMk id="186" creationId="{A7859A61-52EB-BAEA-AE93-A307CD45F4F1}"/>
          </ac:grpSpMkLst>
        </pc:grpChg>
        <pc:grpChg chg="del mod">
          <ac:chgData name="Aniket Chhabra" userId="598e0514-bef3-4e71-b6aa-f2edd6441cff" providerId="ADAL" clId="{E1032901-1DA4-4941-B011-F516E50845DD}" dt="2023-02-12T05:50:51.377" v="240"/>
          <ac:grpSpMkLst>
            <pc:docMk/>
            <pc:sldMk cId="0" sldId="269"/>
            <ac:grpSpMk id="188" creationId="{F7733EFB-EA4B-CCA4-6B58-2F657EEE828F}"/>
          </ac:grpSpMkLst>
        </pc:grpChg>
        <pc:grpChg chg="del mod">
          <ac:chgData name="Aniket Chhabra" userId="598e0514-bef3-4e71-b6aa-f2edd6441cff" providerId="ADAL" clId="{E1032901-1DA4-4941-B011-F516E50845DD}" dt="2023-02-12T05:52:48.927" v="342"/>
          <ac:grpSpMkLst>
            <pc:docMk/>
            <pc:sldMk cId="0" sldId="269"/>
            <ac:grpSpMk id="190" creationId="{4591B7B9-B622-F41C-4AF2-CE02DE54D4E6}"/>
          </ac:grpSpMkLst>
        </pc:grpChg>
        <pc:grpChg chg="mod">
          <ac:chgData name="Aniket Chhabra" userId="598e0514-bef3-4e71-b6aa-f2edd6441cff" providerId="ADAL" clId="{E1032901-1DA4-4941-B011-F516E50845DD}" dt="2023-02-12T05:51:12.679" v="258"/>
          <ac:grpSpMkLst>
            <pc:docMk/>
            <pc:sldMk cId="0" sldId="269"/>
            <ac:grpSpMk id="192" creationId="{3C6ECA68-2ECA-A8BF-1CC0-0A077941C4D6}"/>
          </ac:grpSpMkLst>
        </pc:grpChg>
        <pc:grpChg chg="mod">
          <ac:chgData name="Aniket Chhabra" userId="598e0514-bef3-4e71-b6aa-f2edd6441cff" providerId="ADAL" clId="{E1032901-1DA4-4941-B011-F516E50845DD}" dt="2023-02-12T05:51:23.339" v="282"/>
          <ac:grpSpMkLst>
            <pc:docMk/>
            <pc:sldMk cId="0" sldId="269"/>
            <ac:grpSpMk id="216" creationId="{42E984F8-7D86-E44C-0744-4042B0908759}"/>
          </ac:grpSpMkLst>
        </pc:grpChg>
        <pc:grpChg chg="mod">
          <ac:chgData name="Aniket Chhabra" userId="598e0514-bef3-4e71-b6aa-f2edd6441cff" providerId="ADAL" clId="{E1032901-1DA4-4941-B011-F516E50845DD}" dt="2023-02-12T05:51:50.165" v="287"/>
          <ac:grpSpMkLst>
            <pc:docMk/>
            <pc:sldMk cId="0" sldId="269"/>
            <ac:grpSpMk id="221" creationId="{996EC630-6697-60B2-5783-C636D2DD94AE}"/>
          </ac:grpSpMkLst>
        </pc:grpChg>
        <pc:grpChg chg="del mod">
          <ac:chgData name="Aniket Chhabra" userId="598e0514-bef3-4e71-b6aa-f2edd6441cff" providerId="ADAL" clId="{E1032901-1DA4-4941-B011-F516E50845DD}" dt="2023-02-12T05:51:59.227" v="294"/>
          <ac:grpSpMkLst>
            <pc:docMk/>
            <pc:sldMk cId="0" sldId="269"/>
            <ac:grpSpMk id="224" creationId="{A42AEBAB-5D04-FB64-F218-9B9B3C850BD5}"/>
          </ac:grpSpMkLst>
        </pc:grpChg>
        <pc:grpChg chg="del mod">
          <ac:chgData name="Aniket Chhabra" userId="598e0514-bef3-4e71-b6aa-f2edd6441cff" providerId="ADAL" clId="{E1032901-1DA4-4941-B011-F516E50845DD}" dt="2023-02-12T05:54:05.812" v="407"/>
          <ac:grpSpMkLst>
            <pc:docMk/>
            <pc:sldMk cId="0" sldId="269"/>
            <ac:grpSpMk id="228" creationId="{F263CBE1-7F3A-1483-49D3-C5566195CDB0}"/>
          </ac:grpSpMkLst>
        </pc:grpChg>
        <pc:grpChg chg="del mod">
          <ac:chgData name="Aniket Chhabra" userId="598e0514-bef3-4e71-b6aa-f2edd6441cff" providerId="ADAL" clId="{E1032901-1DA4-4941-B011-F516E50845DD}" dt="2023-02-12T05:52:04.426" v="303"/>
          <ac:grpSpMkLst>
            <pc:docMk/>
            <pc:sldMk cId="0" sldId="269"/>
            <ac:grpSpMk id="235" creationId="{58CDA003-C935-8105-E9CE-83B849C34BAC}"/>
          </ac:grpSpMkLst>
        </pc:grpChg>
        <pc:grpChg chg="del mod">
          <ac:chgData name="Aniket Chhabra" userId="598e0514-bef3-4e71-b6aa-f2edd6441cff" providerId="ADAL" clId="{E1032901-1DA4-4941-B011-F516E50845DD}" dt="2023-02-12T05:54:05.812" v="407"/>
          <ac:grpSpMkLst>
            <pc:docMk/>
            <pc:sldMk cId="0" sldId="269"/>
            <ac:grpSpMk id="237" creationId="{8DD3DC28-5D2C-612A-2297-3A27C915DC9B}"/>
          </ac:grpSpMkLst>
        </pc:grpChg>
        <pc:grpChg chg="del mod">
          <ac:chgData name="Aniket Chhabra" userId="598e0514-bef3-4e71-b6aa-f2edd6441cff" providerId="ADAL" clId="{E1032901-1DA4-4941-B011-F516E50845DD}" dt="2023-02-12T05:52:09.832" v="314"/>
          <ac:grpSpMkLst>
            <pc:docMk/>
            <pc:sldMk cId="0" sldId="269"/>
            <ac:grpSpMk id="246" creationId="{0CD562CD-BE7E-120F-75AA-42ED6E4F688A}"/>
          </ac:grpSpMkLst>
        </pc:grpChg>
        <pc:grpChg chg="mod">
          <ac:chgData name="Aniket Chhabra" userId="598e0514-bef3-4e71-b6aa-f2edd6441cff" providerId="ADAL" clId="{E1032901-1DA4-4941-B011-F516E50845DD}" dt="2023-02-12T05:52:09.832" v="314"/>
          <ac:grpSpMkLst>
            <pc:docMk/>
            <pc:sldMk cId="0" sldId="269"/>
            <ac:grpSpMk id="248" creationId="{05CD9DB2-2AD6-19B6-F706-5BFC57C0AD8C}"/>
          </ac:grpSpMkLst>
        </pc:grpChg>
        <pc:grpChg chg="del mod">
          <ac:chgData name="Aniket Chhabra" userId="598e0514-bef3-4e71-b6aa-f2edd6441cff" providerId="ADAL" clId="{E1032901-1DA4-4941-B011-F516E50845DD}" dt="2023-02-12T05:54:05.812" v="407"/>
          <ac:grpSpMkLst>
            <pc:docMk/>
            <pc:sldMk cId="0" sldId="269"/>
            <ac:grpSpMk id="252" creationId="{6C330511-557B-94B3-D9B8-4B2D29C20F20}"/>
          </ac:grpSpMkLst>
        </pc:grpChg>
        <pc:grpChg chg="del mod">
          <ac:chgData name="Aniket Chhabra" userId="598e0514-bef3-4e71-b6aa-f2edd6441cff" providerId="ADAL" clId="{E1032901-1DA4-4941-B011-F516E50845DD}" dt="2023-02-12T05:52:30.758" v="333"/>
          <ac:grpSpMkLst>
            <pc:docMk/>
            <pc:sldMk cId="0" sldId="269"/>
            <ac:grpSpMk id="265" creationId="{2D20BCC5-E111-7C06-0588-0E7C061B0835}"/>
          </ac:grpSpMkLst>
        </pc:grpChg>
        <pc:grpChg chg="del mod">
          <ac:chgData name="Aniket Chhabra" userId="598e0514-bef3-4e71-b6aa-f2edd6441cff" providerId="ADAL" clId="{E1032901-1DA4-4941-B011-F516E50845DD}" dt="2023-02-12T05:54:05.812" v="407"/>
          <ac:grpSpMkLst>
            <pc:docMk/>
            <pc:sldMk cId="0" sldId="269"/>
            <ac:grpSpMk id="267" creationId="{863EC975-19FD-B945-476B-AEA79B77D88F}"/>
          </ac:grpSpMkLst>
        </pc:grpChg>
        <pc:grpChg chg="del mod">
          <ac:chgData name="Aniket Chhabra" userId="598e0514-bef3-4e71-b6aa-f2edd6441cff" providerId="ADAL" clId="{E1032901-1DA4-4941-B011-F516E50845DD}" dt="2023-02-12T05:52:44.773" v="340"/>
          <ac:grpSpMkLst>
            <pc:docMk/>
            <pc:sldMk cId="0" sldId="269"/>
            <ac:grpSpMk id="270" creationId="{E9623538-4E63-8DDC-598A-40F8253E3602}"/>
          </ac:grpSpMkLst>
        </pc:grpChg>
        <pc:grpChg chg="del mod">
          <ac:chgData name="Aniket Chhabra" userId="598e0514-bef3-4e71-b6aa-f2edd6441cff" providerId="ADAL" clId="{E1032901-1DA4-4941-B011-F516E50845DD}" dt="2023-02-12T05:53:00.931" v="370"/>
          <ac:grpSpMkLst>
            <pc:docMk/>
            <pc:sldMk cId="0" sldId="269"/>
            <ac:grpSpMk id="274" creationId="{3D3F182E-7D88-5D01-0BD9-9BB0071C9CD8}"/>
          </ac:grpSpMkLst>
        </pc:grpChg>
        <pc:grpChg chg="mod">
          <ac:chgData name="Aniket Chhabra" userId="598e0514-bef3-4e71-b6aa-f2edd6441cff" providerId="ADAL" clId="{E1032901-1DA4-4941-B011-F516E50845DD}" dt="2023-02-12T05:52:44.773" v="340"/>
          <ac:grpSpMkLst>
            <pc:docMk/>
            <pc:sldMk cId="0" sldId="269"/>
            <ac:grpSpMk id="275" creationId="{72D80547-03B6-B56D-9606-E3B61C06BB28}"/>
          </ac:grpSpMkLst>
        </pc:grpChg>
        <pc:grpChg chg="del mod">
          <ac:chgData name="Aniket Chhabra" userId="598e0514-bef3-4e71-b6aa-f2edd6441cff" providerId="ADAL" clId="{E1032901-1DA4-4941-B011-F516E50845DD}" dt="2023-02-12T05:54:05.812" v="407"/>
          <ac:grpSpMkLst>
            <pc:docMk/>
            <pc:sldMk cId="0" sldId="269"/>
            <ac:grpSpMk id="277" creationId="{F105CCF6-118D-3951-CEFF-19A2939439AC}"/>
          </ac:grpSpMkLst>
        </pc:grpChg>
        <pc:grpChg chg="del mod">
          <ac:chgData name="Aniket Chhabra" userId="598e0514-bef3-4e71-b6aa-f2edd6441cff" providerId="ADAL" clId="{E1032901-1DA4-4941-B011-F516E50845DD}" dt="2023-02-12T05:52:55.754" v="362"/>
          <ac:grpSpMkLst>
            <pc:docMk/>
            <pc:sldMk cId="0" sldId="269"/>
            <ac:grpSpMk id="290" creationId="{2572EB1F-4785-2746-6CD0-235512396A6C}"/>
          </ac:grpSpMkLst>
        </pc:grpChg>
        <pc:grpChg chg="del mod">
          <ac:chgData name="Aniket Chhabra" userId="598e0514-bef3-4e71-b6aa-f2edd6441cff" providerId="ADAL" clId="{E1032901-1DA4-4941-B011-F516E50845DD}" dt="2023-02-12T05:52:55.754" v="362"/>
          <ac:grpSpMkLst>
            <pc:docMk/>
            <pc:sldMk cId="0" sldId="269"/>
            <ac:grpSpMk id="297" creationId="{B35AC188-5D5A-4E52-5AFF-D84DED428356}"/>
          </ac:grpSpMkLst>
        </pc:grpChg>
        <pc:grpChg chg="del mod">
          <ac:chgData name="Aniket Chhabra" userId="598e0514-bef3-4e71-b6aa-f2edd6441cff" providerId="ADAL" clId="{E1032901-1DA4-4941-B011-F516E50845DD}" dt="2023-02-12T05:52:56.582" v="364"/>
          <ac:grpSpMkLst>
            <pc:docMk/>
            <pc:sldMk cId="0" sldId="269"/>
            <ac:grpSpMk id="298" creationId="{2A372779-435E-1BDB-90A1-5F68984AD343}"/>
          </ac:grpSpMkLst>
        </pc:grpChg>
        <pc:grpChg chg="del mod">
          <ac:chgData name="Aniket Chhabra" userId="598e0514-bef3-4e71-b6aa-f2edd6441cff" providerId="ADAL" clId="{E1032901-1DA4-4941-B011-F516E50845DD}" dt="2023-02-12T05:54:05.812" v="407"/>
          <ac:grpSpMkLst>
            <pc:docMk/>
            <pc:sldMk cId="0" sldId="269"/>
            <ac:grpSpMk id="300" creationId="{8F6F2919-049B-2EAB-A4AB-AE36604CDD40}"/>
          </ac:grpSpMkLst>
        </pc:grpChg>
        <pc:grpChg chg="del mod">
          <ac:chgData name="Aniket Chhabra" userId="598e0514-bef3-4e71-b6aa-f2edd6441cff" providerId="ADAL" clId="{E1032901-1DA4-4941-B011-F516E50845DD}" dt="2023-02-12T05:53:00.931" v="370"/>
          <ac:grpSpMkLst>
            <pc:docMk/>
            <pc:sldMk cId="0" sldId="269"/>
            <ac:grpSpMk id="304" creationId="{3722EFE7-F412-1602-35BC-4359AA757AD9}"/>
          </ac:grpSpMkLst>
        </pc:grpChg>
        <pc:grpChg chg="mod">
          <ac:chgData name="Aniket Chhabra" userId="598e0514-bef3-4e71-b6aa-f2edd6441cff" providerId="ADAL" clId="{E1032901-1DA4-4941-B011-F516E50845DD}" dt="2023-02-12T05:53:00.931" v="370"/>
          <ac:grpSpMkLst>
            <pc:docMk/>
            <pc:sldMk cId="0" sldId="269"/>
            <ac:grpSpMk id="306" creationId="{5646BBA4-D5C1-7F2B-1FE6-BC72E9C19ACE}"/>
          </ac:grpSpMkLst>
        </pc:grpChg>
        <pc:grpChg chg="del mod">
          <ac:chgData name="Aniket Chhabra" userId="598e0514-bef3-4e71-b6aa-f2edd6441cff" providerId="ADAL" clId="{E1032901-1DA4-4941-B011-F516E50845DD}" dt="2023-02-12T05:54:16.497" v="421"/>
          <ac:grpSpMkLst>
            <pc:docMk/>
            <pc:sldMk cId="0" sldId="269"/>
            <ac:grpSpMk id="308" creationId="{139D606A-D374-5342-DE11-ACF2C46C94C0}"/>
          </ac:grpSpMkLst>
        </pc:grpChg>
        <pc:grpChg chg="mod">
          <ac:chgData name="Aniket Chhabra" userId="598e0514-bef3-4e71-b6aa-f2edd6441cff" providerId="ADAL" clId="{E1032901-1DA4-4941-B011-F516E50845DD}" dt="2023-02-12T05:54:16.497" v="421"/>
          <ac:grpSpMkLst>
            <pc:docMk/>
            <pc:sldMk cId="0" sldId="269"/>
            <ac:grpSpMk id="310" creationId="{AFE8FF0A-519F-EC13-85A6-9250CDF76271}"/>
          </ac:grpSpMkLst>
        </pc:grpChg>
        <pc:inkChg chg="add mod">
          <ac:chgData name="Aniket Chhabra" userId="598e0514-bef3-4e71-b6aa-f2edd6441cff" providerId="ADAL" clId="{E1032901-1DA4-4941-B011-F516E50845DD}" dt="2023-02-12T05:51:12.679" v="258"/>
          <ac:inkMkLst>
            <pc:docMk/>
            <pc:sldMk cId="0" sldId="269"/>
            <ac:inkMk id="2" creationId="{E2A6567A-9ABE-7D42-A6F0-777F90C4D999}"/>
          </ac:inkMkLst>
        </pc:inkChg>
        <pc:inkChg chg="add mod">
          <ac:chgData name="Aniket Chhabra" userId="598e0514-bef3-4e71-b6aa-f2edd6441cff" providerId="ADAL" clId="{E1032901-1DA4-4941-B011-F516E50845DD}" dt="2023-02-12T05:51:12.679" v="258"/>
          <ac:inkMkLst>
            <pc:docMk/>
            <pc:sldMk cId="0" sldId="269"/>
            <ac:inkMk id="3" creationId="{867BBEE1-F8BB-4B04-986D-9729E99E5FA4}"/>
          </ac:inkMkLst>
        </pc:inkChg>
        <pc:inkChg chg="add">
          <ac:chgData name="Aniket Chhabra" userId="598e0514-bef3-4e71-b6aa-f2edd6441cff" providerId="ADAL" clId="{E1032901-1DA4-4941-B011-F516E50845DD}" dt="2023-02-12T05:49:08.817" v="120" actId="9405"/>
          <ac:inkMkLst>
            <pc:docMk/>
            <pc:sldMk cId="0" sldId="269"/>
            <ac:inkMk id="4" creationId="{C065C9C6-397B-7F9F-D599-215F5DBDBFB5}"/>
          </ac:inkMkLst>
        </pc:inkChg>
        <pc:inkChg chg="add">
          <ac:chgData name="Aniket Chhabra" userId="598e0514-bef3-4e71-b6aa-f2edd6441cff" providerId="ADAL" clId="{E1032901-1DA4-4941-B011-F516E50845DD}" dt="2023-02-12T05:49:10.466" v="121" actId="9405"/>
          <ac:inkMkLst>
            <pc:docMk/>
            <pc:sldMk cId="0" sldId="269"/>
            <ac:inkMk id="5" creationId="{79896968-D86E-E01B-AA9D-2F5D052C2AF0}"/>
          </ac:inkMkLst>
        </pc:inkChg>
        <pc:inkChg chg="add">
          <ac:chgData name="Aniket Chhabra" userId="598e0514-bef3-4e71-b6aa-f2edd6441cff" providerId="ADAL" clId="{E1032901-1DA4-4941-B011-F516E50845DD}" dt="2023-02-12T05:49:11.756" v="122" actId="9405"/>
          <ac:inkMkLst>
            <pc:docMk/>
            <pc:sldMk cId="0" sldId="269"/>
            <ac:inkMk id="6" creationId="{C5157BA9-3005-8235-2C84-713515E91052}"/>
          </ac:inkMkLst>
        </pc:inkChg>
        <pc:inkChg chg="add mod">
          <ac:chgData name="Aniket Chhabra" userId="598e0514-bef3-4e71-b6aa-f2edd6441cff" providerId="ADAL" clId="{E1032901-1DA4-4941-B011-F516E50845DD}" dt="2023-02-12T05:54:16.497" v="421"/>
          <ac:inkMkLst>
            <pc:docMk/>
            <pc:sldMk cId="0" sldId="269"/>
            <ac:inkMk id="7" creationId="{1BFA937B-77F3-074E-F6A7-49EFC9026AB7}"/>
          </ac:inkMkLst>
        </pc:inkChg>
        <pc:inkChg chg="add mod">
          <ac:chgData name="Aniket Chhabra" userId="598e0514-bef3-4e71-b6aa-f2edd6441cff" providerId="ADAL" clId="{E1032901-1DA4-4941-B011-F516E50845DD}" dt="2023-02-12T05:54:16.497" v="421"/>
          <ac:inkMkLst>
            <pc:docMk/>
            <pc:sldMk cId="0" sldId="269"/>
            <ac:inkMk id="8" creationId="{309B75E8-1AFB-1608-1439-84DF515EF123}"/>
          </ac:inkMkLst>
        </pc:inkChg>
        <pc:inkChg chg="add mod">
          <ac:chgData name="Aniket Chhabra" userId="598e0514-bef3-4e71-b6aa-f2edd6441cff" providerId="ADAL" clId="{E1032901-1DA4-4941-B011-F516E50845DD}" dt="2023-02-12T05:54:16.497" v="421"/>
          <ac:inkMkLst>
            <pc:docMk/>
            <pc:sldMk cId="0" sldId="269"/>
            <ac:inkMk id="9" creationId="{3D2C8DE5-C451-B387-AB96-46FA17E72FE3}"/>
          </ac:inkMkLst>
        </pc:inkChg>
        <pc:inkChg chg="add mod">
          <ac:chgData name="Aniket Chhabra" userId="598e0514-bef3-4e71-b6aa-f2edd6441cff" providerId="ADAL" clId="{E1032901-1DA4-4941-B011-F516E50845DD}" dt="2023-02-12T05:54:16.497" v="421"/>
          <ac:inkMkLst>
            <pc:docMk/>
            <pc:sldMk cId="0" sldId="269"/>
            <ac:inkMk id="10" creationId="{C927B050-56E1-EEBF-1A1B-BFD7DFD70224}"/>
          </ac:inkMkLst>
        </pc:inkChg>
        <pc:inkChg chg="add mod">
          <ac:chgData name="Aniket Chhabra" userId="598e0514-bef3-4e71-b6aa-f2edd6441cff" providerId="ADAL" clId="{E1032901-1DA4-4941-B011-F516E50845DD}" dt="2023-02-12T05:54:16.497" v="421"/>
          <ac:inkMkLst>
            <pc:docMk/>
            <pc:sldMk cId="0" sldId="269"/>
            <ac:inkMk id="11" creationId="{B615B507-B7C5-3D6E-1D97-73214E0D263C}"/>
          </ac:inkMkLst>
        </pc:inkChg>
        <pc:inkChg chg="add mod">
          <ac:chgData name="Aniket Chhabra" userId="598e0514-bef3-4e71-b6aa-f2edd6441cff" providerId="ADAL" clId="{E1032901-1DA4-4941-B011-F516E50845DD}" dt="2023-02-12T05:54:16.497" v="421"/>
          <ac:inkMkLst>
            <pc:docMk/>
            <pc:sldMk cId="0" sldId="269"/>
            <ac:inkMk id="12" creationId="{907BEDA3-C48F-6800-DB16-236E51B0BC92}"/>
          </ac:inkMkLst>
        </pc:inkChg>
        <pc:inkChg chg="add mod">
          <ac:chgData name="Aniket Chhabra" userId="598e0514-bef3-4e71-b6aa-f2edd6441cff" providerId="ADAL" clId="{E1032901-1DA4-4941-B011-F516E50845DD}" dt="2023-02-12T05:54:16.497" v="421"/>
          <ac:inkMkLst>
            <pc:docMk/>
            <pc:sldMk cId="0" sldId="269"/>
            <ac:inkMk id="13" creationId="{D531F026-DD26-0523-2B86-473C6DEF1670}"/>
          </ac:inkMkLst>
        </pc:inkChg>
        <pc:inkChg chg="add mod">
          <ac:chgData name="Aniket Chhabra" userId="598e0514-bef3-4e71-b6aa-f2edd6441cff" providerId="ADAL" clId="{E1032901-1DA4-4941-B011-F516E50845DD}" dt="2023-02-12T05:54:16.497" v="421"/>
          <ac:inkMkLst>
            <pc:docMk/>
            <pc:sldMk cId="0" sldId="269"/>
            <ac:inkMk id="14" creationId="{178BDA3B-594D-28DC-E650-F5499C71C513}"/>
          </ac:inkMkLst>
        </pc:inkChg>
        <pc:inkChg chg="add mod">
          <ac:chgData name="Aniket Chhabra" userId="598e0514-bef3-4e71-b6aa-f2edd6441cff" providerId="ADAL" clId="{E1032901-1DA4-4941-B011-F516E50845DD}" dt="2023-02-12T05:54:16.497" v="421"/>
          <ac:inkMkLst>
            <pc:docMk/>
            <pc:sldMk cId="0" sldId="269"/>
            <ac:inkMk id="15" creationId="{624BDEC6-CD3A-0F06-BD6B-4C87B1B2789A}"/>
          </ac:inkMkLst>
        </pc:inkChg>
        <pc:inkChg chg="add mod">
          <ac:chgData name="Aniket Chhabra" userId="598e0514-bef3-4e71-b6aa-f2edd6441cff" providerId="ADAL" clId="{E1032901-1DA4-4941-B011-F516E50845DD}" dt="2023-02-12T05:54:16.497" v="421"/>
          <ac:inkMkLst>
            <pc:docMk/>
            <pc:sldMk cId="0" sldId="269"/>
            <ac:inkMk id="16" creationId="{FFC8A991-56EE-3248-3109-9C3157047395}"/>
          </ac:inkMkLst>
        </pc:inkChg>
        <pc:inkChg chg="add mod">
          <ac:chgData name="Aniket Chhabra" userId="598e0514-bef3-4e71-b6aa-f2edd6441cff" providerId="ADAL" clId="{E1032901-1DA4-4941-B011-F516E50845DD}" dt="2023-02-12T05:54:16.497" v="421"/>
          <ac:inkMkLst>
            <pc:docMk/>
            <pc:sldMk cId="0" sldId="269"/>
            <ac:inkMk id="17" creationId="{56EEE73E-1EFF-A176-B6C5-6656328BB9F6}"/>
          </ac:inkMkLst>
        </pc:inkChg>
        <pc:inkChg chg="add mod">
          <ac:chgData name="Aniket Chhabra" userId="598e0514-bef3-4e71-b6aa-f2edd6441cff" providerId="ADAL" clId="{E1032901-1DA4-4941-B011-F516E50845DD}" dt="2023-02-12T05:54:16.497" v="421"/>
          <ac:inkMkLst>
            <pc:docMk/>
            <pc:sldMk cId="0" sldId="269"/>
            <ac:inkMk id="18" creationId="{EA437959-4AC9-5FF0-0364-137609571E0F}"/>
          </ac:inkMkLst>
        </pc:inkChg>
        <pc:inkChg chg="add mod">
          <ac:chgData name="Aniket Chhabra" userId="598e0514-bef3-4e71-b6aa-f2edd6441cff" providerId="ADAL" clId="{E1032901-1DA4-4941-B011-F516E50845DD}" dt="2023-02-12T05:54:16.497" v="421"/>
          <ac:inkMkLst>
            <pc:docMk/>
            <pc:sldMk cId="0" sldId="269"/>
            <ac:inkMk id="19" creationId="{CF046E2A-FFBE-9115-DE17-7601A4014589}"/>
          </ac:inkMkLst>
        </pc:inkChg>
        <pc:inkChg chg="add mod">
          <ac:chgData name="Aniket Chhabra" userId="598e0514-bef3-4e71-b6aa-f2edd6441cff" providerId="ADAL" clId="{E1032901-1DA4-4941-B011-F516E50845DD}" dt="2023-02-12T05:54:16.497" v="421"/>
          <ac:inkMkLst>
            <pc:docMk/>
            <pc:sldMk cId="0" sldId="269"/>
            <ac:inkMk id="20" creationId="{40962698-7422-75EB-20FA-4815F511DE90}"/>
          </ac:inkMkLst>
        </pc:inkChg>
        <pc:inkChg chg="add mod">
          <ac:chgData name="Aniket Chhabra" userId="598e0514-bef3-4e71-b6aa-f2edd6441cff" providerId="ADAL" clId="{E1032901-1DA4-4941-B011-F516E50845DD}" dt="2023-02-12T05:54:16.497" v="421"/>
          <ac:inkMkLst>
            <pc:docMk/>
            <pc:sldMk cId="0" sldId="269"/>
            <ac:inkMk id="21" creationId="{4149BC99-A97F-2D9A-068F-7BB6DDEC1001}"/>
          </ac:inkMkLst>
        </pc:inkChg>
        <pc:inkChg chg="add mod">
          <ac:chgData name="Aniket Chhabra" userId="598e0514-bef3-4e71-b6aa-f2edd6441cff" providerId="ADAL" clId="{E1032901-1DA4-4941-B011-F516E50845DD}" dt="2023-02-12T05:54:16.497" v="421"/>
          <ac:inkMkLst>
            <pc:docMk/>
            <pc:sldMk cId="0" sldId="269"/>
            <ac:inkMk id="22" creationId="{F8938E82-CEB7-64E1-191C-038AEDF3CD40}"/>
          </ac:inkMkLst>
        </pc:inkChg>
        <pc:inkChg chg="add mod">
          <ac:chgData name="Aniket Chhabra" userId="598e0514-bef3-4e71-b6aa-f2edd6441cff" providerId="ADAL" clId="{E1032901-1DA4-4941-B011-F516E50845DD}" dt="2023-02-12T05:54:16.497" v="421"/>
          <ac:inkMkLst>
            <pc:docMk/>
            <pc:sldMk cId="0" sldId="269"/>
            <ac:inkMk id="23" creationId="{2F2AB6D4-0F95-2E27-14CA-C7A94206F910}"/>
          </ac:inkMkLst>
        </pc:inkChg>
        <pc:inkChg chg="add mod">
          <ac:chgData name="Aniket Chhabra" userId="598e0514-bef3-4e71-b6aa-f2edd6441cff" providerId="ADAL" clId="{E1032901-1DA4-4941-B011-F516E50845DD}" dt="2023-02-12T05:54:16.497" v="421"/>
          <ac:inkMkLst>
            <pc:docMk/>
            <pc:sldMk cId="0" sldId="269"/>
            <ac:inkMk id="24" creationId="{3AE449DF-3D81-D7BB-4007-681A0BB2876B}"/>
          </ac:inkMkLst>
        </pc:inkChg>
        <pc:inkChg chg="add mod">
          <ac:chgData name="Aniket Chhabra" userId="598e0514-bef3-4e71-b6aa-f2edd6441cff" providerId="ADAL" clId="{E1032901-1DA4-4941-B011-F516E50845DD}" dt="2023-02-12T05:51:50.165" v="287"/>
          <ac:inkMkLst>
            <pc:docMk/>
            <pc:sldMk cId="0" sldId="269"/>
            <ac:inkMk id="25" creationId="{7E70D5E0-C98F-35D4-4D15-6E55BA4D246C}"/>
          </ac:inkMkLst>
        </pc:inkChg>
        <pc:inkChg chg="add mod">
          <ac:chgData name="Aniket Chhabra" userId="598e0514-bef3-4e71-b6aa-f2edd6441cff" providerId="ADAL" clId="{E1032901-1DA4-4941-B011-F516E50845DD}" dt="2023-02-12T05:51:50.165" v="287"/>
          <ac:inkMkLst>
            <pc:docMk/>
            <pc:sldMk cId="0" sldId="269"/>
            <ac:inkMk id="26" creationId="{074D882F-454D-037D-8977-1A4C005CD075}"/>
          </ac:inkMkLst>
        </pc:inkChg>
        <pc:inkChg chg="add mod">
          <ac:chgData name="Aniket Chhabra" userId="598e0514-bef3-4e71-b6aa-f2edd6441cff" providerId="ADAL" clId="{E1032901-1DA4-4941-B011-F516E50845DD}" dt="2023-02-12T05:51:50.165" v="287"/>
          <ac:inkMkLst>
            <pc:docMk/>
            <pc:sldMk cId="0" sldId="269"/>
            <ac:inkMk id="27" creationId="{25F87B5E-B0C6-2AF6-B08C-48A12DE60CA4}"/>
          </ac:inkMkLst>
        </pc:inkChg>
        <pc:inkChg chg="add mod">
          <ac:chgData name="Aniket Chhabra" userId="598e0514-bef3-4e71-b6aa-f2edd6441cff" providerId="ADAL" clId="{E1032901-1DA4-4941-B011-F516E50845DD}" dt="2023-02-12T05:51:50.165" v="287"/>
          <ac:inkMkLst>
            <pc:docMk/>
            <pc:sldMk cId="0" sldId="269"/>
            <ac:inkMk id="28" creationId="{ABF387FB-FB4A-7F36-9969-79F5869DC097}"/>
          </ac:inkMkLst>
        </pc:inkChg>
        <pc:inkChg chg="add mod">
          <ac:chgData name="Aniket Chhabra" userId="598e0514-bef3-4e71-b6aa-f2edd6441cff" providerId="ADAL" clId="{E1032901-1DA4-4941-B011-F516E50845DD}" dt="2023-02-12T05:51:50.165" v="287"/>
          <ac:inkMkLst>
            <pc:docMk/>
            <pc:sldMk cId="0" sldId="269"/>
            <ac:inkMk id="29" creationId="{BDCA67C1-0C9A-B68B-FF6B-C99C0331DE8D}"/>
          </ac:inkMkLst>
        </pc:inkChg>
        <pc:inkChg chg="add mod">
          <ac:chgData name="Aniket Chhabra" userId="598e0514-bef3-4e71-b6aa-f2edd6441cff" providerId="ADAL" clId="{E1032901-1DA4-4941-B011-F516E50845DD}" dt="2023-02-12T05:53:00.931" v="370"/>
          <ac:inkMkLst>
            <pc:docMk/>
            <pc:sldMk cId="0" sldId="269"/>
            <ac:inkMk id="33" creationId="{6B27F798-0321-7F91-F994-D430B9C74E36}"/>
          </ac:inkMkLst>
        </pc:inkChg>
        <pc:inkChg chg="add mod">
          <ac:chgData name="Aniket Chhabra" userId="598e0514-bef3-4e71-b6aa-f2edd6441cff" providerId="ADAL" clId="{E1032901-1DA4-4941-B011-F516E50845DD}" dt="2023-02-12T05:53:00.931" v="370"/>
          <ac:inkMkLst>
            <pc:docMk/>
            <pc:sldMk cId="0" sldId="269"/>
            <ac:inkMk id="34" creationId="{F2162482-F20C-7F55-3DE3-3CCA6D16C6DE}"/>
          </ac:inkMkLst>
        </pc:inkChg>
        <pc:inkChg chg="add mod">
          <ac:chgData name="Aniket Chhabra" userId="598e0514-bef3-4e71-b6aa-f2edd6441cff" providerId="ADAL" clId="{E1032901-1DA4-4941-B011-F516E50845DD}" dt="2023-02-12T05:54:16.497" v="421"/>
          <ac:inkMkLst>
            <pc:docMk/>
            <pc:sldMk cId="0" sldId="269"/>
            <ac:inkMk id="35" creationId="{16CB924C-6194-5342-93FA-EA7DB4C94C8A}"/>
          </ac:inkMkLst>
        </pc:inkChg>
        <pc:inkChg chg="add mod">
          <ac:chgData name="Aniket Chhabra" userId="598e0514-bef3-4e71-b6aa-f2edd6441cff" providerId="ADAL" clId="{E1032901-1DA4-4941-B011-F516E50845DD}" dt="2023-02-12T05:54:16.497" v="421"/>
          <ac:inkMkLst>
            <pc:docMk/>
            <pc:sldMk cId="0" sldId="269"/>
            <ac:inkMk id="36" creationId="{58B054AB-6AB7-35A0-7A53-C64D8FFDF292}"/>
          </ac:inkMkLst>
        </pc:inkChg>
        <pc:inkChg chg="add mod">
          <ac:chgData name="Aniket Chhabra" userId="598e0514-bef3-4e71-b6aa-f2edd6441cff" providerId="ADAL" clId="{E1032901-1DA4-4941-B011-F516E50845DD}" dt="2023-02-12T05:54:16.497" v="421"/>
          <ac:inkMkLst>
            <pc:docMk/>
            <pc:sldMk cId="0" sldId="269"/>
            <ac:inkMk id="37" creationId="{631A99FE-6DF8-F7EB-E4E1-F513C228D572}"/>
          </ac:inkMkLst>
        </pc:inkChg>
        <pc:inkChg chg="add mod">
          <ac:chgData name="Aniket Chhabra" userId="598e0514-bef3-4e71-b6aa-f2edd6441cff" providerId="ADAL" clId="{E1032901-1DA4-4941-B011-F516E50845DD}" dt="2023-02-12T05:54:16.497" v="421"/>
          <ac:inkMkLst>
            <pc:docMk/>
            <pc:sldMk cId="0" sldId="269"/>
            <ac:inkMk id="38" creationId="{12BF6161-E4F5-3F1B-6CEA-36BB8156A003}"/>
          </ac:inkMkLst>
        </pc:inkChg>
        <pc:inkChg chg="add mod">
          <ac:chgData name="Aniket Chhabra" userId="598e0514-bef3-4e71-b6aa-f2edd6441cff" providerId="ADAL" clId="{E1032901-1DA4-4941-B011-F516E50845DD}" dt="2023-02-12T05:54:16.497" v="421"/>
          <ac:inkMkLst>
            <pc:docMk/>
            <pc:sldMk cId="0" sldId="269"/>
            <ac:inkMk id="39" creationId="{F8858E33-45D1-F9AC-1D6F-97346E2EFDAF}"/>
          </ac:inkMkLst>
        </pc:inkChg>
        <pc:inkChg chg="add del mod">
          <ac:chgData name="Aniket Chhabra" userId="598e0514-bef3-4e71-b6aa-f2edd6441cff" providerId="ADAL" clId="{E1032901-1DA4-4941-B011-F516E50845DD}" dt="2023-02-12T05:49:52.657" v="159"/>
          <ac:inkMkLst>
            <pc:docMk/>
            <pc:sldMk cId="0" sldId="269"/>
            <ac:inkMk id="40" creationId="{183B63F1-9710-3FFF-0677-E1F07A9CC6E2}"/>
          </ac:inkMkLst>
        </pc:inkChg>
        <pc:inkChg chg="add mod">
          <ac:chgData name="Aniket Chhabra" userId="598e0514-bef3-4e71-b6aa-f2edd6441cff" providerId="ADAL" clId="{E1032901-1DA4-4941-B011-F516E50845DD}" dt="2023-02-12T05:54:16.497" v="421"/>
          <ac:inkMkLst>
            <pc:docMk/>
            <pc:sldMk cId="0" sldId="269"/>
            <ac:inkMk id="42" creationId="{F607D7FC-A577-B057-090D-A05D888EB376}"/>
          </ac:inkMkLst>
        </pc:inkChg>
        <pc:inkChg chg="add mod">
          <ac:chgData name="Aniket Chhabra" userId="598e0514-bef3-4e71-b6aa-f2edd6441cff" providerId="ADAL" clId="{E1032901-1DA4-4941-B011-F516E50845DD}" dt="2023-02-12T05:54:16.497" v="421"/>
          <ac:inkMkLst>
            <pc:docMk/>
            <pc:sldMk cId="0" sldId="269"/>
            <ac:inkMk id="43" creationId="{2AEECDA1-F857-7687-6D41-650B1B24EE06}"/>
          </ac:inkMkLst>
        </pc:inkChg>
        <pc:inkChg chg="add mod">
          <ac:chgData name="Aniket Chhabra" userId="598e0514-bef3-4e71-b6aa-f2edd6441cff" providerId="ADAL" clId="{E1032901-1DA4-4941-B011-F516E50845DD}" dt="2023-02-12T05:54:16.497" v="421"/>
          <ac:inkMkLst>
            <pc:docMk/>
            <pc:sldMk cId="0" sldId="269"/>
            <ac:inkMk id="44" creationId="{9377526E-68B0-AEF3-FC64-619BAC90FD27}"/>
          </ac:inkMkLst>
        </pc:inkChg>
        <pc:inkChg chg="add mod">
          <ac:chgData name="Aniket Chhabra" userId="598e0514-bef3-4e71-b6aa-f2edd6441cff" providerId="ADAL" clId="{E1032901-1DA4-4941-B011-F516E50845DD}" dt="2023-02-12T05:54:16.497" v="421"/>
          <ac:inkMkLst>
            <pc:docMk/>
            <pc:sldMk cId="0" sldId="269"/>
            <ac:inkMk id="45" creationId="{EB227737-AA1F-4D30-EEF1-46AEED350BC1}"/>
          </ac:inkMkLst>
        </pc:inkChg>
        <pc:inkChg chg="add mod">
          <ac:chgData name="Aniket Chhabra" userId="598e0514-bef3-4e71-b6aa-f2edd6441cff" providerId="ADAL" clId="{E1032901-1DA4-4941-B011-F516E50845DD}" dt="2023-02-12T05:54:16.497" v="421"/>
          <ac:inkMkLst>
            <pc:docMk/>
            <pc:sldMk cId="0" sldId="269"/>
            <ac:inkMk id="46" creationId="{CA28473A-C261-140F-52F2-3B0919F206E4}"/>
          </ac:inkMkLst>
        </pc:inkChg>
        <pc:inkChg chg="add mod">
          <ac:chgData name="Aniket Chhabra" userId="598e0514-bef3-4e71-b6aa-f2edd6441cff" providerId="ADAL" clId="{E1032901-1DA4-4941-B011-F516E50845DD}" dt="2023-02-12T05:54:16.497" v="421"/>
          <ac:inkMkLst>
            <pc:docMk/>
            <pc:sldMk cId="0" sldId="269"/>
            <ac:inkMk id="47" creationId="{92FC1DF2-FE16-CD69-C0C6-BBDB8A0FA6F4}"/>
          </ac:inkMkLst>
        </pc:inkChg>
        <pc:inkChg chg="add mod">
          <ac:chgData name="Aniket Chhabra" userId="598e0514-bef3-4e71-b6aa-f2edd6441cff" providerId="ADAL" clId="{E1032901-1DA4-4941-B011-F516E50845DD}" dt="2023-02-12T05:54:16.497" v="421"/>
          <ac:inkMkLst>
            <pc:docMk/>
            <pc:sldMk cId="0" sldId="269"/>
            <ac:inkMk id="48" creationId="{CAE588F0-4A97-25A7-2185-21038A896B85}"/>
          </ac:inkMkLst>
        </pc:inkChg>
        <pc:inkChg chg="add mod">
          <ac:chgData name="Aniket Chhabra" userId="598e0514-bef3-4e71-b6aa-f2edd6441cff" providerId="ADAL" clId="{E1032901-1DA4-4941-B011-F516E50845DD}" dt="2023-02-12T05:54:16.497" v="421"/>
          <ac:inkMkLst>
            <pc:docMk/>
            <pc:sldMk cId="0" sldId="269"/>
            <ac:inkMk id="49" creationId="{A4D78EE9-BF5B-F721-0DC9-00E3A5841DA7}"/>
          </ac:inkMkLst>
        </pc:inkChg>
        <pc:inkChg chg="add mod">
          <ac:chgData name="Aniket Chhabra" userId="598e0514-bef3-4e71-b6aa-f2edd6441cff" providerId="ADAL" clId="{E1032901-1DA4-4941-B011-F516E50845DD}" dt="2023-02-12T05:54:16.497" v="421"/>
          <ac:inkMkLst>
            <pc:docMk/>
            <pc:sldMk cId="0" sldId="269"/>
            <ac:inkMk id="52" creationId="{09DD395C-30A9-72B2-0C90-1E93A66FCDF2}"/>
          </ac:inkMkLst>
        </pc:inkChg>
        <pc:inkChg chg="add mod">
          <ac:chgData name="Aniket Chhabra" userId="598e0514-bef3-4e71-b6aa-f2edd6441cff" providerId="ADAL" clId="{E1032901-1DA4-4941-B011-F516E50845DD}" dt="2023-02-12T05:54:16.497" v="421"/>
          <ac:inkMkLst>
            <pc:docMk/>
            <pc:sldMk cId="0" sldId="269"/>
            <ac:inkMk id="53" creationId="{BE110A64-ED15-1A43-E9CE-D0B840500D12}"/>
          </ac:inkMkLst>
        </pc:inkChg>
        <pc:inkChg chg="add mod">
          <ac:chgData name="Aniket Chhabra" userId="598e0514-bef3-4e71-b6aa-f2edd6441cff" providerId="ADAL" clId="{E1032901-1DA4-4941-B011-F516E50845DD}" dt="2023-02-12T05:54:16.497" v="421"/>
          <ac:inkMkLst>
            <pc:docMk/>
            <pc:sldMk cId="0" sldId="269"/>
            <ac:inkMk id="54" creationId="{94BE04AA-668D-F990-2C1D-1416432B8D92}"/>
          </ac:inkMkLst>
        </pc:inkChg>
        <pc:inkChg chg="add mod">
          <ac:chgData name="Aniket Chhabra" userId="598e0514-bef3-4e71-b6aa-f2edd6441cff" providerId="ADAL" clId="{E1032901-1DA4-4941-B011-F516E50845DD}" dt="2023-02-12T05:54:16.497" v="421"/>
          <ac:inkMkLst>
            <pc:docMk/>
            <pc:sldMk cId="0" sldId="269"/>
            <ac:inkMk id="55" creationId="{9ECBA15A-F4E2-FE95-DDA7-D2C7CE4664FD}"/>
          </ac:inkMkLst>
        </pc:inkChg>
        <pc:inkChg chg="add mod">
          <ac:chgData name="Aniket Chhabra" userId="598e0514-bef3-4e71-b6aa-f2edd6441cff" providerId="ADAL" clId="{E1032901-1DA4-4941-B011-F516E50845DD}" dt="2023-02-12T05:53:00.931" v="370"/>
          <ac:inkMkLst>
            <pc:docMk/>
            <pc:sldMk cId="0" sldId="269"/>
            <ac:inkMk id="57" creationId="{403DB0E2-58EA-8DD2-41F1-A95533985F00}"/>
          </ac:inkMkLst>
        </pc:inkChg>
        <pc:inkChg chg="add mod">
          <ac:chgData name="Aniket Chhabra" userId="598e0514-bef3-4e71-b6aa-f2edd6441cff" providerId="ADAL" clId="{E1032901-1DA4-4941-B011-F516E50845DD}" dt="2023-02-12T05:53:00.931" v="370"/>
          <ac:inkMkLst>
            <pc:docMk/>
            <pc:sldMk cId="0" sldId="269"/>
            <ac:inkMk id="58" creationId="{6441561B-33AD-EED0-B565-5CC465983283}"/>
          </ac:inkMkLst>
        </pc:inkChg>
        <pc:inkChg chg="add mod">
          <ac:chgData name="Aniket Chhabra" userId="598e0514-bef3-4e71-b6aa-f2edd6441cff" providerId="ADAL" clId="{E1032901-1DA4-4941-B011-F516E50845DD}" dt="2023-02-12T05:53:00.931" v="370"/>
          <ac:inkMkLst>
            <pc:docMk/>
            <pc:sldMk cId="0" sldId="269"/>
            <ac:inkMk id="59" creationId="{42E9D47D-4FBA-5159-EAFD-18A63D19D1F4}"/>
          </ac:inkMkLst>
        </pc:inkChg>
        <pc:inkChg chg="add mod">
          <ac:chgData name="Aniket Chhabra" userId="598e0514-bef3-4e71-b6aa-f2edd6441cff" providerId="ADAL" clId="{E1032901-1DA4-4941-B011-F516E50845DD}" dt="2023-02-12T05:53:00.931" v="370"/>
          <ac:inkMkLst>
            <pc:docMk/>
            <pc:sldMk cId="0" sldId="269"/>
            <ac:inkMk id="60" creationId="{6A762BF2-D9C0-8218-2017-E1298FEA512C}"/>
          </ac:inkMkLst>
        </pc:inkChg>
        <pc:inkChg chg="add mod">
          <ac:chgData name="Aniket Chhabra" userId="598e0514-bef3-4e71-b6aa-f2edd6441cff" providerId="ADAL" clId="{E1032901-1DA4-4941-B011-F516E50845DD}" dt="2023-02-12T05:53:00.931" v="370"/>
          <ac:inkMkLst>
            <pc:docMk/>
            <pc:sldMk cId="0" sldId="269"/>
            <ac:inkMk id="61" creationId="{D993CE23-9064-F91C-5FDA-6AD543EF3CF1}"/>
          </ac:inkMkLst>
        </pc:inkChg>
        <pc:inkChg chg="add mod">
          <ac:chgData name="Aniket Chhabra" userId="598e0514-bef3-4e71-b6aa-f2edd6441cff" providerId="ADAL" clId="{E1032901-1DA4-4941-B011-F516E50845DD}" dt="2023-02-12T05:53:00.931" v="370"/>
          <ac:inkMkLst>
            <pc:docMk/>
            <pc:sldMk cId="0" sldId="269"/>
            <ac:inkMk id="62" creationId="{136F252C-7D6B-40E5-116C-DE3635312DEC}"/>
          </ac:inkMkLst>
        </pc:inkChg>
        <pc:inkChg chg="add mod">
          <ac:chgData name="Aniket Chhabra" userId="598e0514-bef3-4e71-b6aa-f2edd6441cff" providerId="ADAL" clId="{E1032901-1DA4-4941-B011-F516E50845DD}" dt="2023-02-12T05:53:00.931" v="370"/>
          <ac:inkMkLst>
            <pc:docMk/>
            <pc:sldMk cId="0" sldId="269"/>
            <ac:inkMk id="63" creationId="{D54C7F11-6FDE-1534-2056-CAFF3DAA1471}"/>
          </ac:inkMkLst>
        </pc:inkChg>
        <pc:inkChg chg="add mod">
          <ac:chgData name="Aniket Chhabra" userId="598e0514-bef3-4e71-b6aa-f2edd6441cff" providerId="ADAL" clId="{E1032901-1DA4-4941-B011-F516E50845DD}" dt="2023-02-12T05:53:00.931" v="370"/>
          <ac:inkMkLst>
            <pc:docMk/>
            <pc:sldMk cId="0" sldId="269"/>
            <ac:inkMk id="128" creationId="{55F759E8-FCBE-EA8D-A56C-B9C20AAC72B6}"/>
          </ac:inkMkLst>
        </pc:inkChg>
        <pc:inkChg chg="add">
          <ac:chgData name="Aniket Chhabra" userId="598e0514-bef3-4e71-b6aa-f2edd6441cff" providerId="ADAL" clId="{E1032901-1DA4-4941-B011-F516E50845DD}" dt="2023-02-12T05:50:06.318" v="183" actId="9405"/>
          <ac:inkMkLst>
            <pc:docMk/>
            <pc:sldMk cId="0" sldId="269"/>
            <ac:inkMk id="130" creationId="{029F9385-5124-7B1F-8755-66AAE56FFD88}"/>
          </ac:inkMkLst>
        </pc:inkChg>
        <pc:inkChg chg="add mod">
          <ac:chgData name="Aniket Chhabra" userId="598e0514-bef3-4e71-b6aa-f2edd6441cff" providerId="ADAL" clId="{E1032901-1DA4-4941-B011-F516E50845DD}" dt="2023-02-12T05:54:16.497" v="421"/>
          <ac:inkMkLst>
            <pc:docMk/>
            <pc:sldMk cId="0" sldId="269"/>
            <ac:inkMk id="131" creationId="{8EE137F0-EA39-0B52-E9F3-6BF653A4C9FE}"/>
          </ac:inkMkLst>
        </pc:inkChg>
        <pc:inkChg chg="add mod">
          <ac:chgData name="Aniket Chhabra" userId="598e0514-bef3-4e71-b6aa-f2edd6441cff" providerId="ADAL" clId="{E1032901-1DA4-4941-B011-F516E50845DD}" dt="2023-02-12T05:54:16.497" v="421"/>
          <ac:inkMkLst>
            <pc:docMk/>
            <pc:sldMk cId="0" sldId="269"/>
            <ac:inkMk id="132" creationId="{D38CBACA-A5AF-201E-B4BD-BEC599EE12B7}"/>
          </ac:inkMkLst>
        </pc:inkChg>
        <pc:inkChg chg="add mod">
          <ac:chgData name="Aniket Chhabra" userId="598e0514-bef3-4e71-b6aa-f2edd6441cff" providerId="ADAL" clId="{E1032901-1DA4-4941-B011-F516E50845DD}" dt="2023-02-12T05:54:16.497" v="421"/>
          <ac:inkMkLst>
            <pc:docMk/>
            <pc:sldMk cId="0" sldId="269"/>
            <ac:inkMk id="133" creationId="{E1616AD3-0369-F21B-43AF-B0C2A66E7A22}"/>
          </ac:inkMkLst>
        </pc:inkChg>
        <pc:inkChg chg="add mod">
          <ac:chgData name="Aniket Chhabra" userId="598e0514-bef3-4e71-b6aa-f2edd6441cff" providerId="ADAL" clId="{E1032901-1DA4-4941-B011-F516E50845DD}" dt="2023-02-12T05:54:16.497" v="421"/>
          <ac:inkMkLst>
            <pc:docMk/>
            <pc:sldMk cId="0" sldId="269"/>
            <ac:inkMk id="135" creationId="{9B4F54CB-046A-C789-A78B-38DE114285AF}"/>
          </ac:inkMkLst>
        </pc:inkChg>
        <pc:inkChg chg="add mod">
          <ac:chgData name="Aniket Chhabra" userId="598e0514-bef3-4e71-b6aa-f2edd6441cff" providerId="ADAL" clId="{E1032901-1DA4-4941-B011-F516E50845DD}" dt="2023-02-12T05:54:16.497" v="421"/>
          <ac:inkMkLst>
            <pc:docMk/>
            <pc:sldMk cId="0" sldId="269"/>
            <ac:inkMk id="136" creationId="{AD6CEF22-72E5-33B9-CF9A-DCF9D01CDAC1}"/>
          </ac:inkMkLst>
        </pc:inkChg>
        <pc:inkChg chg="add mod">
          <ac:chgData name="Aniket Chhabra" userId="598e0514-bef3-4e71-b6aa-f2edd6441cff" providerId="ADAL" clId="{E1032901-1DA4-4941-B011-F516E50845DD}" dt="2023-02-12T05:54:16.497" v="421"/>
          <ac:inkMkLst>
            <pc:docMk/>
            <pc:sldMk cId="0" sldId="269"/>
            <ac:inkMk id="137" creationId="{345B8681-0ACF-6C24-F840-2660200CB3B9}"/>
          </ac:inkMkLst>
        </pc:inkChg>
        <pc:inkChg chg="add mod">
          <ac:chgData name="Aniket Chhabra" userId="598e0514-bef3-4e71-b6aa-f2edd6441cff" providerId="ADAL" clId="{E1032901-1DA4-4941-B011-F516E50845DD}" dt="2023-02-12T05:54:16.497" v="421"/>
          <ac:inkMkLst>
            <pc:docMk/>
            <pc:sldMk cId="0" sldId="269"/>
            <ac:inkMk id="138" creationId="{307BC16E-EC8C-A047-E366-904653AADDBB}"/>
          </ac:inkMkLst>
        </pc:inkChg>
        <pc:inkChg chg="add mod">
          <ac:chgData name="Aniket Chhabra" userId="598e0514-bef3-4e71-b6aa-f2edd6441cff" providerId="ADAL" clId="{E1032901-1DA4-4941-B011-F516E50845DD}" dt="2023-02-12T05:54:16.497" v="421"/>
          <ac:inkMkLst>
            <pc:docMk/>
            <pc:sldMk cId="0" sldId="269"/>
            <ac:inkMk id="139" creationId="{CCB315ED-021C-D0DA-9F03-FA300294D77A}"/>
          </ac:inkMkLst>
        </pc:inkChg>
        <pc:inkChg chg="add mod">
          <ac:chgData name="Aniket Chhabra" userId="598e0514-bef3-4e71-b6aa-f2edd6441cff" providerId="ADAL" clId="{E1032901-1DA4-4941-B011-F516E50845DD}" dt="2023-02-12T05:54:16.497" v="421"/>
          <ac:inkMkLst>
            <pc:docMk/>
            <pc:sldMk cId="0" sldId="269"/>
            <ac:inkMk id="140" creationId="{7C3AA298-8AE0-49FE-9423-AA002487F58F}"/>
          </ac:inkMkLst>
        </pc:inkChg>
        <pc:inkChg chg="add mod">
          <ac:chgData name="Aniket Chhabra" userId="598e0514-bef3-4e71-b6aa-f2edd6441cff" providerId="ADAL" clId="{E1032901-1DA4-4941-B011-F516E50845DD}" dt="2023-02-12T05:54:16.497" v="421"/>
          <ac:inkMkLst>
            <pc:docMk/>
            <pc:sldMk cId="0" sldId="269"/>
            <ac:inkMk id="141" creationId="{C34B8316-E103-5413-577D-FF9BAE679D75}"/>
          </ac:inkMkLst>
        </pc:inkChg>
        <pc:inkChg chg="add mod">
          <ac:chgData name="Aniket Chhabra" userId="598e0514-bef3-4e71-b6aa-f2edd6441cff" providerId="ADAL" clId="{E1032901-1DA4-4941-B011-F516E50845DD}" dt="2023-02-12T05:54:16.497" v="421"/>
          <ac:inkMkLst>
            <pc:docMk/>
            <pc:sldMk cId="0" sldId="269"/>
            <ac:inkMk id="142" creationId="{92F0B584-559C-37E8-177D-4527F038575C}"/>
          </ac:inkMkLst>
        </pc:inkChg>
        <pc:inkChg chg="add mod">
          <ac:chgData name="Aniket Chhabra" userId="598e0514-bef3-4e71-b6aa-f2edd6441cff" providerId="ADAL" clId="{E1032901-1DA4-4941-B011-F516E50845DD}" dt="2023-02-12T05:54:16.497" v="421"/>
          <ac:inkMkLst>
            <pc:docMk/>
            <pc:sldMk cId="0" sldId="269"/>
            <ac:inkMk id="143" creationId="{13AC5491-6782-A9A8-0895-7F73CF804BA2}"/>
          </ac:inkMkLst>
        </pc:inkChg>
        <pc:inkChg chg="add mod">
          <ac:chgData name="Aniket Chhabra" userId="598e0514-bef3-4e71-b6aa-f2edd6441cff" providerId="ADAL" clId="{E1032901-1DA4-4941-B011-F516E50845DD}" dt="2023-02-12T05:54:16.497" v="421"/>
          <ac:inkMkLst>
            <pc:docMk/>
            <pc:sldMk cId="0" sldId="269"/>
            <ac:inkMk id="144" creationId="{4DB6222D-3B65-7CE6-90C1-058BFD3F7B52}"/>
          </ac:inkMkLst>
        </pc:inkChg>
        <pc:inkChg chg="add mod">
          <ac:chgData name="Aniket Chhabra" userId="598e0514-bef3-4e71-b6aa-f2edd6441cff" providerId="ADAL" clId="{E1032901-1DA4-4941-B011-F516E50845DD}" dt="2023-02-12T05:54:16.497" v="421"/>
          <ac:inkMkLst>
            <pc:docMk/>
            <pc:sldMk cId="0" sldId="269"/>
            <ac:inkMk id="146" creationId="{C131ADEF-AECB-0E8A-0EE2-288D8C606CB4}"/>
          </ac:inkMkLst>
        </pc:inkChg>
        <pc:inkChg chg="add mod">
          <ac:chgData name="Aniket Chhabra" userId="598e0514-bef3-4e71-b6aa-f2edd6441cff" providerId="ADAL" clId="{E1032901-1DA4-4941-B011-F516E50845DD}" dt="2023-02-12T05:54:16.497" v="421"/>
          <ac:inkMkLst>
            <pc:docMk/>
            <pc:sldMk cId="0" sldId="269"/>
            <ac:inkMk id="148" creationId="{FE1EA5F2-B20A-71FE-30C7-F0E28C7BE651}"/>
          </ac:inkMkLst>
        </pc:inkChg>
        <pc:inkChg chg="add mod">
          <ac:chgData name="Aniket Chhabra" userId="598e0514-bef3-4e71-b6aa-f2edd6441cff" providerId="ADAL" clId="{E1032901-1DA4-4941-B011-F516E50845DD}" dt="2023-02-12T05:54:16.497" v="421"/>
          <ac:inkMkLst>
            <pc:docMk/>
            <pc:sldMk cId="0" sldId="269"/>
            <ac:inkMk id="149" creationId="{7DB3C1EA-59C1-E5CC-92CD-0F77E6890834}"/>
          </ac:inkMkLst>
        </pc:inkChg>
        <pc:inkChg chg="add mod">
          <ac:chgData name="Aniket Chhabra" userId="598e0514-bef3-4e71-b6aa-f2edd6441cff" providerId="ADAL" clId="{E1032901-1DA4-4941-B011-F516E50845DD}" dt="2023-02-12T05:54:16.497" v="421"/>
          <ac:inkMkLst>
            <pc:docMk/>
            <pc:sldMk cId="0" sldId="269"/>
            <ac:inkMk id="150" creationId="{C34222E3-372C-E231-CD57-37E5E5D80933}"/>
          </ac:inkMkLst>
        </pc:inkChg>
        <pc:inkChg chg="add mod">
          <ac:chgData name="Aniket Chhabra" userId="598e0514-bef3-4e71-b6aa-f2edd6441cff" providerId="ADAL" clId="{E1032901-1DA4-4941-B011-F516E50845DD}" dt="2023-02-12T05:54:16.497" v="421"/>
          <ac:inkMkLst>
            <pc:docMk/>
            <pc:sldMk cId="0" sldId="269"/>
            <ac:inkMk id="151" creationId="{50FF8D6E-7D47-F9AC-EEF4-8B45BDAE7FC0}"/>
          </ac:inkMkLst>
        </pc:inkChg>
        <pc:inkChg chg="add mod">
          <ac:chgData name="Aniket Chhabra" userId="598e0514-bef3-4e71-b6aa-f2edd6441cff" providerId="ADAL" clId="{E1032901-1DA4-4941-B011-F516E50845DD}" dt="2023-02-12T05:54:16.497" v="421"/>
          <ac:inkMkLst>
            <pc:docMk/>
            <pc:sldMk cId="0" sldId="269"/>
            <ac:inkMk id="152" creationId="{849CB4AA-0F85-F954-29E7-ED0717F45C48}"/>
          </ac:inkMkLst>
        </pc:inkChg>
        <pc:inkChg chg="add mod">
          <ac:chgData name="Aniket Chhabra" userId="598e0514-bef3-4e71-b6aa-f2edd6441cff" providerId="ADAL" clId="{E1032901-1DA4-4941-B011-F516E50845DD}" dt="2023-02-12T05:54:16.497" v="421"/>
          <ac:inkMkLst>
            <pc:docMk/>
            <pc:sldMk cId="0" sldId="269"/>
            <ac:inkMk id="153" creationId="{10D4CB3C-C99C-6C69-B213-6E9ECA390B8A}"/>
          </ac:inkMkLst>
        </pc:inkChg>
        <pc:inkChg chg="add mod">
          <ac:chgData name="Aniket Chhabra" userId="598e0514-bef3-4e71-b6aa-f2edd6441cff" providerId="ADAL" clId="{E1032901-1DA4-4941-B011-F516E50845DD}" dt="2023-02-12T05:54:16.497" v="421"/>
          <ac:inkMkLst>
            <pc:docMk/>
            <pc:sldMk cId="0" sldId="269"/>
            <ac:inkMk id="154" creationId="{96C450C6-D4D7-0DEB-FAFF-B72ECA11FB1D}"/>
          </ac:inkMkLst>
        </pc:inkChg>
        <pc:inkChg chg="add del mod">
          <ac:chgData name="Aniket Chhabra" userId="598e0514-bef3-4e71-b6aa-f2edd6441cff" providerId="ADAL" clId="{E1032901-1DA4-4941-B011-F516E50845DD}" dt="2023-02-12T05:51:03.965" v="241"/>
          <ac:inkMkLst>
            <pc:docMk/>
            <pc:sldMk cId="0" sldId="269"/>
            <ac:inkMk id="157" creationId="{AE870192-B80B-04CE-A808-C6CE46DB41A1}"/>
          </ac:inkMkLst>
        </pc:inkChg>
        <pc:inkChg chg="add del mod">
          <ac:chgData name="Aniket Chhabra" userId="598e0514-bef3-4e71-b6aa-f2edd6441cff" providerId="ADAL" clId="{E1032901-1DA4-4941-B011-F516E50845DD}" dt="2023-02-12T05:51:05.514" v="252"/>
          <ac:inkMkLst>
            <pc:docMk/>
            <pc:sldMk cId="0" sldId="269"/>
            <ac:inkMk id="158" creationId="{9E940BF4-9DE3-BC1F-C645-C380C71F22B7}"/>
          </ac:inkMkLst>
        </pc:inkChg>
        <pc:inkChg chg="add del mod">
          <ac:chgData name="Aniket Chhabra" userId="598e0514-bef3-4e71-b6aa-f2edd6441cff" providerId="ADAL" clId="{E1032901-1DA4-4941-B011-F516E50845DD}" dt="2023-02-12T05:51:05.512" v="246"/>
          <ac:inkMkLst>
            <pc:docMk/>
            <pc:sldMk cId="0" sldId="269"/>
            <ac:inkMk id="159" creationId="{CF17A732-7581-5708-7880-12849EA5C1B0}"/>
          </ac:inkMkLst>
        </pc:inkChg>
        <pc:inkChg chg="add del mod">
          <ac:chgData name="Aniket Chhabra" userId="598e0514-bef3-4e71-b6aa-f2edd6441cff" providerId="ADAL" clId="{E1032901-1DA4-4941-B011-F516E50845DD}" dt="2023-02-12T05:51:05.514" v="256"/>
          <ac:inkMkLst>
            <pc:docMk/>
            <pc:sldMk cId="0" sldId="269"/>
            <ac:inkMk id="161" creationId="{D4FE375D-71DA-553F-D03A-44B1C056B7C4}"/>
          </ac:inkMkLst>
        </pc:inkChg>
        <pc:inkChg chg="add del mod">
          <ac:chgData name="Aniket Chhabra" userId="598e0514-bef3-4e71-b6aa-f2edd6441cff" providerId="ADAL" clId="{E1032901-1DA4-4941-B011-F516E50845DD}" dt="2023-02-12T05:51:05.512" v="245"/>
          <ac:inkMkLst>
            <pc:docMk/>
            <pc:sldMk cId="0" sldId="269"/>
            <ac:inkMk id="162" creationId="{A6D655CC-75D9-21B1-9E52-4DDCCB32D873}"/>
          </ac:inkMkLst>
        </pc:inkChg>
        <pc:inkChg chg="add del mod">
          <ac:chgData name="Aniket Chhabra" userId="598e0514-bef3-4e71-b6aa-f2edd6441cff" providerId="ADAL" clId="{E1032901-1DA4-4941-B011-F516E50845DD}" dt="2023-02-12T05:51:05.514" v="254"/>
          <ac:inkMkLst>
            <pc:docMk/>
            <pc:sldMk cId="0" sldId="269"/>
            <ac:inkMk id="163" creationId="{0C5399CC-3201-C8E9-75C9-EBA642CC2FC4}"/>
          </ac:inkMkLst>
        </pc:inkChg>
        <pc:inkChg chg="add del mod">
          <ac:chgData name="Aniket Chhabra" userId="598e0514-bef3-4e71-b6aa-f2edd6441cff" providerId="ADAL" clId="{E1032901-1DA4-4941-B011-F516E50845DD}" dt="2023-02-12T05:51:05.513" v="248"/>
          <ac:inkMkLst>
            <pc:docMk/>
            <pc:sldMk cId="0" sldId="269"/>
            <ac:inkMk id="164" creationId="{5015BD24-0174-9305-FB28-38DB24F9424A}"/>
          </ac:inkMkLst>
        </pc:inkChg>
        <pc:inkChg chg="add del mod">
          <ac:chgData name="Aniket Chhabra" userId="598e0514-bef3-4e71-b6aa-f2edd6441cff" providerId="ADAL" clId="{E1032901-1DA4-4941-B011-F516E50845DD}" dt="2023-02-12T05:51:05.514" v="255"/>
          <ac:inkMkLst>
            <pc:docMk/>
            <pc:sldMk cId="0" sldId="269"/>
            <ac:inkMk id="165" creationId="{ECED423B-EB55-28BE-2264-8ACB7629DF95}"/>
          </ac:inkMkLst>
        </pc:inkChg>
        <pc:inkChg chg="add del mod">
          <ac:chgData name="Aniket Chhabra" userId="598e0514-bef3-4e71-b6aa-f2edd6441cff" providerId="ADAL" clId="{E1032901-1DA4-4941-B011-F516E50845DD}" dt="2023-02-12T05:51:05.514" v="253"/>
          <ac:inkMkLst>
            <pc:docMk/>
            <pc:sldMk cId="0" sldId="269"/>
            <ac:inkMk id="167" creationId="{1826CD26-B32E-CA87-E415-6CCED6FD2291}"/>
          </ac:inkMkLst>
        </pc:inkChg>
        <pc:inkChg chg="add del mod">
          <ac:chgData name="Aniket Chhabra" userId="598e0514-bef3-4e71-b6aa-f2edd6441cff" providerId="ADAL" clId="{E1032901-1DA4-4941-B011-F516E50845DD}" dt="2023-02-12T05:51:05.513" v="250"/>
          <ac:inkMkLst>
            <pc:docMk/>
            <pc:sldMk cId="0" sldId="269"/>
            <ac:inkMk id="168" creationId="{393A7963-2B23-5457-6633-94AC8C82B83A}"/>
          </ac:inkMkLst>
        </pc:inkChg>
        <pc:inkChg chg="add del mod">
          <ac:chgData name="Aniket Chhabra" userId="598e0514-bef3-4e71-b6aa-f2edd6441cff" providerId="ADAL" clId="{E1032901-1DA4-4941-B011-F516E50845DD}" dt="2023-02-12T05:51:05.514" v="251"/>
          <ac:inkMkLst>
            <pc:docMk/>
            <pc:sldMk cId="0" sldId="269"/>
            <ac:inkMk id="169" creationId="{DFF390B4-960C-0EF3-2A0D-F8433C152017}"/>
          </ac:inkMkLst>
        </pc:inkChg>
        <pc:inkChg chg="add del mod">
          <ac:chgData name="Aniket Chhabra" userId="598e0514-bef3-4e71-b6aa-f2edd6441cff" providerId="ADAL" clId="{E1032901-1DA4-4941-B011-F516E50845DD}" dt="2023-02-12T05:51:03.965" v="242"/>
          <ac:inkMkLst>
            <pc:docMk/>
            <pc:sldMk cId="0" sldId="269"/>
            <ac:inkMk id="170" creationId="{596CAB50-BDDC-848C-DC07-BA51CC50550E}"/>
          </ac:inkMkLst>
        </pc:inkChg>
        <pc:inkChg chg="add del mod">
          <ac:chgData name="Aniket Chhabra" userId="598e0514-bef3-4e71-b6aa-f2edd6441cff" providerId="ADAL" clId="{E1032901-1DA4-4941-B011-F516E50845DD}" dt="2023-02-12T05:51:03.966" v="244"/>
          <ac:inkMkLst>
            <pc:docMk/>
            <pc:sldMk cId="0" sldId="269"/>
            <ac:inkMk id="171" creationId="{E9EB5BD5-A4EF-D794-C923-B9C0CADA4EAC}"/>
          </ac:inkMkLst>
        </pc:inkChg>
        <pc:inkChg chg="add del mod">
          <ac:chgData name="Aniket Chhabra" userId="598e0514-bef3-4e71-b6aa-f2edd6441cff" providerId="ADAL" clId="{E1032901-1DA4-4941-B011-F516E50845DD}" dt="2023-02-12T05:51:03.966" v="243"/>
          <ac:inkMkLst>
            <pc:docMk/>
            <pc:sldMk cId="0" sldId="269"/>
            <ac:inkMk id="172" creationId="{FED752E1-E9E1-2966-0AEE-E42F46E08F3B}"/>
          </ac:inkMkLst>
        </pc:inkChg>
        <pc:inkChg chg="add del mod">
          <ac:chgData name="Aniket Chhabra" userId="598e0514-bef3-4e71-b6aa-f2edd6441cff" providerId="ADAL" clId="{E1032901-1DA4-4941-B011-F516E50845DD}" dt="2023-02-12T05:51:05.513" v="247"/>
          <ac:inkMkLst>
            <pc:docMk/>
            <pc:sldMk cId="0" sldId="269"/>
            <ac:inkMk id="174" creationId="{13809252-C70F-706C-79F9-830A9E23D777}"/>
          </ac:inkMkLst>
        </pc:inkChg>
        <pc:inkChg chg="add">
          <ac:chgData name="Aniket Chhabra" userId="598e0514-bef3-4e71-b6aa-f2edd6441cff" providerId="ADAL" clId="{E1032901-1DA4-4941-B011-F516E50845DD}" dt="2023-02-12T05:50:31.970" v="226" actId="9405"/>
          <ac:inkMkLst>
            <pc:docMk/>
            <pc:sldMk cId="0" sldId="269"/>
            <ac:inkMk id="176" creationId="{B448C888-54F7-A5B5-4EC7-0E7A2A5A4003}"/>
          </ac:inkMkLst>
        </pc:inkChg>
        <pc:inkChg chg="add mod">
          <ac:chgData name="Aniket Chhabra" userId="598e0514-bef3-4e71-b6aa-f2edd6441cff" providerId="ADAL" clId="{E1032901-1DA4-4941-B011-F516E50845DD}" dt="2023-02-12T05:53:00.931" v="370"/>
          <ac:inkMkLst>
            <pc:docMk/>
            <pc:sldMk cId="0" sldId="269"/>
            <ac:inkMk id="177" creationId="{F4C92E2E-8A79-6FA8-45A6-B34FA5ACA64F}"/>
          </ac:inkMkLst>
        </pc:inkChg>
        <pc:inkChg chg="add mod">
          <ac:chgData name="Aniket Chhabra" userId="598e0514-bef3-4e71-b6aa-f2edd6441cff" providerId="ADAL" clId="{E1032901-1DA4-4941-B011-F516E50845DD}" dt="2023-02-12T05:53:00.931" v="370"/>
          <ac:inkMkLst>
            <pc:docMk/>
            <pc:sldMk cId="0" sldId="269"/>
            <ac:inkMk id="178" creationId="{AE7437E3-0B28-F032-96CC-6C3BAD31C172}"/>
          </ac:inkMkLst>
        </pc:inkChg>
        <pc:inkChg chg="add del mod">
          <ac:chgData name="Aniket Chhabra" userId="598e0514-bef3-4e71-b6aa-f2edd6441cff" providerId="ADAL" clId="{E1032901-1DA4-4941-B011-F516E50845DD}" dt="2023-02-12T05:51:05.513" v="249"/>
          <ac:inkMkLst>
            <pc:docMk/>
            <pc:sldMk cId="0" sldId="269"/>
            <ac:inkMk id="180" creationId="{64408D50-FDF5-9243-7260-3AC9D4E41D9F}"/>
          </ac:inkMkLst>
        </pc:inkChg>
        <pc:inkChg chg="add">
          <ac:chgData name="Aniket Chhabra" userId="598e0514-bef3-4e71-b6aa-f2edd6441cff" providerId="ADAL" clId="{E1032901-1DA4-4941-B011-F516E50845DD}" dt="2023-02-12T05:50:44.406" v="232" actId="9405"/>
          <ac:inkMkLst>
            <pc:docMk/>
            <pc:sldMk cId="0" sldId="269"/>
            <ac:inkMk id="182" creationId="{9E0ED92B-31C2-CE60-B28D-5970BA1CDD74}"/>
          </ac:inkMkLst>
        </pc:inkChg>
        <pc:inkChg chg="add mod">
          <ac:chgData name="Aniket Chhabra" userId="598e0514-bef3-4e71-b6aa-f2edd6441cff" providerId="ADAL" clId="{E1032901-1DA4-4941-B011-F516E50845DD}" dt="2023-02-12T05:54:16.497" v="421"/>
          <ac:inkMkLst>
            <pc:docMk/>
            <pc:sldMk cId="0" sldId="269"/>
            <ac:inkMk id="183" creationId="{B97F2FBB-FAE1-8E4D-D78A-1E514027A8C2}"/>
          </ac:inkMkLst>
        </pc:inkChg>
        <pc:inkChg chg="add mod">
          <ac:chgData name="Aniket Chhabra" userId="598e0514-bef3-4e71-b6aa-f2edd6441cff" providerId="ADAL" clId="{E1032901-1DA4-4941-B011-F516E50845DD}" dt="2023-02-12T05:54:16.497" v="421"/>
          <ac:inkMkLst>
            <pc:docMk/>
            <pc:sldMk cId="0" sldId="269"/>
            <ac:inkMk id="185" creationId="{2DB245FE-6D1D-6A74-7795-EE670F41ED57}"/>
          </ac:inkMkLst>
        </pc:inkChg>
        <pc:inkChg chg="add mod">
          <ac:chgData name="Aniket Chhabra" userId="598e0514-bef3-4e71-b6aa-f2edd6441cff" providerId="ADAL" clId="{E1032901-1DA4-4941-B011-F516E50845DD}" dt="2023-02-12T05:54:16.497" v="421"/>
          <ac:inkMkLst>
            <pc:docMk/>
            <pc:sldMk cId="0" sldId="269"/>
            <ac:inkMk id="187" creationId="{EA520340-2B21-1434-E8BD-E14C199DD147}"/>
          </ac:inkMkLst>
        </pc:inkChg>
        <pc:inkChg chg="add mod">
          <ac:chgData name="Aniket Chhabra" userId="598e0514-bef3-4e71-b6aa-f2edd6441cff" providerId="ADAL" clId="{E1032901-1DA4-4941-B011-F516E50845DD}" dt="2023-02-12T05:54:16.497" v="421"/>
          <ac:inkMkLst>
            <pc:docMk/>
            <pc:sldMk cId="0" sldId="269"/>
            <ac:inkMk id="189" creationId="{8B0F87B7-E40B-3E81-62EB-9400E02AB30E}"/>
          </ac:inkMkLst>
        </pc:inkChg>
        <pc:inkChg chg="add mod">
          <ac:chgData name="Aniket Chhabra" userId="598e0514-bef3-4e71-b6aa-f2edd6441cff" providerId="ADAL" clId="{E1032901-1DA4-4941-B011-F516E50845DD}" dt="2023-02-12T05:51:12.679" v="258"/>
          <ac:inkMkLst>
            <pc:docMk/>
            <pc:sldMk cId="0" sldId="269"/>
            <ac:inkMk id="191" creationId="{09EE81B2-BAF2-93BB-D59D-68BD33D5D7FC}"/>
          </ac:inkMkLst>
        </pc:inkChg>
        <pc:inkChg chg="add">
          <ac:chgData name="Aniket Chhabra" userId="598e0514-bef3-4e71-b6aa-f2edd6441cff" providerId="ADAL" clId="{E1032901-1DA4-4941-B011-F516E50845DD}" dt="2023-02-12T05:51:14.327" v="259" actId="9405"/>
          <ac:inkMkLst>
            <pc:docMk/>
            <pc:sldMk cId="0" sldId="269"/>
            <ac:inkMk id="193" creationId="{F34C17F0-8A3E-457F-4FD8-4639313340B1}"/>
          </ac:inkMkLst>
        </pc:inkChg>
        <pc:inkChg chg="add">
          <ac:chgData name="Aniket Chhabra" userId="598e0514-bef3-4e71-b6aa-f2edd6441cff" providerId="ADAL" clId="{E1032901-1DA4-4941-B011-F516E50845DD}" dt="2023-02-12T05:51:14.782" v="260" actId="9405"/>
          <ac:inkMkLst>
            <pc:docMk/>
            <pc:sldMk cId="0" sldId="269"/>
            <ac:inkMk id="194" creationId="{BA6E92EA-FDC7-9217-6B9A-3DB673767EA9}"/>
          </ac:inkMkLst>
        </pc:inkChg>
        <pc:inkChg chg="add mod">
          <ac:chgData name="Aniket Chhabra" userId="598e0514-bef3-4e71-b6aa-f2edd6441cff" providerId="ADAL" clId="{E1032901-1DA4-4941-B011-F516E50845DD}" dt="2023-02-12T05:51:23.339" v="282"/>
          <ac:inkMkLst>
            <pc:docMk/>
            <pc:sldMk cId="0" sldId="269"/>
            <ac:inkMk id="195" creationId="{D8B61484-9821-1EE1-11A5-B0B2099A0C9C}"/>
          </ac:inkMkLst>
        </pc:inkChg>
        <pc:inkChg chg="add mod">
          <ac:chgData name="Aniket Chhabra" userId="598e0514-bef3-4e71-b6aa-f2edd6441cff" providerId="ADAL" clId="{E1032901-1DA4-4941-B011-F516E50845DD}" dt="2023-02-12T05:51:23.339" v="282"/>
          <ac:inkMkLst>
            <pc:docMk/>
            <pc:sldMk cId="0" sldId="269"/>
            <ac:inkMk id="196" creationId="{65CA09BE-33D4-D0D0-66BA-0AF0BD329078}"/>
          </ac:inkMkLst>
        </pc:inkChg>
        <pc:inkChg chg="add mod">
          <ac:chgData name="Aniket Chhabra" userId="598e0514-bef3-4e71-b6aa-f2edd6441cff" providerId="ADAL" clId="{E1032901-1DA4-4941-B011-F516E50845DD}" dt="2023-02-12T05:51:23.339" v="282"/>
          <ac:inkMkLst>
            <pc:docMk/>
            <pc:sldMk cId="0" sldId="269"/>
            <ac:inkMk id="197" creationId="{E5AD2AA3-DF5D-2D03-BC2B-040C36DD75AE}"/>
          </ac:inkMkLst>
        </pc:inkChg>
        <pc:inkChg chg="add mod">
          <ac:chgData name="Aniket Chhabra" userId="598e0514-bef3-4e71-b6aa-f2edd6441cff" providerId="ADAL" clId="{E1032901-1DA4-4941-B011-F516E50845DD}" dt="2023-02-12T05:51:23.339" v="282"/>
          <ac:inkMkLst>
            <pc:docMk/>
            <pc:sldMk cId="0" sldId="269"/>
            <ac:inkMk id="198" creationId="{BFBFDF53-3586-4891-BAB6-976116BC76CC}"/>
          </ac:inkMkLst>
        </pc:inkChg>
        <pc:inkChg chg="add mod">
          <ac:chgData name="Aniket Chhabra" userId="598e0514-bef3-4e71-b6aa-f2edd6441cff" providerId="ADAL" clId="{E1032901-1DA4-4941-B011-F516E50845DD}" dt="2023-02-12T05:51:23.339" v="282"/>
          <ac:inkMkLst>
            <pc:docMk/>
            <pc:sldMk cId="0" sldId="269"/>
            <ac:inkMk id="199" creationId="{7D26AE42-9A2A-03CA-B369-CDAE8117FBAF}"/>
          </ac:inkMkLst>
        </pc:inkChg>
        <pc:inkChg chg="add mod">
          <ac:chgData name="Aniket Chhabra" userId="598e0514-bef3-4e71-b6aa-f2edd6441cff" providerId="ADAL" clId="{E1032901-1DA4-4941-B011-F516E50845DD}" dt="2023-02-12T05:51:23.339" v="282"/>
          <ac:inkMkLst>
            <pc:docMk/>
            <pc:sldMk cId="0" sldId="269"/>
            <ac:inkMk id="200" creationId="{B339935B-24F3-E72E-D8AF-C9F6C45C0D98}"/>
          </ac:inkMkLst>
        </pc:inkChg>
        <pc:inkChg chg="add mod">
          <ac:chgData name="Aniket Chhabra" userId="598e0514-bef3-4e71-b6aa-f2edd6441cff" providerId="ADAL" clId="{E1032901-1DA4-4941-B011-F516E50845DD}" dt="2023-02-12T05:51:23.339" v="282"/>
          <ac:inkMkLst>
            <pc:docMk/>
            <pc:sldMk cId="0" sldId="269"/>
            <ac:inkMk id="201" creationId="{0D3EEA65-8216-9868-231F-6E9B6D89EFB2}"/>
          </ac:inkMkLst>
        </pc:inkChg>
        <pc:inkChg chg="add mod">
          <ac:chgData name="Aniket Chhabra" userId="598e0514-bef3-4e71-b6aa-f2edd6441cff" providerId="ADAL" clId="{E1032901-1DA4-4941-B011-F516E50845DD}" dt="2023-02-12T05:51:23.339" v="282"/>
          <ac:inkMkLst>
            <pc:docMk/>
            <pc:sldMk cId="0" sldId="269"/>
            <ac:inkMk id="202" creationId="{D3D0569B-2F2F-340F-8B3F-855ABF68C096}"/>
          </ac:inkMkLst>
        </pc:inkChg>
        <pc:inkChg chg="add mod">
          <ac:chgData name="Aniket Chhabra" userId="598e0514-bef3-4e71-b6aa-f2edd6441cff" providerId="ADAL" clId="{E1032901-1DA4-4941-B011-F516E50845DD}" dt="2023-02-12T05:51:23.339" v="282"/>
          <ac:inkMkLst>
            <pc:docMk/>
            <pc:sldMk cId="0" sldId="269"/>
            <ac:inkMk id="203" creationId="{312B224F-0583-CE9A-5060-94EE7D38ADAC}"/>
          </ac:inkMkLst>
        </pc:inkChg>
        <pc:inkChg chg="add mod">
          <ac:chgData name="Aniket Chhabra" userId="598e0514-bef3-4e71-b6aa-f2edd6441cff" providerId="ADAL" clId="{E1032901-1DA4-4941-B011-F516E50845DD}" dt="2023-02-12T05:51:23.339" v="282"/>
          <ac:inkMkLst>
            <pc:docMk/>
            <pc:sldMk cId="0" sldId="269"/>
            <ac:inkMk id="204" creationId="{B8E2111E-9EF1-C28F-7C42-E38DF3B9A23E}"/>
          </ac:inkMkLst>
        </pc:inkChg>
        <pc:inkChg chg="add mod">
          <ac:chgData name="Aniket Chhabra" userId="598e0514-bef3-4e71-b6aa-f2edd6441cff" providerId="ADAL" clId="{E1032901-1DA4-4941-B011-F516E50845DD}" dt="2023-02-12T05:51:23.339" v="282"/>
          <ac:inkMkLst>
            <pc:docMk/>
            <pc:sldMk cId="0" sldId="269"/>
            <ac:inkMk id="205" creationId="{740019F0-B039-CCA4-9854-8C1640C300BD}"/>
          </ac:inkMkLst>
        </pc:inkChg>
        <pc:inkChg chg="add mod">
          <ac:chgData name="Aniket Chhabra" userId="598e0514-bef3-4e71-b6aa-f2edd6441cff" providerId="ADAL" clId="{E1032901-1DA4-4941-B011-F516E50845DD}" dt="2023-02-12T05:51:23.339" v="282"/>
          <ac:inkMkLst>
            <pc:docMk/>
            <pc:sldMk cId="0" sldId="269"/>
            <ac:inkMk id="206" creationId="{09DA3B53-1101-AF75-077A-97D67185B97D}"/>
          </ac:inkMkLst>
        </pc:inkChg>
        <pc:inkChg chg="add mod">
          <ac:chgData name="Aniket Chhabra" userId="598e0514-bef3-4e71-b6aa-f2edd6441cff" providerId="ADAL" clId="{E1032901-1DA4-4941-B011-F516E50845DD}" dt="2023-02-12T05:51:23.339" v="282"/>
          <ac:inkMkLst>
            <pc:docMk/>
            <pc:sldMk cId="0" sldId="269"/>
            <ac:inkMk id="207" creationId="{81E0D231-5C61-D9FF-F5DE-6503A965EB5E}"/>
          </ac:inkMkLst>
        </pc:inkChg>
        <pc:inkChg chg="add mod">
          <ac:chgData name="Aniket Chhabra" userId="598e0514-bef3-4e71-b6aa-f2edd6441cff" providerId="ADAL" clId="{E1032901-1DA4-4941-B011-F516E50845DD}" dt="2023-02-12T05:51:23.339" v="282"/>
          <ac:inkMkLst>
            <pc:docMk/>
            <pc:sldMk cId="0" sldId="269"/>
            <ac:inkMk id="208" creationId="{1E278BDD-0047-18E8-0917-CCA28B051A4C}"/>
          </ac:inkMkLst>
        </pc:inkChg>
        <pc:inkChg chg="add mod">
          <ac:chgData name="Aniket Chhabra" userId="598e0514-bef3-4e71-b6aa-f2edd6441cff" providerId="ADAL" clId="{E1032901-1DA4-4941-B011-F516E50845DD}" dt="2023-02-12T05:51:23.339" v="282"/>
          <ac:inkMkLst>
            <pc:docMk/>
            <pc:sldMk cId="0" sldId="269"/>
            <ac:inkMk id="209" creationId="{856FD039-62BD-73EA-D315-6591CE484454}"/>
          </ac:inkMkLst>
        </pc:inkChg>
        <pc:inkChg chg="add mod">
          <ac:chgData name="Aniket Chhabra" userId="598e0514-bef3-4e71-b6aa-f2edd6441cff" providerId="ADAL" clId="{E1032901-1DA4-4941-B011-F516E50845DD}" dt="2023-02-12T05:51:23.339" v="282"/>
          <ac:inkMkLst>
            <pc:docMk/>
            <pc:sldMk cId="0" sldId="269"/>
            <ac:inkMk id="210" creationId="{6ECCA844-546E-4169-5C96-562F54C6C779}"/>
          </ac:inkMkLst>
        </pc:inkChg>
        <pc:inkChg chg="add mod">
          <ac:chgData name="Aniket Chhabra" userId="598e0514-bef3-4e71-b6aa-f2edd6441cff" providerId="ADAL" clId="{E1032901-1DA4-4941-B011-F516E50845DD}" dt="2023-02-12T05:51:23.339" v="282"/>
          <ac:inkMkLst>
            <pc:docMk/>
            <pc:sldMk cId="0" sldId="269"/>
            <ac:inkMk id="211" creationId="{24BB04BF-9F50-FD62-9678-C2AC38C48B45}"/>
          </ac:inkMkLst>
        </pc:inkChg>
        <pc:inkChg chg="add mod">
          <ac:chgData name="Aniket Chhabra" userId="598e0514-bef3-4e71-b6aa-f2edd6441cff" providerId="ADAL" clId="{E1032901-1DA4-4941-B011-F516E50845DD}" dt="2023-02-12T05:51:23.339" v="282"/>
          <ac:inkMkLst>
            <pc:docMk/>
            <pc:sldMk cId="0" sldId="269"/>
            <ac:inkMk id="212" creationId="{BBBEE03C-ED13-62BF-CEF1-A8DBF17D2471}"/>
          </ac:inkMkLst>
        </pc:inkChg>
        <pc:inkChg chg="add mod">
          <ac:chgData name="Aniket Chhabra" userId="598e0514-bef3-4e71-b6aa-f2edd6441cff" providerId="ADAL" clId="{E1032901-1DA4-4941-B011-F516E50845DD}" dt="2023-02-12T05:51:23.339" v="282"/>
          <ac:inkMkLst>
            <pc:docMk/>
            <pc:sldMk cId="0" sldId="269"/>
            <ac:inkMk id="213" creationId="{EB9E5941-5F35-015A-CD12-9201AFA2AF94}"/>
          </ac:inkMkLst>
        </pc:inkChg>
        <pc:inkChg chg="add mod">
          <ac:chgData name="Aniket Chhabra" userId="598e0514-bef3-4e71-b6aa-f2edd6441cff" providerId="ADAL" clId="{E1032901-1DA4-4941-B011-F516E50845DD}" dt="2023-02-12T05:51:23.339" v="282"/>
          <ac:inkMkLst>
            <pc:docMk/>
            <pc:sldMk cId="0" sldId="269"/>
            <ac:inkMk id="214" creationId="{4D305FB4-8243-FAE9-3AE5-F8FB3A96D420}"/>
          </ac:inkMkLst>
        </pc:inkChg>
        <pc:inkChg chg="add mod">
          <ac:chgData name="Aniket Chhabra" userId="598e0514-bef3-4e71-b6aa-f2edd6441cff" providerId="ADAL" clId="{E1032901-1DA4-4941-B011-F516E50845DD}" dt="2023-02-12T05:51:23.339" v="282"/>
          <ac:inkMkLst>
            <pc:docMk/>
            <pc:sldMk cId="0" sldId="269"/>
            <ac:inkMk id="215" creationId="{FD2479E3-840F-CA7B-BC69-FA8048BFB31D}"/>
          </ac:inkMkLst>
        </pc:inkChg>
        <pc:inkChg chg="add">
          <ac:chgData name="Aniket Chhabra" userId="598e0514-bef3-4e71-b6aa-f2edd6441cff" providerId="ADAL" clId="{E1032901-1DA4-4941-B011-F516E50845DD}" dt="2023-02-12T05:51:39.075" v="283" actId="9405"/>
          <ac:inkMkLst>
            <pc:docMk/>
            <pc:sldMk cId="0" sldId="269"/>
            <ac:inkMk id="217" creationId="{91A67BCA-1FEA-E27B-9F7A-BC2A325DB1DC}"/>
          </ac:inkMkLst>
        </pc:inkChg>
        <pc:inkChg chg="add">
          <ac:chgData name="Aniket Chhabra" userId="598e0514-bef3-4e71-b6aa-f2edd6441cff" providerId="ADAL" clId="{E1032901-1DA4-4941-B011-F516E50845DD}" dt="2023-02-12T05:51:40.073" v="284" actId="9405"/>
          <ac:inkMkLst>
            <pc:docMk/>
            <pc:sldMk cId="0" sldId="269"/>
            <ac:inkMk id="218" creationId="{1C5A40FA-C164-2DC6-63B7-61B36D2359EF}"/>
          </ac:inkMkLst>
        </pc:inkChg>
        <pc:inkChg chg="add">
          <ac:chgData name="Aniket Chhabra" userId="598e0514-bef3-4e71-b6aa-f2edd6441cff" providerId="ADAL" clId="{E1032901-1DA4-4941-B011-F516E50845DD}" dt="2023-02-12T05:51:48.288" v="285" actId="9405"/>
          <ac:inkMkLst>
            <pc:docMk/>
            <pc:sldMk cId="0" sldId="269"/>
            <ac:inkMk id="219" creationId="{1D3257CF-92F7-1275-57FA-2B9098227FB8}"/>
          </ac:inkMkLst>
        </pc:inkChg>
        <pc:inkChg chg="add mod">
          <ac:chgData name="Aniket Chhabra" userId="598e0514-bef3-4e71-b6aa-f2edd6441cff" providerId="ADAL" clId="{E1032901-1DA4-4941-B011-F516E50845DD}" dt="2023-02-12T05:51:50.165" v="287"/>
          <ac:inkMkLst>
            <pc:docMk/>
            <pc:sldMk cId="0" sldId="269"/>
            <ac:inkMk id="220" creationId="{C96FB7B0-50BA-18C8-F72D-94E59A13080B}"/>
          </ac:inkMkLst>
        </pc:inkChg>
        <pc:inkChg chg="add mod">
          <ac:chgData name="Aniket Chhabra" userId="598e0514-bef3-4e71-b6aa-f2edd6441cff" providerId="ADAL" clId="{E1032901-1DA4-4941-B011-F516E50845DD}" dt="2023-02-12T05:54:16.497" v="421"/>
          <ac:inkMkLst>
            <pc:docMk/>
            <pc:sldMk cId="0" sldId="269"/>
            <ac:inkMk id="222" creationId="{422D2737-5355-6C45-1480-FA6B7EA73F2F}"/>
          </ac:inkMkLst>
        </pc:inkChg>
        <pc:inkChg chg="add mod">
          <ac:chgData name="Aniket Chhabra" userId="598e0514-bef3-4e71-b6aa-f2edd6441cff" providerId="ADAL" clId="{E1032901-1DA4-4941-B011-F516E50845DD}" dt="2023-02-12T05:54:16.497" v="421"/>
          <ac:inkMkLst>
            <pc:docMk/>
            <pc:sldMk cId="0" sldId="269"/>
            <ac:inkMk id="223" creationId="{AC3B519A-7417-4C5E-55E8-1CAA84B48F85}"/>
          </ac:inkMkLst>
        </pc:inkChg>
        <pc:inkChg chg="add mod">
          <ac:chgData name="Aniket Chhabra" userId="598e0514-bef3-4e71-b6aa-f2edd6441cff" providerId="ADAL" clId="{E1032901-1DA4-4941-B011-F516E50845DD}" dt="2023-02-12T05:54:16.497" v="421"/>
          <ac:inkMkLst>
            <pc:docMk/>
            <pc:sldMk cId="0" sldId="269"/>
            <ac:inkMk id="225" creationId="{98337620-C197-55C2-21B5-52482C8920D7}"/>
          </ac:inkMkLst>
        </pc:inkChg>
        <pc:inkChg chg="add mod">
          <ac:chgData name="Aniket Chhabra" userId="598e0514-bef3-4e71-b6aa-f2edd6441cff" providerId="ADAL" clId="{E1032901-1DA4-4941-B011-F516E50845DD}" dt="2023-02-12T05:54:16.497" v="421"/>
          <ac:inkMkLst>
            <pc:docMk/>
            <pc:sldMk cId="0" sldId="269"/>
            <ac:inkMk id="226" creationId="{0AB008A8-C9B1-79A9-6D65-867EA0AE11EB}"/>
          </ac:inkMkLst>
        </pc:inkChg>
        <pc:inkChg chg="add mod">
          <ac:chgData name="Aniket Chhabra" userId="598e0514-bef3-4e71-b6aa-f2edd6441cff" providerId="ADAL" clId="{E1032901-1DA4-4941-B011-F516E50845DD}" dt="2023-02-12T05:54:16.497" v="421"/>
          <ac:inkMkLst>
            <pc:docMk/>
            <pc:sldMk cId="0" sldId="269"/>
            <ac:inkMk id="227" creationId="{86E868D2-7B51-BCA8-CBE2-88C80230DB92}"/>
          </ac:inkMkLst>
        </pc:inkChg>
        <pc:inkChg chg="add mod">
          <ac:chgData name="Aniket Chhabra" userId="598e0514-bef3-4e71-b6aa-f2edd6441cff" providerId="ADAL" clId="{E1032901-1DA4-4941-B011-F516E50845DD}" dt="2023-02-12T05:54:16.497" v="421"/>
          <ac:inkMkLst>
            <pc:docMk/>
            <pc:sldMk cId="0" sldId="269"/>
            <ac:inkMk id="229" creationId="{63C27632-9FCA-36CC-2090-4D666995A3F0}"/>
          </ac:inkMkLst>
        </pc:inkChg>
        <pc:inkChg chg="add mod">
          <ac:chgData name="Aniket Chhabra" userId="598e0514-bef3-4e71-b6aa-f2edd6441cff" providerId="ADAL" clId="{E1032901-1DA4-4941-B011-F516E50845DD}" dt="2023-02-12T05:54:16.497" v="421"/>
          <ac:inkMkLst>
            <pc:docMk/>
            <pc:sldMk cId="0" sldId="269"/>
            <ac:inkMk id="230" creationId="{94A8A71A-2E47-A7A8-387F-F4E039D28752}"/>
          </ac:inkMkLst>
        </pc:inkChg>
        <pc:inkChg chg="add mod">
          <ac:chgData name="Aniket Chhabra" userId="598e0514-bef3-4e71-b6aa-f2edd6441cff" providerId="ADAL" clId="{E1032901-1DA4-4941-B011-F516E50845DD}" dt="2023-02-12T05:54:16.497" v="421"/>
          <ac:inkMkLst>
            <pc:docMk/>
            <pc:sldMk cId="0" sldId="269"/>
            <ac:inkMk id="231" creationId="{220139E5-6274-F86C-AB8B-1523539362DF}"/>
          </ac:inkMkLst>
        </pc:inkChg>
        <pc:inkChg chg="add mod">
          <ac:chgData name="Aniket Chhabra" userId="598e0514-bef3-4e71-b6aa-f2edd6441cff" providerId="ADAL" clId="{E1032901-1DA4-4941-B011-F516E50845DD}" dt="2023-02-12T05:54:16.497" v="421"/>
          <ac:inkMkLst>
            <pc:docMk/>
            <pc:sldMk cId="0" sldId="269"/>
            <ac:inkMk id="232" creationId="{FCC12A91-685C-3BBE-410C-0959286D8C02}"/>
          </ac:inkMkLst>
        </pc:inkChg>
        <pc:inkChg chg="add mod">
          <ac:chgData name="Aniket Chhabra" userId="598e0514-bef3-4e71-b6aa-f2edd6441cff" providerId="ADAL" clId="{E1032901-1DA4-4941-B011-F516E50845DD}" dt="2023-02-12T05:54:16.497" v="421"/>
          <ac:inkMkLst>
            <pc:docMk/>
            <pc:sldMk cId="0" sldId="269"/>
            <ac:inkMk id="233" creationId="{3BE0DD6E-8112-ACEA-330A-F37D92AF3D6B}"/>
          </ac:inkMkLst>
        </pc:inkChg>
        <pc:inkChg chg="add mod">
          <ac:chgData name="Aniket Chhabra" userId="598e0514-bef3-4e71-b6aa-f2edd6441cff" providerId="ADAL" clId="{E1032901-1DA4-4941-B011-F516E50845DD}" dt="2023-02-12T05:54:16.497" v="421"/>
          <ac:inkMkLst>
            <pc:docMk/>
            <pc:sldMk cId="0" sldId="269"/>
            <ac:inkMk id="234" creationId="{C8497E3E-656D-61D8-7E1F-57930929DDB7}"/>
          </ac:inkMkLst>
        </pc:inkChg>
        <pc:inkChg chg="add mod">
          <ac:chgData name="Aniket Chhabra" userId="598e0514-bef3-4e71-b6aa-f2edd6441cff" providerId="ADAL" clId="{E1032901-1DA4-4941-B011-F516E50845DD}" dt="2023-02-12T05:54:16.497" v="421"/>
          <ac:inkMkLst>
            <pc:docMk/>
            <pc:sldMk cId="0" sldId="269"/>
            <ac:inkMk id="236" creationId="{E5D64522-5AF1-978E-C49B-932BCEE17077}"/>
          </ac:inkMkLst>
        </pc:inkChg>
        <pc:inkChg chg="add mod">
          <ac:chgData name="Aniket Chhabra" userId="598e0514-bef3-4e71-b6aa-f2edd6441cff" providerId="ADAL" clId="{E1032901-1DA4-4941-B011-F516E50845DD}" dt="2023-02-12T05:52:09.832" v="314"/>
          <ac:inkMkLst>
            <pc:docMk/>
            <pc:sldMk cId="0" sldId="269"/>
            <ac:inkMk id="238" creationId="{8462E0A1-4A83-9323-A599-ECACA0922341}"/>
          </ac:inkMkLst>
        </pc:inkChg>
        <pc:inkChg chg="add mod">
          <ac:chgData name="Aniket Chhabra" userId="598e0514-bef3-4e71-b6aa-f2edd6441cff" providerId="ADAL" clId="{E1032901-1DA4-4941-B011-F516E50845DD}" dt="2023-02-12T05:52:09.832" v="314"/>
          <ac:inkMkLst>
            <pc:docMk/>
            <pc:sldMk cId="0" sldId="269"/>
            <ac:inkMk id="239" creationId="{AF23B7BB-F864-171C-8269-CD55725D3818}"/>
          </ac:inkMkLst>
        </pc:inkChg>
        <pc:inkChg chg="add mod">
          <ac:chgData name="Aniket Chhabra" userId="598e0514-bef3-4e71-b6aa-f2edd6441cff" providerId="ADAL" clId="{E1032901-1DA4-4941-B011-F516E50845DD}" dt="2023-02-12T05:52:09.832" v="314"/>
          <ac:inkMkLst>
            <pc:docMk/>
            <pc:sldMk cId="0" sldId="269"/>
            <ac:inkMk id="240" creationId="{43AF2060-8091-AAEB-40E6-55F3C8739942}"/>
          </ac:inkMkLst>
        </pc:inkChg>
        <pc:inkChg chg="add mod">
          <ac:chgData name="Aniket Chhabra" userId="598e0514-bef3-4e71-b6aa-f2edd6441cff" providerId="ADAL" clId="{E1032901-1DA4-4941-B011-F516E50845DD}" dt="2023-02-12T05:52:09.832" v="314"/>
          <ac:inkMkLst>
            <pc:docMk/>
            <pc:sldMk cId="0" sldId="269"/>
            <ac:inkMk id="241" creationId="{CE2017B7-6703-3574-5A90-F2B621134F6A}"/>
          </ac:inkMkLst>
        </pc:inkChg>
        <pc:inkChg chg="add mod">
          <ac:chgData name="Aniket Chhabra" userId="598e0514-bef3-4e71-b6aa-f2edd6441cff" providerId="ADAL" clId="{E1032901-1DA4-4941-B011-F516E50845DD}" dt="2023-02-12T05:52:09.832" v="314"/>
          <ac:inkMkLst>
            <pc:docMk/>
            <pc:sldMk cId="0" sldId="269"/>
            <ac:inkMk id="242" creationId="{D593AB4B-B372-0760-76ED-751E4CCC8CB9}"/>
          </ac:inkMkLst>
        </pc:inkChg>
        <pc:inkChg chg="add mod">
          <ac:chgData name="Aniket Chhabra" userId="598e0514-bef3-4e71-b6aa-f2edd6441cff" providerId="ADAL" clId="{E1032901-1DA4-4941-B011-F516E50845DD}" dt="2023-02-12T05:52:09.832" v="314"/>
          <ac:inkMkLst>
            <pc:docMk/>
            <pc:sldMk cId="0" sldId="269"/>
            <ac:inkMk id="243" creationId="{22085E2F-36D8-C374-D46A-D257B321B429}"/>
          </ac:inkMkLst>
        </pc:inkChg>
        <pc:inkChg chg="add mod">
          <ac:chgData name="Aniket Chhabra" userId="598e0514-bef3-4e71-b6aa-f2edd6441cff" providerId="ADAL" clId="{E1032901-1DA4-4941-B011-F516E50845DD}" dt="2023-02-12T05:52:09.832" v="314"/>
          <ac:inkMkLst>
            <pc:docMk/>
            <pc:sldMk cId="0" sldId="269"/>
            <ac:inkMk id="244" creationId="{40F346BB-9502-D2F3-4A95-2BF10E3C2F7E}"/>
          </ac:inkMkLst>
        </pc:inkChg>
        <pc:inkChg chg="add">
          <ac:chgData name="Aniket Chhabra" userId="598e0514-bef3-4e71-b6aa-f2edd6441cff" providerId="ADAL" clId="{E1032901-1DA4-4941-B011-F516E50845DD}" dt="2023-02-12T05:52:06.803" v="311" actId="9405"/>
          <ac:inkMkLst>
            <pc:docMk/>
            <pc:sldMk cId="0" sldId="269"/>
            <ac:inkMk id="245" creationId="{81BE14B9-18EE-72C0-F32B-BD498B72AB8D}"/>
          </ac:inkMkLst>
        </pc:inkChg>
        <pc:inkChg chg="add mod">
          <ac:chgData name="Aniket Chhabra" userId="598e0514-bef3-4e71-b6aa-f2edd6441cff" providerId="ADAL" clId="{E1032901-1DA4-4941-B011-F516E50845DD}" dt="2023-02-12T05:52:09.832" v="314"/>
          <ac:inkMkLst>
            <pc:docMk/>
            <pc:sldMk cId="0" sldId="269"/>
            <ac:inkMk id="247" creationId="{3F359DF2-C3F6-5ED9-0EC4-B88E26149BEA}"/>
          </ac:inkMkLst>
        </pc:inkChg>
        <pc:inkChg chg="add mod">
          <ac:chgData name="Aniket Chhabra" userId="598e0514-bef3-4e71-b6aa-f2edd6441cff" providerId="ADAL" clId="{E1032901-1DA4-4941-B011-F516E50845DD}" dt="2023-02-12T05:54:16.497" v="421"/>
          <ac:inkMkLst>
            <pc:docMk/>
            <pc:sldMk cId="0" sldId="269"/>
            <ac:inkMk id="249" creationId="{3F4E99F2-1C81-7EDC-E7E3-8671272694CE}"/>
          </ac:inkMkLst>
        </pc:inkChg>
        <pc:inkChg chg="add mod">
          <ac:chgData name="Aniket Chhabra" userId="598e0514-bef3-4e71-b6aa-f2edd6441cff" providerId="ADAL" clId="{E1032901-1DA4-4941-B011-F516E50845DD}" dt="2023-02-12T05:54:16.497" v="421"/>
          <ac:inkMkLst>
            <pc:docMk/>
            <pc:sldMk cId="0" sldId="269"/>
            <ac:inkMk id="250" creationId="{E5087629-3540-69A2-550B-AE8FA606405A}"/>
          </ac:inkMkLst>
        </pc:inkChg>
        <pc:inkChg chg="add mod">
          <ac:chgData name="Aniket Chhabra" userId="598e0514-bef3-4e71-b6aa-f2edd6441cff" providerId="ADAL" clId="{E1032901-1DA4-4941-B011-F516E50845DD}" dt="2023-02-12T05:54:16.497" v="421"/>
          <ac:inkMkLst>
            <pc:docMk/>
            <pc:sldMk cId="0" sldId="269"/>
            <ac:inkMk id="251" creationId="{81A61C8F-D75F-9019-E6A6-28076BEAB781}"/>
          </ac:inkMkLst>
        </pc:inkChg>
        <pc:inkChg chg="add mod">
          <ac:chgData name="Aniket Chhabra" userId="598e0514-bef3-4e71-b6aa-f2edd6441cff" providerId="ADAL" clId="{E1032901-1DA4-4941-B011-F516E50845DD}" dt="2023-02-12T05:54:16.497" v="421"/>
          <ac:inkMkLst>
            <pc:docMk/>
            <pc:sldMk cId="0" sldId="269"/>
            <ac:inkMk id="253" creationId="{34147B88-4858-BC16-727E-62CA59DC9747}"/>
          </ac:inkMkLst>
        </pc:inkChg>
        <pc:inkChg chg="add mod">
          <ac:chgData name="Aniket Chhabra" userId="598e0514-bef3-4e71-b6aa-f2edd6441cff" providerId="ADAL" clId="{E1032901-1DA4-4941-B011-F516E50845DD}" dt="2023-02-12T05:54:16.497" v="421"/>
          <ac:inkMkLst>
            <pc:docMk/>
            <pc:sldMk cId="0" sldId="269"/>
            <ac:inkMk id="254" creationId="{97058776-E466-0A39-D5AD-4941D11683BF}"/>
          </ac:inkMkLst>
        </pc:inkChg>
        <pc:inkChg chg="add mod">
          <ac:chgData name="Aniket Chhabra" userId="598e0514-bef3-4e71-b6aa-f2edd6441cff" providerId="ADAL" clId="{E1032901-1DA4-4941-B011-F516E50845DD}" dt="2023-02-12T05:54:16.497" v="421"/>
          <ac:inkMkLst>
            <pc:docMk/>
            <pc:sldMk cId="0" sldId="269"/>
            <ac:inkMk id="255" creationId="{CA1F6651-F350-026D-DF3D-DB7D10345909}"/>
          </ac:inkMkLst>
        </pc:inkChg>
        <pc:inkChg chg="add mod">
          <ac:chgData name="Aniket Chhabra" userId="598e0514-bef3-4e71-b6aa-f2edd6441cff" providerId="ADAL" clId="{E1032901-1DA4-4941-B011-F516E50845DD}" dt="2023-02-12T05:54:16.497" v="421"/>
          <ac:inkMkLst>
            <pc:docMk/>
            <pc:sldMk cId="0" sldId="269"/>
            <ac:inkMk id="256" creationId="{3B1F78A0-DC8D-76E0-A429-A4D169A018F0}"/>
          </ac:inkMkLst>
        </pc:inkChg>
        <pc:inkChg chg="add mod">
          <ac:chgData name="Aniket Chhabra" userId="598e0514-bef3-4e71-b6aa-f2edd6441cff" providerId="ADAL" clId="{E1032901-1DA4-4941-B011-F516E50845DD}" dt="2023-02-12T05:54:16.497" v="421"/>
          <ac:inkMkLst>
            <pc:docMk/>
            <pc:sldMk cId="0" sldId="269"/>
            <ac:inkMk id="257" creationId="{F8BCD3F0-BC36-30AD-3DF7-078BBED0901C}"/>
          </ac:inkMkLst>
        </pc:inkChg>
        <pc:inkChg chg="add mod">
          <ac:chgData name="Aniket Chhabra" userId="598e0514-bef3-4e71-b6aa-f2edd6441cff" providerId="ADAL" clId="{E1032901-1DA4-4941-B011-F516E50845DD}" dt="2023-02-12T05:54:16.497" v="421"/>
          <ac:inkMkLst>
            <pc:docMk/>
            <pc:sldMk cId="0" sldId="269"/>
            <ac:inkMk id="258" creationId="{9AAF3D99-1B00-D3BD-9436-2DAFA2045BDE}"/>
          </ac:inkMkLst>
        </pc:inkChg>
        <pc:inkChg chg="add mod">
          <ac:chgData name="Aniket Chhabra" userId="598e0514-bef3-4e71-b6aa-f2edd6441cff" providerId="ADAL" clId="{E1032901-1DA4-4941-B011-F516E50845DD}" dt="2023-02-12T05:54:16.497" v="421"/>
          <ac:inkMkLst>
            <pc:docMk/>
            <pc:sldMk cId="0" sldId="269"/>
            <ac:inkMk id="259" creationId="{625AD5FB-A85F-C2D9-6405-979AD71EC234}"/>
          </ac:inkMkLst>
        </pc:inkChg>
        <pc:inkChg chg="add mod">
          <ac:chgData name="Aniket Chhabra" userId="598e0514-bef3-4e71-b6aa-f2edd6441cff" providerId="ADAL" clId="{E1032901-1DA4-4941-B011-F516E50845DD}" dt="2023-02-12T05:54:16.497" v="421"/>
          <ac:inkMkLst>
            <pc:docMk/>
            <pc:sldMk cId="0" sldId="269"/>
            <ac:inkMk id="260" creationId="{F494C84A-D573-F4A0-05EE-AB18AA2BE8AB}"/>
          </ac:inkMkLst>
        </pc:inkChg>
        <pc:inkChg chg="add mod">
          <ac:chgData name="Aniket Chhabra" userId="598e0514-bef3-4e71-b6aa-f2edd6441cff" providerId="ADAL" clId="{E1032901-1DA4-4941-B011-F516E50845DD}" dt="2023-02-12T05:54:16.497" v="421"/>
          <ac:inkMkLst>
            <pc:docMk/>
            <pc:sldMk cId="0" sldId="269"/>
            <ac:inkMk id="261" creationId="{1240A087-1044-F7A3-4D55-7CCA00F23C36}"/>
          </ac:inkMkLst>
        </pc:inkChg>
        <pc:inkChg chg="add mod">
          <ac:chgData name="Aniket Chhabra" userId="598e0514-bef3-4e71-b6aa-f2edd6441cff" providerId="ADAL" clId="{E1032901-1DA4-4941-B011-F516E50845DD}" dt="2023-02-12T05:54:16.497" v="421"/>
          <ac:inkMkLst>
            <pc:docMk/>
            <pc:sldMk cId="0" sldId="269"/>
            <ac:inkMk id="262" creationId="{8DCD496A-C424-986B-849E-5A6AD8B53849}"/>
          </ac:inkMkLst>
        </pc:inkChg>
        <pc:inkChg chg="add mod">
          <ac:chgData name="Aniket Chhabra" userId="598e0514-bef3-4e71-b6aa-f2edd6441cff" providerId="ADAL" clId="{E1032901-1DA4-4941-B011-F516E50845DD}" dt="2023-02-12T05:54:16.497" v="421"/>
          <ac:inkMkLst>
            <pc:docMk/>
            <pc:sldMk cId="0" sldId="269"/>
            <ac:inkMk id="263" creationId="{ADE4BFE2-4CB4-D4FD-0D3C-8741D866AC7D}"/>
          </ac:inkMkLst>
        </pc:inkChg>
        <pc:inkChg chg="add mod">
          <ac:chgData name="Aniket Chhabra" userId="598e0514-bef3-4e71-b6aa-f2edd6441cff" providerId="ADAL" clId="{E1032901-1DA4-4941-B011-F516E50845DD}" dt="2023-02-12T05:54:16.497" v="421"/>
          <ac:inkMkLst>
            <pc:docMk/>
            <pc:sldMk cId="0" sldId="269"/>
            <ac:inkMk id="264" creationId="{3E5B8BEC-0790-3298-7EB1-E297FE1C6B78}"/>
          </ac:inkMkLst>
        </pc:inkChg>
        <pc:inkChg chg="add mod">
          <ac:chgData name="Aniket Chhabra" userId="598e0514-bef3-4e71-b6aa-f2edd6441cff" providerId="ADAL" clId="{E1032901-1DA4-4941-B011-F516E50845DD}" dt="2023-02-12T05:54:16.497" v="421"/>
          <ac:inkMkLst>
            <pc:docMk/>
            <pc:sldMk cId="0" sldId="269"/>
            <ac:inkMk id="266" creationId="{443863CE-89DF-4F3C-428B-900F050F53E4}"/>
          </ac:inkMkLst>
        </pc:inkChg>
        <pc:inkChg chg="add">
          <ac:chgData name="Aniket Chhabra" userId="598e0514-bef3-4e71-b6aa-f2edd6441cff" providerId="ADAL" clId="{E1032901-1DA4-4941-B011-F516E50845DD}" dt="2023-02-12T05:52:31.835" v="334" actId="9405"/>
          <ac:inkMkLst>
            <pc:docMk/>
            <pc:sldMk cId="0" sldId="269"/>
            <ac:inkMk id="268" creationId="{4C519080-C0ED-D51B-85AC-98E99D3280B5}"/>
          </ac:inkMkLst>
        </pc:inkChg>
        <pc:inkChg chg="add mod">
          <ac:chgData name="Aniket Chhabra" userId="598e0514-bef3-4e71-b6aa-f2edd6441cff" providerId="ADAL" clId="{E1032901-1DA4-4941-B011-F516E50845DD}" dt="2023-02-12T05:52:44.773" v="340"/>
          <ac:inkMkLst>
            <pc:docMk/>
            <pc:sldMk cId="0" sldId="269"/>
            <ac:inkMk id="269" creationId="{D58F1BB5-5928-39BB-8079-EEB32192E46A}"/>
          </ac:inkMkLst>
        </pc:inkChg>
        <pc:inkChg chg="add mod">
          <ac:chgData name="Aniket Chhabra" userId="598e0514-bef3-4e71-b6aa-f2edd6441cff" providerId="ADAL" clId="{E1032901-1DA4-4941-B011-F516E50845DD}" dt="2023-02-12T05:52:44.773" v="340"/>
          <ac:inkMkLst>
            <pc:docMk/>
            <pc:sldMk cId="0" sldId="269"/>
            <ac:inkMk id="271" creationId="{E3D1E487-AE98-7F7A-A0B2-041205AA3892}"/>
          </ac:inkMkLst>
        </pc:inkChg>
        <pc:inkChg chg="add mod">
          <ac:chgData name="Aniket Chhabra" userId="598e0514-bef3-4e71-b6aa-f2edd6441cff" providerId="ADAL" clId="{E1032901-1DA4-4941-B011-F516E50845DD}" dt="2023-02-12T05:52:44.773" v="340"/>
          <ac:inkMkLst>
            <pc:docMk/>
            <pc:sldMk cId="0" sldId="269"/>
            <ac:inkMk id="272" creationId="{F34C30BD-8A47-8E45-B664-F6049F9DC545}"/>
          </ac:inkMkLst>
        </pc:inkChg>
        <pc:inkChg chg="add mod">
          <ac:chgData name="Aniket Chhabra" userId="598e0514-bef3-4e71-b6aa-f2edd6441cff" providerId="ADAL" clId="{E1032901-1DA4-4941-B011-F516E50845DD}" dt="2023-02-12T05:53:00.931" v="370"/>
          <ac:inkMkLst>
            <pc:docMk/>
            <pc:sldMk cId="0" sldId="269"/>
            <ac:inkMk id="273" creationId="{3632F679-9F23-0DF2-6B57-C3FF81C45554}"/>
          </ac:inkMkLst>
        </pc:inkChg>
        <pc:inkChg chg="add mod">
          <ac:chgData name="Aniket Chhabra" userId="598e0514-bef3-4e71-b6aa-f2edd6441cff" providerId="ADAL" clId="{E1032901-1DA4-4941-B011-F516E50845DD}" dt="2023-02-12T05:54:16.497" v="421"/>
          <ac:inkMkLst>
            <pc:docMk/>
            <pc:sldMk cId="0" sldId="269"/>
            <ac:inkMk id="276" creationId="{A320D26C-4CF4-3D63-9FF4-F49EC78BDD80}"/>
          </ac:inkMkLst>
        </pc:inkChg>
        <pc:inkChg chg="add mod">
          <ac:chgData name="Aniket Chhabra" userId="598e0514-bef3-4e71-b6aa-f2edd6441cff" providerId="ADAL" clId="{E1032901-1DA4-4941-B011-F516E50845DD}" dt="2023-02-12T05:54:16.497" v="421"/>
          <ac:inkMkLst>
            <pc:docMk/>
            <pc:sldMk cId="0" sldId="269"/>
            <ac:inkMk id="278" creationId="{8BF3A683-DC49-7260-6544-F15011E336B0}"/>
          </ac:inkMkLst>
        </pc:inkChg>
        <pc:inkChg chg="add mod">
          <ac:chgData name="Aniket Chhabra" userId="598e0514-bef3-4e71-b6aa-f2edd6441cff" providerId="ADAL" clId="{E1032901-1DA4-4941-B011-F516E50845DD}" dt="2023-02-12T05:54:16.497" v="421"/>
          <ac:inkMkLst>
            <pc:docMk/>
            <pc:sldMk cId="0" sldId="269"/>
            <ac:inkMk id="279" creationId="{B1E7B387-C605-9523-E128-98829FEFE64B}"/>
          </ac:inkMkLst>
        </pc:inkChg>
        <pc:inkChg chg="add mod">
          <ac:chgData name="Aniket Chhabra" userId="598e0514-bef3-4e71-b6aa-f2edd6441cff" providerId="ADAL" clId="{E1032901-1DA4-4941-B011-F516E50845DD}" dt="2023-02-12T05:54:16.497" v="421"/>
          <ac:inkMkLst>
            <pc:docMk/>
            <pc:sldMk cId="0" sldId="269"/>
            <ac:inkMk id="280" creationId="{6550F83A-9586-5D1B-F227-B6B51688A63B}"/>
          </ac:inkMkLst>
        </pc:inkChg>
        <pc:inkChg chg="add mod">
          <ac:chgData name="Aniket Chhabra" userId="598e0514-bef3-4e71-b6aa-f2edd6441cff" providerId="ADAL" clId="{E1032901-1DA4-4941-B011-F516E50845DD}" dt="2023-02-12T05:54:16.497" v="421"/>
          <ac:inkMkLst>
            <pc:docMk/>
            <pc:sldMk cId="0" sldId="269"/>
            <ac:inkMk id="281" creationId="{1232B635-0011-4884-8D3D-4B7868703482}"/>
          </ac:inkMkLst>
        </pc:inkChg>
        <pc:inkChg chg="add mod">
          <ac:chgData name="Aniket Chhabra" userId="598e0514-bef3-4e71-b6aa-f2edd6441cff" providerId="ADAL" clId="{E1032901-1DA4-4941-B011-F516E50845DD}" dt="2023-02-12T05:54:16.497" v="421"/>
          <ac:inkMkLst>
            <pc:docMk/>
            <pc:sldMk cId="0" sldId="269"/>
            <ac:inkMk id="282" creationId="{EE128C31-3212-B78D-0538-C74115117AC2}"/>
          </ac:inkMkLst>
        </pc:inkChg>
        <pc:inkChg chg="add mod">
          <ac:chgData name="Aniket Chhabra" userId="598e0514-bef3-4e71-b6aa-f2edd6441cff" providerId="ADAL" clId="{E1032901-1DA4-4941-B011-F516E50845DD}" dt="2023-02-12T05:54:16.497" v="421"/>
          <ac:inkMkLst>
            <pc:docMk/>
            <pc:sldMk cId="0" sldId="269"/>
            <ac:inkMk id="283" creationId="{00E5AEFC-D104-9878-CCB2-FA6B1433512D}"/>
          </ac:inkMkLst>
        </pc:inkChg>
        <pc:inkChg chg="add mod">
          <ac:chgData name="Aniket Chhabra" userId="598e0514-bef3-4e71-b6aa-f2edd6441cff" providerId="ADAL" clId="{E1032901-1DA4-4941-B011-F516E50845DD}" dt="2023-02-12T05:54:16.497" v="421"/>
          <ac:inkMkLst>
            <pc:docMk/>
            <pc:sldMk cId="0" sldId="269"/>
            <ac:inkMk id="284" creationId="{DB7C579B-C7AC-9437-A3D4-DBD5A766E509}"/>
          </ac:inkMkLst>
        </pc:inkChg>
        <pc:inkChg chg="add mod">
          <ac:chgData name="Aniket Chhabra" userId="598e0514-bef3-4e71-b6aa-f2edd6441cff" providerId="ADAL" clId="{E1032901-1DA4-4941-B011-F516E50845DD}" dt="2023-02-12T05:54:16.497" v="421"/>
          <ac:inkMkLst>
            <pc:docMk/>
            <pc:sldMk cId="0" sldId="269"/>
            <ac:inkMk id="285" creationId="{D3D58AB8-71C8-0818-2550-F784AC738608}"/>
          </ac:inkMkLst>
        </pc:inkChg>
        <pc:inkChg chg="add mod">
          <ac:chgData name="Aniket Chhabra" userId="598e0514-bef3-4e71-b6aa-f2edd6441cff" providerId="ADAL" clId="{E1032901-1DA4-4941-B011-F516E50845DD}" dt="2023-02-12T05:54:16.497" v="421"/>
          <ac:inkMkLst>
            <pc:docMk/>
            <pc:sldMk cId="0" sldId="269"/>
            <ac:inkMk id="286" creationId="{F156F8C9-137A-4AF3-B95B-E57AF4DB600B}"/>
          </ac:inkMkLst>
        </pc:inkChg>
        <pc:inkChg chg="add mod">
          <ac:chgData name="Aniket Chhabra" userId="598e0514-bef3-4e71-b6aa-f2edd6441cff" providerId="ADAL" clId="{E1032901-1DA4-4941-B011-F516E50845DD}" dt="2023-02-12T05:54:16.497" v="421"/>
          <ac:inkMkLst>
            <pc:docMk/>
            <pc:sldMk cId="0" sldId="269"/>
            <ac:inkMk id="287" creationId="{54BDF1B4-E954-3D42-9DDB-DDE0C7E12CFA}"/>
          </ac:inkMkLst>
        </pc:inkChg>
        <pc:inkChg chg="add mod">
          <ac:chgData name="Aniket Chhabra" userId="598e0514-bef3-4e71-b6aa-f2edd6441cff" providerId="ADAL" clId="{E1032901-1DA4-4941-B011-F516E50845DD}" dt="2023-02-12T05:54:16.497" v="421"/>
          <ac:inkMkLst>
            <pc:docMk/>
            <pc:sldMk cId="0" sldId="269"/>
            <ac:inkMk id="288" creationId="{C535819F-8E45-EA45-EE97-392453B30948}"/>
          </ac:inkMkLst>
        </pc:inkChg>
        <pc:inkChg chg="add mod">
          <ac:chgData name="Aniket Chhabra" userId="598e0514-bef3-4e71-b6aa-f2edd6441cff" providerId="ADAL" clId="{E1032901-1DA4-4941-B011-F516E50845DD}" dt="2023-02-12T05:54:16.497" v="421"/>
          <ac:inkMkLst>
            <pc:docMk/>
            <pc:sldMk cId="0" sldId="269"/>
            <ac:inkMk id="289" creationId="{CCA2BC38-AE91-DE37-CC53-7C1B0F40BA72}"/>
          </ac:inkMkLst>
        </pc:inkChg>
        <pc:inkChg chg="add mod">
          <ac:chgData name="Aniket Chhabra" userId="598e0514-bef3-4e71-b6aa-f2edd6441cff" providerId="ADAL" clId="{E1032901-1DA4-4941-B011-F516E50845DD}" dt="2023-02-12T05:54:16.497" v="421"/>
          <ac:inkMkLst>
            <pc:docMk/>
            <pc:sldMk cId="0" sldId="269"/>
            <ac:inkMk id="291" creationId="{38E0FFF4-A351-CAEE-E1CC-137981BF64F4}"/>
          </ac:inkMkLst>
        </pc:inkChg>
        <pc:inkChg chg="add mod">
          <ac:chgData name="Aniket Chhabra" userId="598e0514-bef3-4e71-b6aa-f2edd6441cff" providerId="ADAL" clId="{E1032901-1DA4-4941-B011-F516E50845DD}" dt="2023-02-12T05:54:16.497" v="421"/>
          <ac:inkMkLst>
            <pc:docMk/>
            <pc:sldMk cId="0" sldId="269"/>
            <ac:inkMk id="292" creationId="{54237741-CEFB-5342-2E5A-D8EA6BB92E07}"/>
          </ac:inkMkLst>
        </pc:inkChg>
        <pc:inkChg chg="add mod">
          <ac:chgData name="Aniket Chhabra" userId="598e0514-bef3-4e71-b6aa-f2edd6441cff" providerId="ADAL" clId="{E1032901-1DA4-4941-B011-F516E50845DD}" dt="2023-02-12T05:54:16.497" v="421"/>
          <ac:inkMkLst>
            <pc:docMk/>
            <pc:sldMk cId="0" sldId="269"/>
            <ac:inkMk id="293" creationId="{463A769B-E6B1-1BE8-0492-E993F517DA37}"/>
          </ac:inkMkLst>
        </pc:inkChg>
        <pc:inkChg chg="add mod">
          <ac:chgData name="Aniket Chhabra" userId="598e0514-bef3-4e71-b6aa-f2edd6441cff" providerId="ADAL" clId="{E1032901-1DA4-4941-B011-F516E50845DD}" dt="2023-02-12T05:54:16.497" v="421"/>
          <ac:inkMkLst>
            <pc:docMk/>
            <pc:sldMk cId="0" sldId="269"/>
            <ac:inkMk id="294" creationId="{08CEFED4-C95B-EAEB-14F4-A0615A7ACD26}"/>
          </ac:inkMkLst>
        </pc:inkChg>
        <pc:inkChg chg="add mod">
          <ac:chgData name="Aniket Chhabra" userId="598e0514-bef3-4e71-b6aa-f2edd6441cff" providerId="ADAL" clId="{E1032901-1DA4-4941-B011-F516E50845DD}" dt="2023-02-12T05:54:16.497" v="421"/>
          <ac:inkMkLst>
            <pc:docMk/>
            <pc:sldMk cId="0" sldId="269"/>
            <ac:inkMk id="295" creationId="{E28CACD8-9845-07FD-5096-6DCF9EA220FD}"/>
          </ac:inkMkLst>
        </pc:inkChg>
        <pc:inkChg chg="add mod">
          <ac:chgData name="Aniket Chhabra" userId="598e0514-bef3-4e71-b6aa-f2edd6441cff" providerId="ADAL" clId="{E1032901-1DA4-4941-B011-F516E50845DD}" dt="2023-02-12T05:54:16.497" v="421"/>
          <ac:inkMkLst>
            <pc:docMk/>
            <pc:sldMk cId="0" sldId="269"/>
            <ac:inkMk id="296" creationId="{5E6F4CE1-0B3E-76C9-158A-6A9E0AFF88AA}"/>
          </ac:inkMkLst>
        </pc:inkChg>
        <pc:inkChg chg="add mod">
          <ac:chgData name="Aniket Chhabra" userId="598e0514-bef3-4e71-b6aa-f2edd6441cff" providerId="ADAL" clId="{E1032901-1DA4-4941-B011-F516E50845DD}" dt="2023-02-12T05:54:16.497" v="421"/>
          <ac:inkMkLst>
            <pc:docMk/>
            <pc:sldMk cId="0" sldId="269"/>
            <ac:inkMk id="299" creationId="{75206FB0-3184-8A35-4F2C-1DA806377B10}"/>
          </ac:inkMkLst>
        </pc:inkChg>
        <pc:inkChg chg="add mod">
          <ac:chgData name="Aniket Chhabra" userId="598e0514-bef3-4e71-b6aa-f2edd6441cff" providerId="ADAL" clId="{E1032901-1DA4-4941-B011-F516E50845DD}" dt="2023-02-12T05:53:00.931" v="370"/>
          <ac:inkMkLst>
            <pc:docMk/>
            <pc:sldMk cId="0" sldId="269"/>
            <ac:inkMk id="301" creationId="{637FBCAF-7373-F518-4555-6C76634A4A8F}"/>
          </ac:inkMkLst>
        </pc:inkChg>
        <pc:inkChg chg="add mod">
          <ac:chgData name="Aniket Chhabra" userId="598e0514-bef3-4e71-b6aa-f2edd6441cff" providerId="ADAL" clId="{E1032901-1DA4-4941-B011-F516E50845DD}" dt="2023-02-12T05:53:00.931" v="370"/>
          <ac:inkMkLst>
            <pc:docMk/>
            <pc:sldMk cId="0" sldId="269"/>
            <ac:inkMk id="302" creationId="{3C8C9D2C-2611-32A2-4ACB-88520DF421E6}"/>
          </ac:inkMkLst>
        </pc:inkChg>
        <pc:inkChg chg="add mod">
          <ac:chgData name="Aniket Chhabra" userId="598e0514-bef3-4e71-b6aa-f2edd6441cff" providerId="ADAL" clId="{E1032901-1DA4-4941-B011-F516E50845DD}" dt="2023-02-12T05:53:00.931" v="370"/>
          <ac:inkMkLst>
            <pc:docMk/>
            <pc:sldMk cId="0" sldId="269"/>
            <ac:inkMk id="303" creationId="{EA0F405E-69AF-60A8-D49A-1D519F61FE6C}"/>
          </ac:inkMkLst>
        </pc:inkChg>
        <pc:inkChg chg="add mod">
          <ac:chgData name="Aniket Chhabra" userId="598e0514-bef3-4e71-b6aa-f2edd6441cff" providerId="ADAL" clId="{E1032901-1DA4-4941-B011-F516E50845DD}" dt="2023-02-12T05:53:00.931" v="370"/>
          <ac:inkMkLst>
            <pc:docMk/>
            <pc:sldMk cId="0" sldId="269"/>
            <ac:inkMk id="305" creationId="{CF121368-2B00-D115-62B5-586A7E88CBFA}"/>
          </ac:inkMkLst>
        </pc:inkChg>
        <pc:inkChg chg="add mod">
          <ac:chgData name="Aniket Chhabra" userId="598e0514-bef3-4e71-b6aa-f2edd6441cff" providerId="ADAL" clId="{E1032901-1DA4-4941-B011-F516E50845DD}" dt="2023-02-12T05:54:16.497" v="421"/>
          <ac:inkMkLst>
            <pc:docMk/>
            <pc:sldMk cId="0" sldId="269"/>
            <ac:inkMk id="307" creationId="{BBEADE86-B2E0-3BA3-2FF7-CBA903C4EB6E}"/>
          </ac:inkMkLst>
        </pc:inkChg>
        <pc:inkChg chg="add mod">
          <ac:chgData name="Aniket Chhabra" userId="598e0514-bef3-4e71-b6aa-f2edd6441cff" providerId="ADAL" clId="{E1032901-1DA4-4941-B011-F516E50845DD}" dt="2023-02-12T05:54:16.497" v="421"/>
          <ac:inkMkLst>
            <pc:docMk/>
            <pc:sldMk cId="0" sldId="269"/>
            <ac:inkMk id="309" creationId="{0A3847D5-FFC1-DB4D-E4B7-2EB3669019EF}"/>
          </ac:inkMkLst>
        </pc:inkChg>
      </pc:sldChg>
      <pc:sldChg chg="addSp delSp modSp mod">
        <pc:chgData name="Aniket Chhabra" userId="598e0514-bef3-4e71-b6aa-f2edd6441cff" providerId="ADAL" clId="{E1032901-1DA4-4941-B011-F516E50845DD}" dt="2023-02-12T05:57:57.643" v="625"/>
        <pc:sldMkLst>
          <pc:docMk/>
          <pc:sldMk cId="0" sldId="270"/>
        </pc:sldMkLst>
        <pc:grpChg chg="mod">
          <ac:chgData name="Aniket Chhabra" userId="598e0514-bef3-4e71-b6aa-f2edd6441cff" providerId="ADAL" clId="{E1032901-1DA4-4941-B011-F516E50845DD}" dt="2023-02-12T05:53:46.638" v="375"/>
          <ac:grpSpMkLst>
            <pc:docMk/>
            <pc:sldMk cId="0" sldId="270"/>
            <ac:grpSpMk id="6" creationId="{D2855372-1990-6E74-D4C7-FBB9E30D7835}"/>
          </ac:grpSpMkLst>
        </pc:grpChg>
        <pc:grpChg chg="mod">
          <ac:chgData name="Aniket Chhabra" userId="598e0514-bef3-4e71-b6aa-f2edd6441cff" providerId="ADAL" clId="{E1032901-1DA4-4941-B011-F516E50845DD}" dt="2023-02-12T05:53:53.037" v="392"/>
          <ac:grpSpMkLst>
            <pc:docMk/>
            <pc:sldMk cId="0" sldId="270"/>
            <ac:grpSpMk id="23" creationId="{EAEAD89A-EA35-FE43-1B59-A4678748DD76}"/>
          </ac:grpSpMkLst>
        </pc:grpChg>
        <pc:grpChg chg="del mod">
          <ac:chgData name="Aniket Chhabra" userId="598e0514-bef3-4e71-b6aa-f2edd6441cff" providerId="ADAL" clId="{E1032901-1DA4-4941-B011-F516E50845DD}" dt="2023-02-12T05:54:59.181" v="456"/>
          <ac:grpSpMkLst>
            <pc:docMk/>
            <pc:sldMk cId="0" sldId="270"/>
            <ac:grpSpMk id="24" creationId="{69F06CEB-40D8-15FF-0016-B615E113BED2}"/>
          </ac:grpSpMkLst>
        </pc:grpChg>
        <pc:grpChg chg="del mod">
          <ac:chgData name="Aniket Chhabra" userId="598e0514-bef3-4e71-b6aa-f2edd6441cff" providerId="ADAL" clId="{E1032901-1DA4-4941-B011-F516E50845DD}" dt="2023-02-12T05:54:59.181" v="456"/>
          <ac:grpSpMkLst>
            <pc:docMk/>
            <pc:sldMk cId="0" sldId="270"/>
            <ac:grpSpMk id="37" creationId="{D64E28F5-2454-BF07-88B3-3AB1B1767976}"/>
          </ac:grpSpMkLst>
        </pc:grpChg>
        <pc:grpChg chg="del mod">
          <ac:chgData name="Aniket Chhabra" userId="598e0514-bef3-4e71-b6aa-f2edd6441cff" providerId="ADAL" clId="{E1032901-1DA4-4941-B011-F516E50845DD}" dt="2023-02-12T05:54:59.181" v="456"/>
          <ac:grpSpMkLst>
            <pc:docMk/>
            <pc:sldMk cId="0" sldId="270"/>
            <ac:grpSpMk id="38" creationId="{B74946CC-38B2-8508-35EB-A5DD827FE851}"/>
          </ac:grpSpMkLst>
        </pc:grpChg>
        <pc:grpChg chg="mod">
          <ac:chgData name="Aniket Chhabra" userId="598e0514-bef3-4e71-b6aa-f2edd6441cff" providerId="ADAL" clId="{E1032901-1DA4-4941-B011-F516E50845DD}" dt="2023-02-12T05:54:14.010" v="419"/>
          <ac:grpSpMkLst>
            <pc:docMk/>
            <pc:sldMk cId="0" sldId="270"/>
            <ac:grpSpMk id="50" creationId="{D4C50442-1E53-8DB8-6DFE-CDB6EC060F5B}"/>
          </ac:grpSpMkLst>
        </pc:grpChg>
        <pc:grpChg chg="mod">
          <ac:chgData name="Aniket Chhabra" userId="598e0514-bef3-4e71-b6aa-f2edd6441cff" providerId="ADAL" clId="{E1032901-1DA4-4941-B011-F516E50845DD}" dt="2023-02-12T05:54:20.106" v="424"/>
          <ac:grpSpMkLst>
            <pc:docMk/>
            <pc:sldMk cId="0" sldId="270"/>
            <ac:grpSpMk id="53" creationId="{64D5081C-2426-702C-7EDA-4FEDFED85B9F}"/>
          </ac:grpSpMkLst>
        </pc:grpChg>
        <pc:grpChg chg="mod">
          <ac:chgData name="Aniket Chhabra" userId="598e0514-bef3-4e71-b6aa-f2edd6441cff" providerId="ADAL" clId="{E1032901-1DA4-4941-B011-F516E50845DD}" dt="2023-02-12T05:54:59.181" v="456"/>
          <ac:grpSpMkLst>
            <pc:docMk/>
            <pc:sldMk cId="0" sldId="270"/>
            <ac:grpSpMk id="57" creationId="{B2F8046C-7724-6FC7-C182-7C71D3B904D4}"/>
          </ac:grpSpMkLst>
        </pc:grpChg>
        <pc:grpChg chg="mod">
          <ac:chgData name="Aniket Chhabra" userId="598e0514-bef3-4e71-b6aa-f2edd6441cff" providerId="ADAL" clId="{E1032901-1DA4-4941-B011-F516E50845DD}" dt="2023-02-12T05:57:57.643" v="625"/>
          <ac:grpSpMkLst>
            <pc:docMk/>
            <pc:sldMk cId="0" sldId="270"/>
            <ac:grpSpMk id="61" creationId="{602E0084-4B87-B536-0E6B-C3578DE7684B}"/>
          </ac:grpSpMkLst>
        </pc:grpChg>
        <pc:inkChg chg="add mod">
          <ac:chgData name="Aniket Chhabra" userId="598e0514-bef3-4e71-b6aa-f2edd6441cff" providerId="ADAL" clId="{E1032901-1DA4-4941-B011-F516E50845DD}" dt="2023-02-12T05:53:46.638" v="375"/>
          <ac:inkMkLst>
            <pc:docMk/>
            <pc:sldMk cId="0" sldId="270"/>
            <ac:inkMk id="2" creationId="{56F3A06F-2BD7-37B8-B5F3-27BB18C88EE0}"/>
          </ac:inkMkLst>
        </pc:inkChg>
        <pc:inkChg chg="add mod">
          <ac:chgData name="Aniket Chhabra" userId="598e0514-bef3-4e71-b6aa-f2edd6441cff" providerId="ADAL" clId="{E1032901-1DA4-4941-B011-F516E50845DD}" dt="2023-02-12T05:53:46.638" v="375"/>
          <ac:inkMkLst>
            <pc:docMk/>
            <pc:sldMk cId="0" sldId="270"/>
            <ac:inkMk id="3" creationId="{DFA8D478-7F5B-F95B-AD98-D5C57D3593F8}"/>
          </ac:inkMkLst>
        </pc:inkChg>
        <pc:inkChg chg="add mod">
          <ac:chgData name="Aniket Chhabra" userId="598e0514-bef3-4e71-b6aa-f2edd6441cff" providerId="ADAL" clId="{E1032901-1DA4-4941-B011-F516E50845DD}" dt="2023-02-12T05:53:46.638" v="375"/>
          <ac:inkMkLst>
            <pc:docMk/>
            <pc:sldMk cId="0" sldId="270"/>
            <ac:inkMk id="4" creationId="{206DD1BF-CE0A-D6BC-15DF-B45711F59DBC}"/>
          </ac:inkMkLst>
        </pc:inkChg>
        <pc:inkChg chg="add mod">
          <ac:chgData name="Aniket Chhabra" userId="598e0514-bef3-4e71-b6aa-f2edd6441cff" providerId="ADAL" clId="{E1032901-1DA4-4941-B011-F516E50845DD}" dt="2023-02-12T05:53:46.638" v="375"/>
          <ac:inkMkLst>
            <pc:docMk/>
            <pc:sldMk cId="0" sldId="270"/>
            <ac:inkMk id="5" creationId="{3EA219DC-04F6-3993-1C8C-4782B7CEA1B7}"/>
          </ac:inkMkLst>
        </pc:inkChg>
        <pc:inkChg chg="add mod">
          <ac:chgData name="Aniket Chhabra" userId="598e0514-bef3-4e71-b6aa-f2edd6441cff" providerId="ADAL" clId="{E1032901-1DA4-4941-B011-F516E50845DD}" dt="2023-02-12T05:53:53.037" v="392"/>
          <ac:inkMkLst>
            <pc:docMk/>
            <pc:sldMk cId="0" sldId="270"/>
            <ac:inkMk id="7" creationId="{56A86A4B-3ABA-C0A9-7432-75AA03568BF9}"/>
          </ac:inkMkLst>
        </pc:inkChg>
        <pc:inkChg chg="add mod">
          <ac:chgData name="Aniket Chhabra" userId="598e0514-bef3-4e71-b6aa-f2edd6441cff" providerId="ADAL" clId="{E1032901-1DA4-4941-B011-F516E50845DD}" dt="2023-02-12T05:53:53.037" v="392"/>
          <ac:inkMkLst>
            <pc:docMk/>
            <pc:sldMk cId="0" sldId="270"/>
            <ac:inkMk id="8" creationId="{D999EA66-6BE1-2630-8BD1-AB25E6E798E0}"/>
          </ac:inkMkLst>
        </pc:inkChg>
        <pc:inkChg chg="add mod">
          <ac:chgData name="Aniket Chhabra" userId="598e0514-bef3-4e71-b6aa-f2edd6441cff" providerId="ADAL" clId="{E1032901-1DA4-4941-B011-F516E50845DD}" dt="2023-02-12T05:53:53.037" v="392"/>
          <ac:inkMkLst>
            <pc:docMk/>
            <pc:sldMk cId="0" sldId="270"/>
            <ac:inkMk id="9" creationId="{E61D11A3-4905-C70D-8CA9-0243E3EAC49B}"/>
          </ac:inkMkLst>
        </pc:inkChg>
        <pc:inkChg chg="add mod">
          <ac:chgData name="Aniket Chhabra" userId="598e0514-bef3-4e71-b6aa-f2edd6441cff" providerId="ADAL" clId="{E1032901-1DA4-4941-B011-F516E50845DD}" dt="2023-02-12T05:53:53.037" v="392"/>
          <ac:inkMkLst>
            <pc:docMk/>
            <pc:sldMk cId="0" sldId="270"/>
            <ac:inkMk id="10" creationId="{9D3C21C4-BE47-D551-310F-F121A1AB7A92}"/>
          </ac:inkMkLst>
        </pc:inkChg>
        <pc:inkChg chg="add mod">
          <ac:chgData name="Aniket Chhabra" userId="598e0514-bef3-4e71-b6aa-f2edd6441cff" providerId="ADAL" clId="{E1032901-1DA4-4941-B011-F516E50845DD}" dt="2023-02-12T05:53:53.037" v="392"/>
          <ac:inkMkLst>
            <pc:docMk/>
            <pc:sldMk cId="0" sldId="270"/>
            <ac:inkMk id="11" creationId="{384A3B28-6ACF-6236-1615-38DF1BD0D936}"/>
          </ac:inkMkLst>
        </pc:inkChg>
        <pc:inkChg chg="add mod">
          <ac:chgData name="Aniket Chhabra" userId="598e0514-bef3-4e71-b6aa-f2edd6441cff" providerId="ADAL" clId="{E1032901-1DA4-4941-B011-F516E50845DD}" dt="2023-02-12T05:53:53.037" v="392"/>
          <ac:inkMkLst>
            <pc:docMk/>
            <pc:sldMk cId="0" sldId="270"/>
            <ac:inkMk id="12" creationId="{A8876ABA-79C3-4714-E231-9A09D3F41559}"/>
          </ac:inkMkLst>
        </pc:inkChg>
        <pc:inkChg chg="add mod">
          <ac:chgData name="Aniket Chhabra" userId="598e0514-bef3-4e71-b6aa-f2edd6441cff" providerId="ADAL" clId="{E1032901-1DA4-4941-B011-F516E50845DD}" dt="2023-02-12T05:53:53.037" v="392"/>
          <ac:inkMkLst>
            <pc:docMk/>
            <pc:sldMk cId="0" sldId="270"/>
            <ac:inkMk id="13" creationId="{8D11A715-57E2-7776-779F-EBA6D6653D17}"/>
          </ac:inkMkLst>
        </pc:inkChg>
        <pc:inkChg chg="add mod">
          <ac:chgData name="Aniket Chhabra" userId="598e0514-bef3-4e71-b6aa-f2edd6441cff" providerId="ADAL" clId="{E1032901-1DA4-4941-B011-F516E50845DD}" dt="2023-02-12T05:53:53.037" v="392"/>
          <ac:inkMkLst>
            <pc:docMk/>
            <pc:sldMk cId="0" sldId="270"/>
            <ac:inkMk id="14" creationId="{67B9AAA2-FB6F-E80B-554D-4EB8CB9E83FA}"/>
          </ac:inkMkLst>
        </pc:inkChg>
        <pc:inkChg chg="add mod">
          <ac:chgData name="Aniket Chhabra" userId="598e0514-bef3-4e71-b6aa-f2edd6441cff" providerId="ADAL" clId="{E1032901-1DA4-4941-B011-F516E50845DD}" dt="2023-02-12T05:53:53.037" v="392"/>
          <ac:inkMkLst>
            <pc:docMk/>
            <pc:sldMk cId="0" sldId="270"/>
            <ac:inkMk id="15" creationId="{1EC4F66F-7E4B-CDD2-D92C-6882CA7C4D93}"/>
          </ac:inkMkLst>
        </pc:inkChg>
        <pc:inkChg chg="add mod">
          <ac:chgData name="Aniket Chhabra" userId="598e0514-bef3-4e71-b6aa-f2edd6441cff" providerId="ADAL" clId="{E1032901-1DA4-4941-B011-F516E50845DD}" dt="2023-02-12T05:54:59.181" v="456"/>
          <ac:inkMkLst>
            <pc:docMk/>
            <pc:sldMk cId="0" sldId="270"/>
            <ac:inkMk id="16" creationId="{BF7436BA-F9C0-641D-7BCE-E98C97572EB9}"/>
          </ac:inkMkLst>
        </pc:inkChg>
        <pc:inkChg chg="add mod">
          <ac:chgData name="Aniket Chhabra" userId="598e0514-bef3-4e71-b6aa-f2edd6441cff" providerId="ADAL" clId="{E1032901-1DA4-4941-B011-F516E50845DD}" dt="2023-02-12T05:54:59.181" v="456"/>
          <ac:inkMkLst>
            <pc:docMk/>
            <pc:sldMk cId="0" sldId="270"/>
            <ac:inkMk id="17" creationId="{CAA193B4-87AB-5511-3787-84C6BDBB3F80}"/>
          </ac:inkMkLst>
        </pc:inkChg>
        <pc:inkChg chg="add mod">
          <ac:chgData name="Aniket Chhabra" userId="598e0514-bef3-4e71-b6aa-f2edd6441cff" providerId="ADAL" clId="{E1032901-1DA4-4941-B011-F516E50845DD}" dt="2023-02-12T05:53:53.037" v="392"/>
          <ac:inkMkLst>
            <pc:docMk/>
            <pc:sldMk cId="0" sldId="270"/>
            <ac:inkMk id="18" creationId="{E9AE1821-E435-A318-B375-3D5F4586C939}"/>
          </ac:inkMkLst>
        </pc:inkChg>
        <pc:inkChg chg="add mod">
          <ac:chgData name="Aniket Chhabra" userId="598e0514-bef3-4e71-b6aa-f2edd6441cff" providerId="ADAL" clId="{E1032901-1DA4-4941-B011-F516E50845DD}" dt="2023-02-12T05:53:53.037" v="392"/>
          <ac:inkMkLst>
            <pc:docMk/>
            <pc:sldMk cId="0" sldId="270"/>
            <ac:inkMk id="19" creationId="{96E6FBF2-0305-F8EC-2D64-539272E5C6E4}"/>
          </ac:inkMkLst>
        </pc:inkChg>
        <pc:inkChg chg="add mod">
          <ac:chgData name="Aniket Chhabra" userId="598e0514-bef3-4e71-b6aa-f2edd6441cff" providerId="ADAL" clId="{E1032901-1DA4-4941-B011-F516E50845DD}" dt="2023-02-12T05:53:53.037" v="392"/>
          <ac:inkMkLst>
            <pc:docMk/>
            <pc:sldMk cId="0" sldId="270"/>
            <ac:inkMk id="20" creationId="{3B01A344-30F8-10DA-9798-ABB68B4FA8BC}"/>
          </ac:inkMkLst>
        </pc:inkChg>
        <pc:inkChg chg="add mod">
          <ac:chgData name="Aniket Chhabra" userId="598e0514-bef3-4e71-b6aa-f2edd6441cff" providerId="ADAL" clId="{E1032901-1DA4-4941-B011-F516E50845DD}" dt="2023-02-12T05:53:53.037" v="392"/>
          <ac:inkMkLst>
            <pc:docMk/>
            <pc:sldMk cId="0" sldId="270"/>
            <ac:inkMk id="21" creationId="{3547BE7C-0A4F-0F1C-BDCB-48D980B20187}"/>
          </ac:inkMkLst>
        </pc:inkChg>
        <pc:inkChg chg="add mod">
          <ac:chgData name="Aniket Chhabra" userId="598e0514-bef3-4e71-b6aa-f2edd6441cff" providerId="ADAL" clId="{E1032901-1DA4-4941-B011-F516E50845DD}" dt="2023-02-12T05:53:53.037" v="392"/>
          <ac:inkMkLst>
            <pc:docMk/>
            <pc:sldMk cId="0" sldId="270"/>
            <ac:inkMk id="22" creationId="{B7C7573E-6C6D-6775-4636-C0529ED154C9}"/>
          </ac:inkMkLst>
        </pc:inkChg>
        <pc:inkChg chg="add mod">
          <ac:chgData name="Aniket Chhabra" userId="598e0514-bef3-4e71-b6aa-f2edd6441cff" providerId="ADAL" clId="{E1032901-1DA4-4941-B011-F516E50845DD}" dt="2023-02-12T05:54:59.181" v="456"/>
          <ac:inkMkLst>
            <pc:docMk/>
            <pc:sldMk cId="0" sldId="270"/>
            <ac:inkMk id="25" creationId="{5F394967-4B99-3243-137D-EDAF2D1462AB}"/>
          </ac:inkMkLst>
        </pc:inkChg>
        <pc:inkChg chg="add mod">
          <ac:chgData name="Aniket Chhabra" userId="598e0514-bef3-4e71-b6aa-f2edd6441cff" providerId="ADAL" clId="{E1032901-1DA4-4941-B011-F516E50845DD}" dt="2023-02-12T05:54:59.181" v="456"/>
          <ac:inkMkLst>
            <pc:docMk/>
            <pc:sldMk cId="0" sldId="270"/>
            <ac:inkMk id="26" creationId="{46331325-03AB-DE28-AED7-64ED58CE896F}"/>
          </ac:inkMkLst>
        </pc:inkChg>
        <pc:inkChg chg="add mod">
          <ac:chgData name="Aniket Chhabra" userId="598e0514-bef3-4e71-b6aa-f2edd6441cff" providerId="ADAL" clId="{E1032901-1DA4-4941-B011-F516E50845DD}" dt="2023-02-12T05:54:59.181" v="456"/>
          <ac:inkMkLst>
            <pc:docMk/>
            <pc:sldMk cId="0" sldId="270"/>
            <ac:inkMk id="27" creationId="{6107857F-95E7-F082-A28C-7880F372A04C}"/>
          </ac:inkMkLst>
        </pc:inkChg>
        <pc:inkChg chg="add mod">
          <ac:chgData name="Aniket Chhabra" userId="598e0514-bef3-4e71-b6aa-f2edd6441cff" providerId="ADAL" clId="{E1032901-1DA4-4941-B011-F516E50845DD}" dt="2023-02-12T05:54:59.181" v="456"/>
          <ac:inkMkLst>
            <pc:docMk/>
            <pc:sldMk cId="0" sldId="270"/>
            <ac:inkMk id="28" creationId="{73162747-011B-49DF-9A45-C317B754B9AC}"/>
          </ac:inkMkLst>
        </pc:inkChg>
        <pc:inkChg chg="add mod">
          <ac:chgData name="Aniket Chhabra" userId="598e0514-bef3-4e71-b6aa-f2edd6441cff" providerId="ADAL" clId="{E1032901-1DA4-4941-B011-F516E50845DD}" dt="2023-02-12T05:54:59.181" v="456"/>
          <ac:inkMkLst>
            <pc:docMk/>
            <pc:sldMk cId="0" sldId="270"/>
            <ac:inkMk id="29" creationId="{A939571B-813D-146F-FDF3-46B0325CA355}"/>
          </ac:inkMkLst>
        </pc:inkChg>
        <pc:inkChg chg="add mod">
          <ac:chgData name="Aniket Chhabra" userId="598e0514-bef3-4e71-b6aa-f2edd6441cff" providerId="ADAL" clId="{E1032901-1DA4-4941-B011-F516E50845DD}" dt="2023-02-12T05:54:59.181" v="456"/>
          <ac:inkMkLst>
            <pc:docMk/>
            <pc:sldMk cId="0" sldId="270"/>
            <ac:inkMk id="30" creationId="{C30A93FB-65FB-F9D2-C003-B77B250A6836}"/>
          </ac:inkMkLst>
        </pc:inkChg>
        <pc:inkChg chg="add mod">
          <ac:chgData name="Aniket Chhabra" userId="598e0514-bef3-4e71-b6aa-f2edd6441cff" providerId="ADAL" clId="{E1032901-1DA4-4941-B011-F516E50845DD}" dt="2023-02-12T05:54:59.181" v="456"/>
          <ac:inkMkLst>
            <pc:docMk/>
            <pc:sldMk cId="0" sldId="270"/>
            <ac:inkMk id="31" creationId="{4F34FA71-9150-E58F-0AAE-2B5396D8F660}"/>
          </ac:inkMkLst>
        </pc:inkChg>
        <pc:inkChg chg="add mod">
          <ac:chgData name="Aniket Chhabra" userId="598e0514-bef3-4e71-b6aa-f2edd6441cff" providerId="ADAL" clId="{E1032901-1DA4-4941-B011-F516E50845DD}" dt="2023-02-12T05:54:59.181" v="456"/>
          <ac:inkMkLst>
            <pc:docMk/>
            <pc:sldMk cId="0" sldId="270"/>
            <ac:inkMk id="32" creationId="{A741FEB5-BA1B-D8B1-BDC3-1DCC352F551C}"/>
          </ac:inkMkLst>
        </pc:inkChg>
        <pc:inkChg chg="add mod">
          <ac:chgData name="Aniket Chhabra" userId="598e0514-bef3-4e71-b6aa-f2edd6441cff" providerId="ADAL" clId="{E1032901-1DA4-4941-B011-F516E50845DD}" dt="2023-02-12T05:54:59.181" v="456"/>
          <ac:inkMkLst>
            <pc:docMk/>
            <pc:sldMk cId="0" sldId="270"/>
            <ac:inkMk id="33" creationId="{671C40F6-C227-2164-4A80-88952C39DD0D}"/>
          </ac:inkMkLst>
        </pc:inkChg>
        <pc:inkChg chg="add mod">
          <ac:chgData name="Aniket Chhabra" userId="598e0514-bef3-4e71-b6aa-f2edd6441cff" providerId="ADAL" clId="{E1032901-1DA4-4941-B011-F516E50845DD}" dt="2023-02-12T05:54:59.181" v="456"/>
          <ac:inkMkLst>
            <pc:docMk/>
            <pc:sldMk cId="0" sldId="270"/>
            <ac:inkMk id="34" creationId="{85CA9E43-D510-BB21-2D89-37AED8450D5F}"/>
          </ac:inkMkLst>
        </pc:inkChg>
        <pc:inkChg chg="add mod">
          <ac:chgData name="Aniket Chhabra" userId="598e0514-bef3-4e71-b6aa-f2edd6441cff" providerId="ADAL" clId="{E1032901-1DA4-4941-B011-F516E50845DD}" dt="2023-02-12T05:54:59.181" v="456"/>
          <ac:inkMkLst>
            <pc:docMk/>
            <pc:sldMk cId="0" sldId="270"/>
            <ac:inkMk id="35" creationId="{22396C4B-D50B-19CE-0896-7CC3420A19FB}"/>
          </ac:inkMkLst>
        </pc:inkChg>
        <pc:inkChg chg="add mod">
          <ac:chgData name="Aniket Chhabra" userId="598e0514-bef3-4e71-b6aa-f2edd6441cff" providerId="ADAL" clId="{E1032901-1DA4-4941-B011-F516E50845DD}" dt="2023-02-12T05:54:59.181" v="456"/>
          <ac:inkMkLst>
            <pc:docMk/>
            <pc:sldMk cId="0" sldId="270"/>
            <ac:inkMk id="36" creationId="{170AD945-96B6-AFCA-A44F-423E844FE083}"/>
          </ac:inkMkLst>
        </pc:inkChg>
        <pc:inkChg chg="add">
          <ac:chgData name="Aniket Chhabra" userId="598e0514-bef3-4e71-b6aa-f2edd6441cff" providerId="ADAL" clId="{E1032901-1DA4-4941-B011-F516E50845DD}" dt="2023-02-12T05:54:08.825" v="408" actId="9405"/>
          <ac:inkMkLst>
            <pc:docMk/>
            <pc:sldMk cId="0" sldId="270"/>
            <ac:inkMk id="39" creationId="{91E3A275-A929-F862-CEE1-9D40A835C00C}"/>
          </ac:inkMkLst>
        </pc:inkChg>
        <pc:inkChg chg="add mod">
          <ac:chgData name="Aniket Chhabra" userId="598e0514-bef3-4e71-b6aa-f2edd6441cff" providerId="ADAL" clId="{E1032901-1DA4-4941-B011-F516E50845DD}" dt="2023-02-12T05:54:14.010" v="419"/>
          <ac:inkMkLst>
            <pc:docMk/>
            <pc:sldMk cId="0" sldId="270"/>
            <ac:inkMk id="40" creationId="{DCF42C7E-F212-6A26-DFBE-FEF7083D96CD}"/>
          </ac:inkMkLst>
        </pc:inkChg>
        <pc:inkChg chg="add mod">
          <ac:chgData name="Aniket Chhabra" userId="598e0514-bef3-4e71-b6aa-f2edd6441cff" providerId="ADAL" clId="{E1032901-1DA4-4941-B011-F516E50845DD}" dt="2023-02-12T05:54:14.010" v="419"/>
          <ac:inkMkLst>
            <pc:docMk/>
            <pc:sldMk cId="0" sldId="270"/>
            <ac:inkMk id="41" creationId="{98B481A7-D851-B144-93D0-C518A9E2C857}"/>
          </ac:inkMkLst>
        </pc:inkChg>
        <pc:inkChg chg="add mod">
          <ac:chgData name="Aniket Chhabra" userId="598e0514-bef3-4e71-b6aa-f2edd6441cff" providerId="ADAL" clId="{E1032901-1DA4-4941-B011-F516E50845DD}" dt="2023-02-12T05:54:14.010" v="419"/>
          <ac:inkMkLst>
            <pc:docMk/>
            <pc:sldMk cId="0" sldId="270"/>
            <ac:inkMk id="42" creationId="{7428E695-753C-A368-4219-9768C7C7D118}"/>
          </ac:inkMkLst>
        </pc:inkChg>
        <pc:inkChg chg="add mod">
          <ac:chgData name="Aniket Chhabra" userId="598e0514-bef3-4e71-b6aa-f2edd6441cff" providerId="ADAL" clId="{E1032901-1DA4-4941-B011-F516E50845DD}" dt="2023-02-12T05:54:14.010" v="419"/>
          <ac:inkMkLst>
            <pc:docMk/>
            <pc:sldMk cId="0" sldId="270"/>
            <ac:inkMk id="43" creationId="{D9CECF0F-8676-F453-4E7D-02501CF97EA8}"/>
          </ac:inkMkLst>
        </pc:inkChg>
        <pc:inkChg chg="add mod">
          <ac:chgData name="Aniket Chhabra" userId="598e0514-bef3-4e71-b6aa-f2edd6441cff" providerId="ADAL" clId="{E1032901-1DA4-4941-B011-F516E50845DD}" dt="2023-02-12T05:54:14.010" v="419"/>
          <ac:inkMkLst>
            <pc:docMk/>
            <pc:sldMk cId="0" sldId="270"/>
            <ac:inkMk id="44" creationId="{547E27D4-1033-E595-965E-FB09FCF3129D}"/>
          </ac:inkMkLst>
        </pc:inkChg>
        <pc:inkChg chg="add mod">
          <ac:chgData name="Aniket Chhabra" userId="598e0514-bef3-4e71-b6aa-f2edd6441cff" providerId="ADAL" clId="{E1032901-1DA4-4941-B011-F516E50845DD}" dt="2023-02-12T05:54:14.010" v="419"/>
          <ac:inkMkLst>
            <pc:docMk/>
            <pc:sldMk cId="0" sldId="270"/>
            <ac:inkMk id="45" creationId="{A6CC9E03-C009-9C2E-BFD0-04A4FCCC4AF0}"/>
          </ac:inkMkLst>
        </pc:inkChg>
        <pc:inkChg chg="add mod">
          <ac:chgData name="Aniket Chhabra" userId="598e0514-bef3-4e71-b6aa-f2edd6441cff" providerId="ADAL" clId="{E1032901-1DA4-4941-B011-F516E50845DD}" dt="2023-02-12T05:54:14.010" v="419"/>
          <ac:inkMkLst>
            <pc:docMk/>
            <pc:sldMk cId="0" sldId="270"/>
            <ac:inkMk id="46" creationId="{E32EA1A4-C91E-A079-C8B7-AFAA49CCE8C8}"/>
          </ac:inkMkLst>
        </pc:inkChg>
        <pc:inkChg chg="add mod">
          <ac:chgData name="Aniket Chhabra" userId="598e0514-bef3-4e71-b6aa-f2edd6441cff" providerId="ADAL" clId="{E1032901-1DA4-4941-B011-F516E50845DD}" dt="2023-02-12T05:54:14.010" v="419"/>
          <ac:inkMkLst>
            <pc:docMk/>
            <pc:sldMk cId="0" sldId="270"/>
            <ac:inkMk id="47" creationId="{00786CA8-DF3F-06DA-6D97-4F130D5F4693}"/>
          </ac:inkMkLst>
        </pc:inkChg>
        <pc:inkChg chg="add mod">
          <ac:chgData name="Aniket Chhabra" userId="598e0514-bef3-4e71-b6aa-f2edd6441cff" providerId="ADAL" clId="{E1032901-1DA4-4941-B011-F516E50845DD}" dt="2023-02-12T05:54:14.010" v="419"/>
          <ac:inkMkLst>
            <pc:docMk/>
            <pc:sldMk cId="0" sldId="270"/>
            <ac:inkMk id="48" creationId="{25A375F4-7E53-1774-0402-B90F0A6089EA}"/>
          </ac:inkMkLst>
        </pc:inkChg>
        <pc:inkChg chg="add mod">
          <ac:chgData name="Aniket Chhabra" userId="598e0514-bef3-4e71-b6aa-f2edd6441cff" providerId="ADAL" clId="{E1032901-1DA4-4941-B011-F516E50845DD}" dt="2023-02-12T05:54:14.010" v="419"/>
          <ac:inkMkLst>
            <pc:docMk/>
            <pc:sldMk cId="0" sldId="270"/>
            <ac:inkMk id="49" creationId="{4DA8AD01-39AB-5B72-8713-5417CA0BC773}"/>
          </ac:inkMkLst>
        </pc:inkChg>
        <pc:inkChg chg="add mod">
          <ac:chgData name="Aniket Chhabra" userId="598e0514-bef3-4e71-b6aa-f2edd6441cff" providerId="ADAL" clId="{E1032901-1DA4-4941-B011-F516E50845DD}" dt="2023-02-12T05:54:20.106" v="424"/>
          <ac:inkMkLst>
            <pc:docMk/>
            <pc:sldMk cId="0" sldId="270"/>
            <ac:inkMk id="51" creationId="{6B29B4BF-57B4-6500-B56F-EB4141A9A231}"/>
          </ac:inkMkLst>
        </pc:inkChg>
        <pc:inkChg chg="add mod">
          <ac:chgData name="Aniket Chhabra" userId="598e0514-bef3-4e71-b6aa-f2edd6441cff" providerId="ADAL" clId="{E1032901-1DA4-4941-B011-F516E50845DD}" dt="2023-02-12T05:54:20.106" v="424"/>
          <ac:inkMkLst>
            <pc:docMk/>
            <pc:sldMk cId="0" sldId="270"/>
            <ac:inkMk id="52" creationId="{B3932999-AC59-717D-4724-687ED503D265}"/>
          </ac:inkMkLst>
        </pc:inkChg>
        <pc:inkChg chg="add mod">
          <ac:chgData name="Aniket Chhabra" userId="598e0514-bef3-4e71-b6aa-f2edd6441cff" providerId="ADAL" clId="{E1032901-1DA4-4941-B011-F516E50845DD}" dt="2023-02-12T05:54:59.181" v="456"/>
          <ac:inkMkLst>
            <pc:docMk/>
            <pc:sldMk cId="0" sldId="270"/>
            <ac:inkMk id="54" creationId="{0D5F9246-74DA-E280-6E57-5A21FE709E6D}"/>
          </ac:inkMkLst>
        </pc:inkChg>
        <pc:inkChg chg="add mod">
          <ac:chgData name="Aniket Chhabra" userId="598e0514-bef3-4e71-b6aa-f2edd6441cff" providerId="ADAL" clId="{E1032901-1DA4-4941-B011-F516E50845DD}" dt="2023-02-12T05:54:59.181" v="456"/>
          <ac:inkMkLst>
            <pc:docMk/>
            <pc:sldMk cId="0" sldId="270"/>
            <ac:inkMk id="55" creationId="{A5E0087C-7423-5BF9-0682-EE18D0FAFAC2}"/>
          </ac:inkMkLst>
        </pc:inkChg>
        <pc:inkChg chg="add mod">
          <ac:chgData name="Aniket Chhabra" userId="598e0514-bef3-4e71-b6aa-f2edd6441cff" providerId="ADAL" clId="{E1032901-1DA4-4941-B011-F516E50845DD}" dt="2023-02-12T05:54:59.181" v="456"/>
          <ac:inkMkLst>
            <pc:docMk/>
            <pc:sldMk cId="0" sldId="270"/>
            <ac:inkMk id="56" creationId="{EF3DB241-6B28-2864-BB75-3041F60BAD5A}"/>
          </ac:inkMkLst>
        </pc:inkChg>
        <pc:inkChg chg="add mod">
          <ac:chgData name="Aniket Chhabra" userId="598e0514-bef3-4e71-b6aa-f2edd6441cff" providerId="ADAL" clId="{E1032901-1DA4-4941-B011-F516E50845DD}" dt="2023-02-12T05:57:57.643" v="625"/>
          <ac:inkMkLst>
            <pc:docMk/>
            <pc:sldMk cId="0" sldId="270"/>
            <ac:inkMk id="58" creationId="{AB6E9797-C16C-D906-1FF4-06516E448408}"/>
          </ac:inkMkLst>
        </pc:inkChg>
        <pc:inkChg chg="add mod">
          <ac:chgData name="Aniket Chhabra" userId="598e0514-bef3-4e71-b6aa-f2edd6441cff" providerId="ADAL" clId="{E1032901-1DA4-4941-B011-F516E50845DD}" dt="2023-02-12T05:57:57.643" v="625"/>
          <ac:inkMkLst>
            <pc:docMk/>
            <pc:sldMk cId="0" sldId="270"/>
            <ac:inkMk id="59" creationId="{C6C41837-6C2C-5EA4-73E2-AE85236E8F5A}"/>
          </ac:inkMkLst>
        </pc:inkChg>
        <pc:inkChg chg="add mod">
          <ac:chgData name="Aniket Chhabra" userId="598e0514-bef3-4e71-b6aa-f2edd6441cff" providerId="ADAL" clId="{E1032901-1DA4-4941-B011-F516E50845DD}" dt="2023-02-12T05:57:57.643" v="625"/>
          <ac:inkMkLst>
            <pc:docMk/>
            <pc:sldMk cId="0" sldId="270"/>
            <ac:inkMk id="60" creationId="{4A64F7D7-39F2-4E68-8ECB-E1DB15227CA0}"/>
          </ac:inkMkLst>
        </pc:inkChg>
      </pc:sldChg>
      <pc:sldChg chg="addSp delSp modSp mod">
        <pc:chgData name="Aniket Chhabra" userId="598e0514-bef3-4e71-b6aa-f2edd6441cff" providerId="ADAL" clId="{E1032901-1DA4-4941-B011-F516E50845DD}" dt="2023-02-12T05:57:12.647" v="598"/>
        <pc:sldMkLst>
          <pc:docMk/>
          <pc:sldMk cId="0" sldId="271"/>
        </pc:sldMkLst>
        <pc:grpChg chg="mod">
          <ac:chgData name="Aniket Chhabra" userId="598e0514-bef3-4e71-b6aa-f2edd6441cff" providerId="ADAL" clId="{E1032901-1DA4-4941-B011-F516E50845DD}" dt="2023-02-12T05:54:32.422" v="427"/>
          <ac:grpSpMkLst>
            <pc:docMk/>
            <pc:sldMk cId="0" sldId="271"/>
            <ac:grpSpMk id="4" creationId="{E67291D3-62F0-4FA3-AF9F-1B008107D620}"/>
          </ac:grpSpMkLst>
        </pc:grpChg>
        <pc:grpChg chg="mod">
          <ac:chgData name="Aniket Chhabra" userId="598e0514-bef3-4e71-b6aa-f2edd6441cff" providerId="ADAL" clId="{E1032901-1DA4-4941-B011-F516E50845DD}" dt="2023-02-12T05:54:38.503" v="432"/>
          <ac:grpSpMkLst>
            <pc:docMk/>
            <pc:sldMk cId="0" sldId="271"/>
            <ac:grpSpMk id="9" creationId="{1020DC02-5FB1-6B6B-85EB-C511829B7C6A}"/>
          </ac:grpSpMkLst>
        </pc:grpChg>
        <pc:grpChg chg="del mod">
          <ac:chgData name="Aniket Chhabra" userId="598e0514-bef3-4e71-b6aa-f2edd6441cff" providerId="ADAL" clId="{E1032901-1DA4-4941-B011-F516E50845DD}" dt="2023-02-12T05:55:27.659" v="512"/>
          <ac:grpSpMkLst>
            <pc:docMk/>
            <pc:sldMk cId="0" sldId="271"/>
            <ac:grpSpMk id="29" creationId="{A894056B-B0B0-F6C6-EBF3-3FD9E935573D}"/>
          </ac:grpSpMkLst>
        </pc:grpChg>
        <pc:grpChg chg="mod">
          <ac:chgData name="Aniket Chhabra" userId="598e0514-bef3-4e71-b6aa-f2edd6441cff" providerId="ADAL" clId="{E1032901-1DA4-4941-B011-F516E50845DD}" dt="2023-02-12T05:55:02.886" v="460"/>
          <ac:grpSpMkLst>
            <pc:docMk/>
            <pc:sldMk cId="0" sldId="271"/>
            <ac:grpSpMk id="33" creationId="{EDCC64AE-CFFA-AEB9-247E-84C2A0586EFB}"/>
          </ac:grpSpMkLst>
        </pc:grpChg>
        <pc:grpChg chg="mod">
          <ac:chgData name="Aniket Chhabra" userId="598e0514-bef3-4e71-b6aa-f2edd6441cff" providerId="ADAL" clId="{E1032901-1DA4-4941-B011-F516E50845DD}" dt="2023-02-12T05:55:05.741" v="468"/>
          <ac:grpSpMkLst>
            <pc:docMk/>
            <pc:sldMk cId="0" sldId="271"/>
            <ac:grpSpMk id="39" creationId="{D194E1FE-D54D-2748-235A-4FCFD78638D4}"/>
          </ac:grpSpMkLst>
        </pc:grpChg>
        <pc:grpChg chg="mod">
          <ac:chgData name="Aniket Chhabra" userId="598e0514-bef3-4e71-b6aa-f2edd6441cff" providerId="ADAL" clId="{E1032901-1DA4-4941-B011-F516E50845DD}" dt="2023-02-12T05:55:11.359" v="477"/>
          <ac:grpSpMkLst>
            <pc:docMk/>
            <pc:sldMk cId="0" sldId="271"/>
            <ac:grpSpMk id="47" creationId="{2F74039D-1923-B74A-58C5-04EF0ADA54B6}"/>
          </ac:grpSpMkLst>
        </pc:grpChg>
        <pc:grpChg chg="mod">
          <ac:chgData name="Aniket Chhabra" userId="598e0514-bef3-4e71-b6aa-f2edd6441cff" providerId="ADAL" clId="{E1032901-1DA4-4941-B011-F516E50845DD}" dt="2023-02-12T05:55:11.359" v="477"/>
          <ac:grpSpMkLst>
            <pc:docMk/>
            <pc:sldMk cId="0" sldId="271"/>
            <ac:grpSpMk id="48" creationId="{9B003812-39A3-6DB1-F86C-A8BBFA680C0D}"/>
          </ac:grpSpMkLst>
        </pc:grpChg>
        <pc:grpChg chg="mod">
          <ac:chgData name="Aniket Chhabra" userId="598e0514-bef3-4e71-b6aa-f2edd6441cff" providerId="ADAL" clId="{E1032901-1DA4-4941-B011-F516E50845DD}" dt="2023-02-12T05:55:11.359" v="477"/>
          <ac:grpSpMkLst>
            <pc:docMk/>
            <pc:sldMk cId="0" sldId="271"/>
            <ac:grpSpMk id="49" creationId="{0D6119F2-FC82-9D19-B00F-73ABA4C7AFAF}"/>
          </ac:grpSpMkLst>
        </pc:grpChg>
        <pc:grpChg chg="mod">
          <ac:chgData name="Aniket Chhabra" userId="598e0514-bef3-4e71-b6aa-f2edd6441cff" providerId="ADAL" clId="{E1032901-1DA4-4941-B011-F516E50845DD}" dt="2023-02-12T05:55:21.128" v="488"/>
          <ac:grpSpMkLst>
            <pc:docMk/>
            <pc:sldMk cId="0" sldId="271"/>
            <ac:grpSpMk id="57" creationId="{8838F38B-B1D1-0767-A691-AA23B2D8DE41}"/>
          </ac:grpSpMkLst>
        </pc:grpChg>
        <pc:grpChg chg="mod">
          <ac:chgData name="Aniket Chhabra" userId="598e0514-bef3-4e71-b6aa-f2edd6441cff" providerId="ADAL" clId="{E1032901-1DA4-4941-B011-F516E50845DD}" dt="2023-02-12T05:55:24.429" v="494"/>
          <ac:grpSpMkLst>
            <pc:docMk/>
            <pc:sldMk cId="0" sldId="271"/>
            <ac:grpSpMk id="63" creationId="{235FB88B-C804-0643-DED4-E3CBB8DA121A}"/>
          </ac:grpSpMkLst>
        </pc:grpChg>
        <pc:grpChg chg="mod">
          <ac:chgData name="Aniket Chhabra" userId="598e0514-bef3-4e71-b6aa-f2edd6441cff" providerId="ADAL" clId="{E1032901-1DA4-4941-B011-F516E50845DD}" dt="2023-02-12T05:55:32.200" v="516"/>
          <ac:grpSpMkLst>
            <pc:docMk/>
            <pc:sldMk cId="0" sldId="271"/>
            <ac:grpSpMk id="130" creationId="{C08C5A14-936B-2EAB-E091-1D07E5917A41}"/>
          </ac:grpSpMkLst>
        </pc:grpChg>
        <pc:grpChg chg="mod">
          <ac:chgData name="Aniket Chhabra" userId="598e0514-bef3-4e71-b6aa-f2edd6441cff" providerId="ADAL" clId="{E1032901-1DA4-4941-B011-F516E50845DD}" dt="2023-02-12T05:55:47.016" v="533"/>
          <ac:grpSpMkLst>
            <pc:docMk/>
            <pc:sldMk cId="0" sldId="271"/>
            <ac:grpSpMk id="147" creationId="{E7ACA690-64BD-9F89-BE3E-DC679E15F4BA}"/>
          </ac:grpSpMkLst>
        </pc:grpChg>
        <pc:grpChg chg="del mod">
          <ac:chgData name="Aniket Chhabra" userId="598e0514-bef3-4e71-b6aa-f2edd6441cff" providerId="ADAL" clId="{E1032901-1DA4-4941-B011-F516E50845DD}" dt="2023-02-12T05:55:49.965" v="540"/>
          <ac:grpSpMkLst>
            <pc:docMk/>
            <pc:sldMk cId="0" sldId="271"/>
            <ac:grpSpMk id="154" creationId="{D0D0F185-069B-C65D-754F-2D24CD0C4732}"/>
          </ac:grpSpMkLst>
        </pc:grpChg>
        <pc:grpChg chg="mod">
          <ac:chgData name="Aniket Chhabra" userId="598e0514-bef3-4e71-b6aa-f2edd6441cff" providerId="ADAL" clId="{E1032901-1DA4-4941-B011-F516E50845DD}" dt="2023-02-12T05:55:49.965" v="540"/>
          <ac:grpSpMkLst>
            <pc:docMk/>
            <pc:sldMk cId="0" sldId="271"/>
            <ac:grpSpMk id="155" creationId="{46CC3BC5-5B21-7755-0A4F-A41AC9D8A0F4}"/>
          </ac:grpSpMkLst>
        </pc:grpChg>
        <pc:grpChg chg="mod">
          <ac:chgData name="Aniket Chhabra" userId="598e0514-bef3-4e71-b6aa-f2edd6441cff" providerId="ADAL" clId="{E1032901-1DA4-4941-B011-F516E50845DD}" dt="2023-02-12T05:56:05.008" v="550"/>
          <ac:grpSpMkLst>
            <pc:docMk/>
            <pc:sldMk cId="0" sldId="271"/>
            <ac:grpSpMk id="164" creationId="{1E87DA4C-1AAF-E69F-466E-2BA396B269EF}"/>
          </ac:grpSpMkLst>
        </pc:grpChg>
        <pc:grpChg chg="mod">
          <ac:chgData name="Aniket Chhabra" userId="598e0514-bef3-4e71-b6aa-f2edd6441cff" providerId="ADAL" clId="{E1032901-1DA4-4941-B011-F516E50845DD}" dt="2023-02-12T05:56:09.339" v="559"/>
          <ac:grpSpMkLst>
            <pc:docMk/>
            <pc:sldMk cId="0" sldId="271"/>
            <ac:grpSpMk id="173" creationId="{B1EC15D1-37C2-41EA-7A43-97E4CD1A27F7}"/>
          </ac:grpSpMkLst>
        </pc:grpChg>
        <pc:grpChg chg="mod">
          <ac:chgData name="Aniket Chhabra" userId="598e0514-bef3-4e71-b6aa-f2edd6441cff" providerId="ADAL" clId="{E1032901-1DA4-4941-B011-F516E50845DD}" dt="2023-02-12T05:56:09.339" v="559"/>
          <ac:grpSpMkLst>
            <pc:docMk/>
            <pc:sldMk cId="0" sldId="271"/>
            <ac:grpSpMk id="174" creationId="{2B2BF238-7DE6-5C41-F434-74FCF2892BEB}"/>
          </ac:grpSpMkLst>
        </pc:grpChg>
        <pc:grpChg chg="mod">
          <ac:chgData name="Aniket Chhabra" userId="598e0514-bef3-4e71-b6aa-f2edd6441cff" providerId="ADAL" clId="{E1032901-1DA4-4941-B011-F516E50845DD}" dt="2023-02-12T05:56:10.960" v="564"/>
          <ac:grpSpMkLst>
            <pc:docMk/>
            <pc:sldMk cId="0" sldId="271"/>
            <ac:grpSpMk id="179" creationId="{FB143FA0-A26A-21E3-FF5A-7D7086678CFB}"/>
          </ac:grpSpMkLst>
        </pc:grpChg>
        <pc:grpChg chg="mod">
          <ac:chgData name="Aniket Chhabra" userId="598e0514-bef3-4e71-b6aa-f2edd6441cff" providerId="ADAL" clId="{E1032901-1DA4-4941-B011-F516E50845DD}" dt="2023-02-12T05:56:17.105" v="569"/>
          <ac:grpSpMkLst>
            <pc:docMk/>
            <pc:sldMk cId="0" sldId="271"/>
            <ac:grpSpMk id="184" creationId="{D88DDF70-E6CC-A458-ABDA-5DC6573C20EC}"/>
          </ac:grpSpMkLst>
        </pc:grpChg>
        <pc:grpChg chg="del mod">
          <ac:chgData name="Aniket Chhabra" userId="598e0514-bef3-4e71-b6aa-f2edd6441cff" providerId="ADAL" clId="{E1032901-1DA4-4941-B011-F516E50845DD}" dt="2023-02-12T05:56:32.462" v="579"/>
          <ac:grpSpMkLst>
            <pc:docMk/>
            <pc:sldMk cId="0" sldId="271"/>
            <ac:grpSpMk id="187" creationId="{715B8428-AEA7-0615-00BC-89CD74BE8B78}"/>
          </ac:grpSpMkLst>
        </pc:grpChg>
        <pc:grpChg chg="del mod">
          <ac:chgData name="Aniket Chhabra" userId="598e0514-bef3-4e71-b6aa-f2edd6441cff" providerId="ADAL" clId="{E1032901-1DA4-4941-B011-F516E50845DD}" dt="2023-02-12T05:56:32.462" v="579"/>
          <ac:grpSpMkLst>
            <pc:docMk/>
            <pc:sldMk cId="0" sldId="271"/>
            <ac:grpSpMk id="192" creationId="{D95FBD43-A055-E684-C40D-7AF1F7D61C0B}"/>
          </ac:grpSpMkLst>
        </pc:grpChg>
        <pc:grpChg chg="mod">
          <ac:chgData name="Aniket Chhabra" userId="598e0514-bef3-4e71-b6aa-f2edd6441cff" providerId="ADAL" clId="{E1032901-1DA4-4941-B011-F516E50845DD}" dt="2023-02-12T05:56:32.462" v="579"/>
          <ac:grpSpMkLst>
            <pc:docMk/>
            <pc:sldMk cId="0" sldId="271"/>
            <ac:grpSpMk id="194" creationId="{F8282000-2D72-D4A8-0D63-009A3E439F87}"/>
          </ac:grpSpMkLst>
        </pc:grpChg>
        <pc:grpChg chg="del mod">
          <ac:chgData name="Aniket Chhabra" userId="598e0514-bef3-4e71-b6aa-f2edd6441cff" providerId="ADAL" clId="{E1032901-1DA4-4941-B011-F516E50845DD}" dt="2023-02-12T05:56:45.982" v="587"/>
          <ac:grpSpMkLst>
            <pc:docMk/>
            <pc:sldMk cId="0" sldId="271"/>
            <ac:grpSpMk id="197" creationId="{4DFD00A6-1DEE-2C60-F389-1B06CE5D8705}"/>
          </ac:grpSpMkLst>
        </pc:grpChg>
        <pc:grpChg chg="del mod">
          <ac:chgData name="Aniket Chhabra" userId="598e0514-bef3-4e71-b6aa-f2edd6441cff" providerId="ADAL" clId="{E1032901-1DA4-4941-B011-F516E50845DD}" dt="2023-02-12T05:56:45.982" v="587"/>
          <ac:grpSpMkLst>
            <pc:docMk/>
            <pc:sldMk cId="0" sldId="271"/>
            <ac:grpSpMk id="200" creationId="{CB23055A-3CCA-6F30-392D-0FBC83E9F5F4}"/>
          </ac:grpSpMkLst>
        </pc:grpChg>
        <pc:grpChg chg="mod">
          <ac:chgData name="Aniket Chhabra" userId="598e0514-bef3-4e71-b6aa-f2edd6441cff" providerId="ADAL" clId="{E1032901-1DA4-4941-B011-F516E50845DD}" dt="2023-02-12T05:56:45.982" v="587"/>
          <ac:grpSpMkLst>
            <pc:docMk/>
            <pc:sldMk cId="0" sldId="271"/>
            <ac:grpSpMk id="202" creationId="{B40AD2B9-DABF-5524-E7EA-4CF0C561765B}"/>
          </ac:grpSpMkLst>
        </pc:grpChg>
        <pc:grpChg chg="mod">
          <ac:chgData name="Aniket Chhabra" userId="598e0514-bef3-4e71-b6aa-f2edd6441cff" providerId="ADAL" clId="{E1032901-1DA4-4941-B011-F516E50845DD}" dt="2023-02-12T05:56:49.879" v="590"/>
          <ac:grpSpMkLst>
            <pc:docMk/>
            <pc:sldMk cId="0" sldId="271"/>
            <ac:grpSpMk id="205" creationId="{D3AF8F0A-C5E8-B029-AB24-0AC73D9ADDB4}"/>
          </ac:grpSpMkLst>
        </pc:grpChg>
        <pc:grpChg chg="mod">
          <ac:chgData name="Aniket Chhabra" userId="598e0514-bef3-4e71-b6aa-f2edd6441cff" providerId="ADAL" clId="{E1032901-1DA4-4941-B011-F516E50845DD}" dt="2023-02-12T05:57:12.647" v="598"/>
          <ac:grpSpMkLst>
            <pc:docMk/>
            <pc:sldMk cId="0" sldId="271"/>
            <ac:grpSpMk id="213" creationId="{1A30E40B-2E0F-341E-F2E7-F589BDC0B72C}"/>
          </ac:grpSpMkLst>
        </pc:grpChg>
        <pc:inkChg chg="add mod">
          <ac:chgData name="Aniket Chhabra" userId="598e0514-bef3-4e71-b6aa-f2edd6441cff" providerId="ADAL" clId="{E1032901-1DA4-4941-B011-F516E50845DD}" dt="2023-02-12T05:54:32.422" v="427"/>
          <ac:inkMkLst>
            <pc:docMk/>
            <pc:sldMk cId="0" sldId="271"/>
            <ac:inkMk id="2" creationId="{1DACFA2A-54BD-1539-8E7E-5951DEB51792}"/>
          </ac:inkMkLst>
        </pc:inkChg>
        <pc:inkChg chg="add mod">
          <ac:chgData name="Aniket Chhabra" userId="598e0514-bef3-4e71-b6aa-f2edd6441cff" providerId="ADAL" clId="{E1032901-1DA4-4941-B011-F516E50845DD}" dt="2023-02-12T05:54:32.422" v="427"/>
          <ac:inkMkLst>
            <pc:docMk/>
            <pc:sldMk cId="0" sldId="271"/>
            <ac:inkMk id="3" creationId="{5154192B-EBA5-1673-DE28-39C06CFC9CD2}"/>
          </ac:inkMkLst>
        </pc:inkChg>
        <pc:inkChg chg="add">
          <ac:chgData name="Aniket Chhabra" userId="598e0514-bef3-4e71-b6aa-f2edd6441cff" providerId="ADAL" clId="{E1032901-1DA4-4941-B011-F516E50845DD}" dt="2023-02-12T05:54:33.394" v="428" actId="9405"/>
          <ac:inkMkLst>
            <pc:docMk/>
            <pc:sldMk cId="0" sldId="271"/>
            <ac:inkMk id="5" creationId="{E46507E2-3C70-6096-7F3B-CED04172C03B}"/>
          </ac:inkMkLst>
        </pc:inkChg>
        <pc:inkChg chg="add mod">
          <ac:chgData name="Aniket Chhabra" userId="598e0514-bef3-4e71-b6aa-f2edd6441cff" providerId="ADAL" clId="{E1032901-1DA4-4941-B011-F516E50845DD}" dt="2023-02-12T05:54:38.503" v="432"/>
          <ac:inkMkLst>
            <pc:docMk/>
            <pc:sldMk cId="0" sldId="271"/>
            <ac:inkMk id="6" creationId="{56ED9724-51FB-C1CF-F333-A67E5CEC553D}"/>
          </ac:inkMkLst>
        </pc:inkChg>
        <pc:inkChg chg="add mod">
          <ac:chgData name="Aniket Chhabra" userId="598e0514-bef3-4e71-b6aa-f2edd6441cff" providerId="ADAL" clId="{E1032901-1DA4-4941-B011-F516E50845DD}" dt="2023-02-12T05:54:38.503" v="432"/>
          <ac:inkMkLst>
            <pc:docMk/>
            <pc:sldMk cId="0" sldId="271"/>
            <ac:inkMk id="7" creationId="{E4245A82-B5E0-D25B-6074-CB81DA95DD3E}"/>
          </ac:inkMkLst>
        </pc:inkChg>
        <pc:inkChg chg="add">
          <ac:chgData name="Aniket Chhabra" userId="598e0514-bef3-4e71-b6aa-f2edd6441cff" providerId="ADAL" clId="{E1032901-1DA4-4941-B011-F516E50845DD}" dt="2023-02-12T05:54:37.855" v="431" actId="9405"/>
          <ac:inkMkLst>
            <pc:docMk/>
            <pc:sldMk cId="0" sldId="271"/>
            <ac:inkMk id="8" creationId="{CABCC9BA-3911-3978-2C65-E679AA9969C2}"/>
          </ac:inkMkLst>
        </pc:inkChg>
        <pc:inkChg chg="add del mod">
          <ac:chgData name="Aniket Chhabra" userId="598e0514-bef3-4e71-b6aa-f2edd6441cff" providerId="ADAL" clId="{E1032901-1DA4-4941-B011-F516E50845DD}" dt="2023-02-12T05:55:27.658" v="508"/>
          <ac:inkMkLst>
            <pc:docMk/>
            <pc:sldMk cId="0" sldId="271"/>
            <ac:inkMk id="10" creationId="{FB0C4455-FA59-E760-43F4-C7AF5E97BF0D}"/>
          </ac:inkMkLst>
        </pc:inkChg>
        <pc:inkChg chg="add del mod">
          <ac:chgData name="Aniket Chhabra" userId="598e0514-bef3-4e71-b6aa-f2edd6441cff" providerId="ADAL" clId="{E1032901-1DA4-4941-B011-F516E50845DD}" dt="2023-02-12T05:55:27.659" v="509"/>
          <ac:inkMkLst>
            <pc:docMk/>
            <pc:sldMk cId="0" sldId="271"/>
            <ac:inkMk id="11" creationId="{BA10E546-CC8F-2941-F9BD-934811C42F7D}"/>
          </ac:inkMkLst>
        </pc:inkChg>
        <pc:inkChg chg="add del mod">
          <ac:chgData name="Aniket Chhabra" userId="598e0514-bef3-4e71-b6aa-f2edd6441cff" providerId="ADAL" clId="{E1032901-1DA4-4941-B011-F516E50845DD}" dt="2023-02-12T05:55:27.659" v="511"/>
          <ac:inkMkLst>
            <pc:docMk/>
            <pc:sldMk cId="0" sldId="271"/>
            <ac:inkMk id="12" creationId="{C1A48D24-FA54-36FF-0FB1-34538531F387}"/>
          </ac:inkMkLst>
        </pc:inkChg>
        <pc:inkChg chg="add del mod">
          <ac:chgData name="Aniket Chhabra" userId="598e0514-bef3-4e71-b6aa-f2edd6441cff" providerId="ADAL" clId="{E1032901-1DA4-4941-B011-F516E50845DD}" dt="2023-02-12T05:55:27.658" v="507"/>
          <ac:inkMkLst>
            <pc:docMk/>
            <pc:sldMk cId="0" sldId="271"/>
            <ac:inkMk id="13" creationId="{D61DE708-C63B-1039-1AC9-5453F893B4CB}"/>
          </ac:inkMkLst>
        </pc:inkChg>
        <pc:inkChg chg="add del mod">
          <ac:chgData name="Aniket Chhabra" userId="598e0514-bef3-4e71-b6aa-f2edd6441cff" providerId="ADAL" clId="{E1032901-1DA4-4941-B011-F516E50845DD}" dt="2023-02-12T05:55:27.658" v="506"/>
          <ac:inkMkLst>
            <pc:docMk/>
            <pc:sldMk cId="0" sldId="271"/>
            <ac:inkMk id="14" creationId="{D7D23986-EA2A-FB7D-0138-D9FB761D065D}"/>
          </ac:inkMkLst>
        </pc:inkChg>
        <pc:inkChg chg="add del mod">
          <ac:chgData name="Aniket Chhabra" userId="598e0514-bef3-4e71-b6aa-f2edd6441cff" providerId="ADAL" clId="{E1032901-1DA4-4941-B011-F516E50845DD}" dt="2023-02-12T05:55:27.659" v="513"/>
          <ac:inkMkLst>
            <pc:docMk/>
            <pc:sldMk cId="0" sldId="271"/>
            <ac:inkMk id="15" creationId="{CFCEF334-4E4F-8948-2810-052B3C745F7F}"/>
          </ac:inkMkLst>
        </pc:inkChg>
        <pc:inkChg chg="add del mod">
          <ac:chgData name="Aniket Chhabra" userId="598e0514-bef3-4e71-b6aa-f2edd6441cff" providerId="ADAL" clId="{E1032901-1DA4-4941-B011-F516E50845DD}" dt="2023-02-12T05:55:27.659" v="510"/>
          <ac:inkMkLst>
            <pc:docMk/>
            <pc:sldMk cId="0" sldId="271"/>
            <ac:inkMk id="16" creationId="{F1B777BC-0CF7-212D-28D4-CBB675801D21}"/>
          </ac:inkMkLst>
        </pc:inkChg>
        <pc:inkChg chg="add del mod">
          <ac:chgData name="Aniket Chhabra" userId="598e0514-bef3-4e71-b6aa-f2edd6441cff" providerId="ADAL" clId="{E1032901-1DA4-4941-B011-F516E50845DD}" dt="2023-02-12T05:55:27.659" v="512"/>
          <ac:inkMkLst>
            <pc:docMk/>
            <pc:sldMk cId="0" sldId="271"/>
            <ac:inkMk id="17" creationId="{EE108DE3-97E6-7040-F162-3D839AD6C51E}"/>
          </ac:inkMkLst>
        </pc:inkChg>
        <pc:inkChg chg="add del mod">
          <ac:chgData name="Aniket Chhabra" userId="598e0514-bef3-4e71-b6aa-f2edd6441cff" providerId="ADAL" clId="{E1032901-1DA4-4941-B011-F516E50845DD}" dt="2023-02-12T05:55:25.969" v="501"/>
          <ac:inkMkLst>
            <pc:docMk/>
            <pc:sldMk cId="0" sldId="271"/>
            <ac:inkMk id="18" creationId="{D40171B2-1BB2-EAE3-F142-7A78B25673DD}"/>
          </ac:inkMkLst>
        </pc:inkChg>
        <pc:inkChg chg="add del mod">
          <ac:chgData name="Aniket Chhabra" userId="598e0514-bef3-4e71-b6aa-f2edd6441cff" providerId="ADAL" clId="{E1032901-1DA4-4941-B011-F516E50845DD}" dt="2023-02-12T05:55:25.969" v="502"/>
          <ac:inkMkLst>
            <pc:docMk/>
            <pc:sldMk cId="0" sldId="271"/>
            <ac:inkMk id="19" creationId="{05979C4F-6F9C-6244-BD24-5FA8BC43F8C9}"/>
          </ac:inkMkLst>
        </pc:inkChg>
        <pc:inkChg chg="add del mod">
          <ac:chgData name="Aniket Chhabra" userId="598e0514-bef3-4e71-b6aa-f2edd6441cff" providerId="ADAL" clId="{E1032901-1DA4-4941-B011-F516E50845DD}" dt="2023-02-12T05:55:25.785" v="496"/>
          <ac:inkMkLst>
            <pc:docMk/>
            <pc:sldMk cId="0" sldId="271"/>
            <ac:inkMk id="20" creationId="{A0E5D98A-35D8-8097-10D8-3D8BCD2B4CCB}"/>
          </ac:inkMkLst>
        </pc:inkChg>
        <pc:inkChg chg="add del mod">
          <ac:chgData name="Aniket Chhabra" userId="598e0514-bef3-4e71-b6aa-f2edd6441cff" providerId="ADAL" clId="{E1032901-1DA4-4941-B011-F516E50845DD}" dt="2023-02-12T05:55:25.785" v="498"/>
          <ac:inkMkLst>
            <pc:docMk/>
            <pc:sldMk cId="0" sldId="271"/>
            <ac:inkMk id="21" creationId="{258D0248-455D-682C-465E-DC33341FD3B2}"/>
          </ac:inkMkLst>
        </pc:inkChg>
        <pc:inkChg chg="add del mod">
          <ac:chgData name="Aniket Chhabra" userId="598e0514-bef3-4e71-b6aa-f2edd6441cff" providerId="ADAL" clId="{E1032901-1DA4-4941-B011-F516E50845DD}" dt="2023-02-12T05:55:25.785" v="497"/>
          <ac:inkMkLst>
            <pc:docMk/>
            <pc:sldMk cId="0" sldId="271"/>
            <ac:inkMk id="22" creationId="{32329034-5616-2ECB-283B-C688A83F19D9}"/>
          </ac:inkMkLst>
        </pc:inkChg>
        <pc:inkChg chg="add del mod">
          <ac:chgData name="Aniket Chhabra" userId="598e0514-bef3-4e71-b6aa-f2edd6441cff" providerId="ADAL" clId="{E1032901-1DA4-4941-B011-F516E50845DD}" dt="2023-02-12T05:55:25.784" v="495"/>
          <ac:inkMkLst>
            <pc:docMk/>
            <pc:sldMk cId="0" sldId="271"/>
            <ac:inkMk id="23" creationId="{6B10A16A-0494-DD10-AC4D-9692336EEA2C}"/>
          </ac:inkMkLst>
        </pc:inkChg>
        <pc:inkChg chg="add del mod">
          <ac:chgData name="Aniket Chhabra" userId="598e0514-bef3-4e71-b6aa-f2edd6441cff" providerId="ADAL" clId="{E1032901-1DA4-4941-B011-F516E50845DD}" dt="2023-02-12T05:55:25.785" v="499"/>
          <ac:inkMkLst>
            <pc:docMk/>
            <pc:sldMk cId="0" sldId="271"/>
            <ac:inkMk id="24" creationId="{A6BB0989-030C-BD41-8824-1A5C9C5EE5B3}"/>
          </ac:inkMkLst>
        </pc:inkChg>
        <pc:inkChg chg="add del mod">
          <ac:chgData name="Aniket Chhabra" userId="598e0514-bef3-4e71-b6aa-f2edd6441cff" providerId="ADAL" clId="{E1032901-1DA4-4941-B011-F516E50845DD}" dt="2023-02-12T05:55:25.785" v="500"/>
          <ac:inkMkLst>
            <pc:docMk/>
            <pc:sldMk cId="0" sldId="271"/>
            <ac:inkMk id="25" creationId="{CE8B8732-C460-0EAC-7840-34EE6BF18FBD}"/>
          </ac:inkMkLst>
        </pc:inkChg>
        <pc:inkChg chg="add del mod">
          <ac:chgData name="Aniket Chhabra" userId="598e0514-bef3-4e71-b6aa-f2edd6441cff" providerId="ADAL" clId="{E1032901-1DA4-4941-B011-F516E50845DD}" dt="2023-02-12T05:55:27.111" v="505"/>
          <ac:inkMkLst>
            <pc:docMk/>
            <pc:sldMk cId="0" sldId="271"/>
            <ac:inkMk id="26" creationId="{FCA571FB-6BCC-1269-DE2C-AEE31EFB3844}"/>
          </ac:inkMkLst>
        </pc:inkChg>
        <pc:inkChg chg="add del mod">
          <ac:chgData name="Aniket Chhabra" userId="598e0514-bef3-4e71-b6aa-f2edd6441cff" providerId="ADAL" clId="{E1032901-1DA4-4941-B011-F516E50845DD}" dt="2023-02-12T05:55:27.111" v="504"/>
          <ac:inkMkLst>
            <pc:docMk/>
            <pc:sldMk cId="0" sldId="271"/>
            <ac:inkMk id="27" creationId="{1FFEA77E-5210-4BEB-7148-FB6D9A868F3E}"/>
          </ac:inkMkLst>
        </pc:inkChg>
        <pc:inkChg chg="add del mod">
          <ac:chgData name="Aniket Chhabra" userId="598e0514-bef3-4e71-b6aa-f2edd6441cff" providerId="ADAL" clId="{E1032901-1DA4-4941-B011-F516E50845DD}" dt="2023-02-12T05:55:27.111" v="503"/>
          <ac:inkMkLst>
            <pc:docMk/>
            <pc:sldMk cId="0" sldId="271"/>
            <ac:inkMk id="28" creationId="{68166308-141D-7759-42C0-87837BB29815}"/>
          </ac:inkMkLst>
        </pc:inkChg>
        <pc:inkChg chg="add mod">
          <ac:chgData name="Aniket Chhabra" userId="598e0514-bef3-4e71-b6aa-f2edd6441cff" providerId="ADAL" clId="{E1032901-1DA4-4941-B011-F516E50845DD}" dt="2023-02-12T05:55:02.886" v="460"/>
          <ac:inkMkLst>
            <pc:docMk/>
            <pc:sldMk cId="0" sldId="271"/>
            <ac:inkMk id="30" creationId="{8BADC94B-1343-516D-8C66-E1B51905F344}"/>
          </ac:inkMkLst>
        </pc:inkChg>
        <pc:inkChg chg="add mod">
          <ac:chgData name="Aniket Chhabra" userId="598e0514-bef3-4e71-b6aa-f2edd6441cff" providerId="ADAL" clId="{E1032901-1DA4-4941-B011-F516E50845DD}" dt="2023-02-12T05:55:02.886" v="460"/>
          <ac:inkMkLst>
            <pc:docMk/>
            <pc:sldMk cId="0" sldId="271"/>
            <ac:inkMk id="31" creationId="{834A610E-5046-541D-F8A6-424BBB569280}"/>
          </ac:inkMkLst>
        </pc:inkChg>
        <pc:inkChg chg="add mod">
          <ac:chgData name="Aniket Chhabra" userId="598e0514-bef3-4e71-b6aa-f2edd6441cff" providerId="ADAL" clId="{E1032901-1DA4-4941-B011-F516E50845DD}" dt="2023-02-12T05:55:02.886" v="460"/>
          <ac:inkMkLst>
            <pc:docMk/>
            <pc:sldMk cId="0" sldId="271"/>
            <ac:inkMk id="32" creationId="{0109374F-5A38-36CD-78F4-D655EAD48FFB}"/>
          </ac:inkMkLst>
        </pc:inkChg>
        <pc:inkChg chg="add mod">
          <ac:chgData name="Aniket Chhabra" userId="598e0514-bef3-4e71-b6aa-f2edd6441cff" providerId="ADAL" clId="{E1032901-1DA4-4941-B011-F516E50845DD}" dt="2023-02-12T05:55:05.741" v="468"/>
          <ac:inkMkLst>
            <pc:docMk/>
            <pc:sldMk cId="0" sldId="271"/>
            <ac:inkMk id="34" creationId="{B818FDAE-D669-FAC6-924B-1492B98BC5DE}"/>
          </ac:inkMkLst>
        </pc:inkChg>
        <pc:inkChg chg="add mod">
          <ac:chgData name="Aniket Chhabra" userId="598e0514-bef3-4e71-b6aa-f2edd6441cff" providerId="ADAL" clId="{E1032901-1DA4-4941-B011-F516E50845DD}" dt="2023-02-12T05:55:05.741" v="468"/>
          <ac:inkMkLst>
            <pc:docMk/>
            <pc:sldMk cId="0" sldId="271"/>
            <ac:inkMk id="35" creationId="{67E698AA-7272-E9B2-7F73-A201839024D0}"/>
          </ac:inkMkLst>
        </pc:inkChg>
        <pc:inkChg chg="add mod">
          <ac:chgData name="Aniket Chhabra" userId="598e0514-bef3-4e71-b6aa-f2edd6441cff" providerId="ADAL" clId="{E1032901-1DA4-4941-B011-F516E50845DD}" dt="2023-02-12T05:55:05.741" v="468"/>
          <ac:inkMkLst>
            <pc:docMk/>
            <pc:sldMk cId="0" sldId="271"/>
            <ac:inkMk id="36" creationId="{8BFA4E7E-F685-4713-B99F-D8545549F707}"/>
          </ac:inkMkLst>
        </pc:inkChg>
        <pc:inkChg chg="add del mod">
          <ac:chgData name="Aniket Chhabra" userId="598e0514-bef3-4e71-b6aa-f2edd6441cff" providerId="ADAL" clId="{E1032901-1DA4-4941-B011-F516E50845DD}" dt="2023-02-12T05:55:06.311" v="469" actId="9405"/>
          <ac:inkMkLst>
            <pc:docMk/>
            <pc:sldMk cId="0" sldId="271"/>
            <ac:inkMk id="37" creationId="{D31DF956-C231-0D42-8234-FA12AA46E26B}"/>
          </ac:inkMkLst>
        </pc:inkChg>
        <pc:inkChg chg="add del mod">
          <ac:chgData name="Aniket Chhabra" userId="598e0514-bef3-4e71-b6aa-f2edd6441cff" providerId="ADAL" clId="{E1032901-1DA4-4941-B011-F516E50845DD}" dt="2023-02-12T05:55:05.741" v="468"/>
          <ac:inkMkLst>
            <pc:docMk/>
            <pc:sldMk cId="0" sldId="271"/>
            <ac:inkMk id="38" creationId="{0B2D77F6-48C7-67ED-48A9-242174DDDD15}"/>
          </ac:inkMkLst>
        </pc:inkChg>
        <pc:inkChg chg="add mod">
          <ac:chgData name="Aniket Chhabra" userId="598e0514-bef3-4e71-b6aa-f2edd6441cff" providerId="ADAL" clId="{E1032901-1DA4-4941-B011-F516E50845DD}" dt="2023-02-12T05:55:11.359" v="477"/>
          <ac:inkMkLst>
            <pc:docMk/>
            <pc:sldMk cId="0" sldId="271"/>
            <ac:inkMk id="40" creationId="{B2E78A05-4834-7760-07CC-59BC135A4709}"/>
          </ac:inkMkLst>
        </pc:inkChg>
        <pc:inkChg chg="add mod">
          <ac:chgData name="Aniket Chhabra" userId="598e0514-bef3-4e71-b6aa-f2edd6441cff" providerId="ADAL" clId="{E1032901-1DA4-4941-B011-F516E50845DD}" dt="2023-02-12T05:55:11.359" v="477"/>
          <ac:inkMkLst>
            <pc:docMk/>
            <pc:sldMk cId="0" sldId="271"/>
            <ac:inkMk id="41" creationId="{B22089E7-5855-2F89-1C57-84A3262A0255}"/>
          </ac:inkMkLst>
        </pc:inkChg>
        <pc:inkChg chg="add mod">
          <ac:chgData name="Aniket Chhabra" userId="598e0514-bef3-4e71-b6aa-f2edd6441cff" providerId="ADAL" clId="{E1032901-1DA4-4941-B011-F516E50845DD}" dt="2023-02-12T05:55:11.359" v="477"/>
          <ac:inkMkLst>
            <pc:docMk/>
            <pc:sldMk cId="0" sldId="271"/>
            <ac:inkMk id="42" creationId="{DD2D461F-550D-C878-8CBC-5FD15097B3CE}"/>
          </ac:inkMkLst>
        </pc:inkChg>
        <pc:inkChg chg="add mod">
          <ac:chgData name="Aniket Chhabra" userId="598e0514-bef3-4e71-b6aa-f2edd6441cff" providerId="ADAL" clId="{E1032901-1DA4-4941-B011-F516E50845DD}" dt="2023-02-12T05:55:11.359" v="477"/>
          <ac:inkMkLst>
            <pc:docMk/>
            <pc:sldMk cId="0" sldId="271"/>
            <ac:inkMk id="43" creationId="{79E1C601-F482-2A98-441A-4ED94A51D5D4}"/>
          </ac:inkMkLst>
        </pc:inkChg>
        <pc:inkChg chg="add mod">
          <ac:chgData name="Aniket Chhabra" userId="598e0514-bef3-4e71-b6aa-f2edd6441cff" providerId="ADAL" clId="{E1032901-1DA4-4941-B011-F516E50845DD}" dt="2023-02-12T05:55:11.359" v="477"/>
          <ac:inkMkLst>
            <pc:docMk/>
            <pc:sldMk cId="0" sldId="271"/>
            <ac:inkMk id="44" creationId="{3A3BF3DC-AC75-0187-1E25-3BD23673206F}"/>
          </ac:inkMkLst>
        </pc:inkChg>
        <pc:inkChg chg="add mod">
          <ac:chgData name="Aniket Chhabra" userId="598e0514-bef3-4e71-b6aa-f2edd6441cff" providerId="ADAL" clId="{E1032901-1DA4-4941-B011-F516E50845DD}" dt="2023-02-12T05:55:11.359" v="477"/>
          <ac:inkMkLst>
            <pc:docMk/>
            <pc:sldMk cId="0" sldId="271"/>
            <ac:inkMk id="45" creationId="{96B43374-5D04-005F-222F-A2656514DD03}"/>
          </ac:inkMkLst>
        </pc:inkChg>
        <pc:inkChg chg="add mod">
          <ac:chgData name="Aniket Chhabra" userId="598e0514-bef3-4e71-b6aa-f2edd6441cff" providerId="ADAL" clId="{E1032901-1DA4-4941-B011-F516E50845DD}" dt="2023-02-12T05:55:11.359" v="477"/>
          <ac:inkMkLst>
            <pc:docMk/>
            <pc:sldMk cId="0" sldId="271"/>
            <ac:inkMk id="46" creationId="{D5F662D2-58BB-4653-D709-909142976E4F}"/>
          </ac:inkMkLst>
        </pc:inkChg>
        <pc:inkChg chg="add mod">
          <ac:chgData name="Aniket Chhabra" userId="598e0514-bef3-4e71-b6aa-f2edd6441cff" providerId="ADAL" clId="{E1032901-1DA4-4941-B011-F516E50845DD}" dt="2023-02-12T05:55:21.128" v="488"/>
          <ac:inkMkLst>
            <pc:docMk/>
            <pc:sldMk cId="0" sldId="271"/>
            <ac:inkMk id="50" creationId="{1818BED5-8760-9A8D-BC1D-B16E293F5022}"/>
          </ac:inkMkLst>
        </pc:inkChg>
        <pc:inkChg chg="add mod">
          <ac:chgData name="Aniket Chhabra" userId="598e0514-bef3-4e71-b6aa-f2edd6441cff" providerId="ADAL" clId="{E1032901-1DA4-4941-B011-F516E50845DD}" dt="2023-02-12T05:55:21.128" v="488"/>
          <ac:inkMkLst>
            <pc:docMk/>
            <pc:sldMk cId="0" sldId="271"/>
            <ac:inkMk id="51" creationId="{4282219F-5927-1624-5078-E071976FF27E}"/>
          </ac:inkMkLst>
        </pc:inkChg>
        <pc:inkChg chg="add mod">
          <ac:chgData name="Aniket Chhabra" userId="598e0514-bef3-4e71-b6aa-f2edd6441cff" providerId="ADAL" clId="{E1032901-1DA4-4941-B011-F516E50845DD}" dt="2023-02-12T05:55:21.128" v="488"/>
          <ac:inkMkLst>
            <pc:docMk/>
            <pc:sldMk cId="0" sldId="271"/>
            <ac:inkMk id="52" creationId="{83977F3B-55C5-BA1F-52B9-5B93DA8B7155}"/>
          </ac:inkMkLst>
        </pc:inkChg>
        <pc:inkChg chg="add mod">
          <ac:chgData name="Aniket Chhabra" userId="598e0514-bef3-4e71-b6aa-f2edd6441cff" providerId="ADAL" clId="{E1032901-1DA4-4941-B011-F516E50845DD}" dt="2023-02-12T05:55:21.128" v="488"/>
          <ac:inkMkLst>
            <pc:docMk/>
            <pc:sldMk cId="0" sldId="271"/>
            <ac:inkMk id="53" creationId="{FEF06522-D7C9-672A-A0E7-21ACF4114584}"/>
          </ac:inkMkLst>
        </pc:inkChg>
        <pc:inkChg chg="add mod">
          <ac:chgData name="Aniket Chhabra" userId="598e0514-bef3-4e71-b6aa-f2edd6441cff" providerId="ADAL" clId="{E1032901-1DA4-4941-B011-F516E50845DD}" dt="2023-02-12T05:55:21.128" v="488"/>
          <ac:inkMkLst>
            <pc:docMk/>
            <pc:sldMk cId="0" sldId="271"/>
            <ac:inkMk id="54" creationId="{E29ABC8B-3A7C-B100-FC56-25B6F5C6A8F7}"/>
          </ac:inkMkLst>
        </pc:inkChg>
        <pc:inkChg chg="add del mod">
          <ac:chgData name="Aniket Chhabra" userId="598e0514-bef3-4e71-b6aa-f2edd6441cff" providerId="ADAL" clId="{E1032901-1DA4-4941-B011-F516E50845DD}" dt="2023-02-12T05:55:21.128" v="488"/>
          <ac:inkMkLst>
            <pc:docMk/>
            <pc:sldMk cId="0" sldId="271"/>
            <ac:inkMk id="55" creationId="{9F77FCEE-D661-AB76-1512-64A7B176308C}"/>
          </ac:inkMkLst>
        </pc:inkChg>
        <pc:inkChg chg="add del">
          <ac:chgData name="Aniket Chhabra" userId="598e0514-bef3-4e71-b6aa-f2edd6441cff" providerId="ADAL" clId="{E1032901-1DA4-4941-B011-F516E50845DD}" dt="2023-02-12T05:55:20.615" v="485" actId="9405"/>
          <ac:inkMkLst>
            <pc:docMk/>
            <pc:sldMk cId="0" sldId="271"/>
            <ac:inkMk id="56" creationId="{A06FF949-D139-6557-83E5-09DBD7372D33}"/>
          </ac:inkMkLst>
        </pc:inkChg>
        <pc:inkChg chg="add mod">
          <ac:chgData name="Aniket Chhabra" userId="598e0514-bef3-4e71-b6aa-f2edd6441cff" providerId="ADAL" clId="{E1032901-1DA4-4941-B011-F516E50845DD}" dt="2023-02-12T05:55:24.429" v="494"/>
          <ac:inkMkLst>
            <pc:docMk/>
            <pc:sldMk cId="0" sldId="271"/>
            <ac:inkMk id="58" creationId="{39016EB1-C9CD-3740-C638-96B75DD913BC}"/>
          </ac:inkMkLst>
        </pc:inkChg>
        <pc:inkChg chg="add mod">
          <ac:chgData name="Aniket Chhabra" userId="598e0514-bef3-4e71-b6aa-f2edd6441cff" providerId="ADAL" clId="{E1032901-1DA4-4941-B011-F516E50845DD}" dt="2023-02-12T05:55:24.429" v="494"/>
          <ac:inkMkLst>
            <pc:docMk/>
            <pc:sldMk cId="0" sldId="271"/>
            <ac:inkMk id="59" creationId="{E3A21DB7-D3D4-31FC-9B59-A4D8DBC7D8AF}"/>
          </ac:inkMkLst>
        </pc:inkChg>
        <pc:inkChg chg="add mod">
          <ac:chgData name="Aniket Chhabra" userId="598e0514-bef3-4e71-b6aa-f2edd6441cff" providerId="ADAL" clId="{E1032901-1DA4-4941-B011-F516E50845DD}" dt="2023-02-12T05:55:24.429" v="494"/>
          <ac:inkMkLst>
            <pc:docMk/>
            <pc:sldMk cId="0" sldId="271"/>
            <ac:inkMk id="60" creationId="{40A22FA2-B553-8B68-FF84-B45F4CE23000}"/>
          </ac:inkMkLst>
        </pc:inkChg>
        <pc:inkChg chg="add mod">
          <ac:chgData name="Aniket Chhabra" userId="598e0514-bef3-4e71-b6aa-f2edd6441cff" providerId="ADAL" clId="{E1032901-1DA4-4941-B011-F516E50845DD}" dt="2023-02-12T05:55:24.429" v="494"/>
          <ac:inkMkLst>
            <pc:docMk/>
            <pc:sldMk cId="0" sldId="271"/>
            <ac:inkMk id="61" creationId="{6E86FAF7-8372-6EB2-9353-3758B6B73AEE}"/>
          </ac:inkMkLst>
        </pc:inkChg>
        <pc:inkChg chg="add mod">
          <ac:chgData name="Aniket Chhabra" userId="598e0514-bef3-4e71-b6aa-f2edd6441cff" providerId="ADAL" clId="{E1032901-1DA4-4941-B011-F516E50845DD}" dt="2023-02-12T05:55:24.429" v="494"/>
          <ac:inkMkLst>
            <pc:docMk/>
            <pc:sldMk cId="0" sldId="271"/>
            <ac:inkMk id="62" creationId="{ACFBFF2F-B213-1310-8A88-DB78FE68D04F}"/>
          </ac:inkMkLst>
        </pc:inkChg>
        <pc:inkChg chg="add mod">
          <ac:chgData name="Aniket Chhabra" userId="598e0514-bef3-4e71-b6aa-f2edd6441cff" providerId="ADAL" clId="{E1032901-1DA4-4941-B011-F516E50845DD}" dt="2023-02-12T05:55:32.200" v="516"/>
          <ac:inkMkLst>
            <pc:docMk/>
            <pc:sldMk cId="0" sldId="271"/>
            <ac:inkMk id="128" creationId="{E1FAA34B-F0E5-142C-9CD4-826A526645B7}"/>
          </ac:inkMkLst>
        </pc:inkChg>
        <pc:inkChg chg="add mod">
          <ac:chgData name="Aniket Chhabra" userId="598e0514-bef3-4e71-b6aa-f2edd6441cff" providerId="ADAL" clId="{E1032901-1DA4-4941-B011-F516E50845DD}" dt="2023-02-12T05:55:32.200" v="516"/>
          <ac:inkMkLst>
            <pc:docMk/>
            <pc:sldMk cId="0" sldId="271"/>
            <ac:inkMk id="129" creationId="{AA2229C4-F4FA-6B35-7C5D-D1F0D8BAA354}"/>
          </ac:inkMkLst>
        </pc:inkChg>
        <pc:inkChg chg="add">
          <ac:chgData name="Aniket Chhabra" userId="598e0514-bef3-4e71-b6aa-f2edd6441cff" providerId="ADAL" clId="{E1032901-1DA4-4941-B011-F516E50845DD}" dt="2023-02-12T05:55:36.550" v="517" actId="9405"/>
          <ac:inkMkLst>
            <pc:docMk/>
            <pc:sldMk cId="0" sldId="271"/>
            <ac:inkMk id="131" creationId="{3E33500B-9FAD-3015-44F4-C7DEE0943171}"/>
          </ac:inkMkLst>
        </pc:inkChg>
        <pc:inkChg chg="add mod">
          <ac:chgData name="Aniket Chhabra" userId="598e0514-bef3-4e71-b6aa-f2edd6441cff" providerId="ADAL" clId="{E1032901-1DA4-4941-B011-F516E50845DD}" dt="2023-02-12T05:55:47.016" v="533"/>
          <ac:inkMkLst>
            <pc:docMk/>
            <pc:sldMk cId="0" sldId="271"/>
            <ac:inkMk id="132" creationId="{413DA702-02A7-C376-184A-F1B0655B341B}"/>
          </ac:inkMkLst>
        </pc:inkChg>
        <pc:inkChg chg="add mod">
          <ac:chgData name="Aniket Chhabra" userId="598e0514-bef3-4e71-b6aa-f2edd6441cff" providerId="ADAL" clId="{E1032901-1DA4-4941-B011-F516E50845DD}" dt="2023-02-12T05:55:47.016" v="533"/>
          <ac:inkMkLst>
            <pc:docMk/>
            <pc:sldMk cId="0" sldId="271"/>
            <ac:inkMk id="133" creationId="{1D1A83A3-05C6-581B-BF5E-6BC45716FADA}"/>
          </ac:inkMkLst>
        </pc:inkChg>
        <pc:inkChg chg="add mod">
          <ac:chgData name="Aniket Chhabra" userId="598e0514-bef3-4e71-b6aa-f2edd6441cff" providerId="ADAL" clId="{E1032901-1DA4-4941-B011-F516E50845DD}" dt="2023-02-12T05:55:47.016" v="533"/>
          <ac:inkMkLst>
            <pc:docMk/>
            <pc:sldMk cId="0" sldId="271"/>
            <ac:inkMk id="134" creationId="{10566BDF-3CB5-9FA9-DB14-1AB47942F3EA}"/>
          </ac:inkMkLst>
        </pc:inkChg>
        <pc:inkChg chg="add mod">
          <ac:chgData name="Aniket Chhabra" userId="598e0514-bef3-4e71-b6aa-f2edd6441cff" providerId="ADAL" clId="{E1032901-1DA4-4941-B011-F516E50845DD}" dt="2023-02-12T05:55:47.016" v="533"/>
          <ac:inkMkLst>
            <pc:docMk/>
            <pc:sldMk cId="0" sldId="271"/>
            <ac:inkMk id="135" creationId="{0DB3161A-6645-D22A-9BC3-7AEA6CE40DDB}"/>
          </ac:inkMkLst>
        </pc:inkChg>
        <pc:inkChg chg="add mod">
          <ac:chgData name="Aniket Chhabra" userId="598e0514-bef3-4e71-b6aa-f2edd6441cff" providerId="ADAL" clId="{E1032901-1DA4-4941-B011-F516E50845DD}" dt="2023-02-12T05:55:47.016" v="533"/>
          <ac:inkMkLst>
            <pc:docMk/>
            <pc:sldMk cId="0" sldId="271"/>
            <ac:inkMk id="136" creationId="{368BA03F-DEBE-9FDA-A7A4-A41E81B9F467}"/>
          </ac:inkMkLst>
        </pc:inkChg>
        <pc:inkChg chg="add mod">
          <ac:chgData name="Aniket Chhabra" userId="598e0514-bef3-4e71-b6aa-f2edd6441cff" providerId="ADAL" clId="{E1032901-1DA4-4941-B011-F516E50845DD}" dt="2023-02-12T05:55:47.016" v="533"/>
          <ac:inkMkLst>
            <pc:docMk/>
            <pc:sldMk cId="0" sldId="271"/>
            <ac:inkMk id="137" creationId="{F55F38C4-E220-8211-535F-F6F01F1C61CC}"/>
          </ac:inkMkLst>
        </pc:inkChg>
        <pc:inkChg chg="add mod">
          <ac:chgData name="Aniket Chhabra" userId="598e0514-bef3-4e71-b6aa-f2edd6441cff" providerId="ADAL" clId="{E1032901-1DA4-4941-B011-F516E50845DD}" dt="2023-02-12T05:55:47.016" v="533"/>
          <ac:inkMkLst>
            <pc:docMk/>
            <pc:sldMk cId="0" sldId="271"/>
            <ac:inkMk id="138" creationId="{600544B8-85F4-C30B-F80E-577559B3BD40}"/>
          </ac:inkMkLst>
        </pc:inkChg>
        <pc:inkChg chg="add mod">
          <ac:chgData name="Aniket Chhabra" userId="598e0514-bef3-4e71-b6aa-f2edd6441cff" providerId="ADAL" clId="{E1032901-1DA4-4941-B011-F516E50845DD}" dt="2023-02-12T05:55:47.016" v="533"/>
          <ac:inkMkLst>
            <pc:docMk/>
            <pc:sldMk cId="0" sldId="271"/>
            <ac:inkMk id="139" creationId="{2453924B-6F23-50C8-73B6-FA89F0C8C257}"/>
          </ac:inkMkLst>
        </pc:inkChg>
        <pc:inkChg chg="add mod">
          <ac:chgData name="Aniket Chhabra" userId="598e0514-bef3-4e71-b6aa-f2edd6441cff" providerId="ADAL" clId="{E1032901-1DA4-4941-B011-F516E50845DD}" dt="2023-02-12T05:55:47.016" v="533"/>
          <ac:inkMkLst>
            <pc:docMk/>
            <pc:sldMk cId="0" sldId="271"/>
            <ac:inkMk id="140" creationId="{ABC06788-A0F6-FC83-40A9-72D19B92299C}"/>
          </ac:inkMkLst>
        </pc:inkChg>
        <pc:inkChg chg="add mod">
          <ac:chgData name="Aniket Chhabra" userId="598e0514-bef3-4e71-b6aa-f2edd6441cff" providerId="ADAL" clId="{E1032901-1DA4-4941-B011-F516E50845DD}" dt="2023-02-12T05:55:47.016" v="533"/>
          <ac:inkMkLst>
            <pc:docMk/>
            <pc:sldMk cId="0" sldId="271"/>
            <ac:inkMk id="141" creationId="{9D5BD731-3061-1848-541B-BCB37CFC2A08}"/>
          </ac:inkMkLst>
        </pc:inkChg>
        <pc:inkChg chg="add mod">
          <ac:chgData name="Aniket Chhabra" userId="598e0514-bef3-4e71-b6aa-f2edd6441cff" providerId="ADAL" clId="{E1032901-1DA4-4941-B011-F516E50845DD}" dt="2023-02-12T05:55:47.016" v="533"/>
          <ac:inkMkLst>
            <pc:docMk/>
            <pc:sldMk cId="0" sldId="271"/>
            <ac:inkMk id="142" creationId="{AA010777-9789-6F89-577F-2E35F2022F96}"/>
          </ac:inkMkLst>
        </pc:inkChg>
        <pc:inkChg chg="add mod">
          <ac:chgData name="Aniket Chhabra" userId="598e0514-bef3-4e71-b6aa-f2edd6441cff" providerId="ADAL" clId="{E1032901-1DA4-4941-B011-F516E50845DD}" dt="2023-02-12T05:55:47.016" v="533"/>
          <ac:inkMkLst>
            <pc:docMk/>
            <pc:sldMk cId="0" sldId="271"/>
            <ac:inkMk id="143" creationId="{BBFAC1E0-C0ED-EB5C-37E5-8B717725CD04}"/>
          </ac:inkMkLst>
        </pc:inkChg>
        <pc:inkChg chg="add mod">
          <ac:chgData name="Aniket Chhabra" userId="598e0514-bef3-4e71-b6aa-f2edd6441cff" providerId="ADAL" clId="{E1032901-1DA4-4941-B011-F516E50845DD}" dt="2023-02-12T05:55:47.016" v="533"/>
          <ac:inkMkLst>
            <pc:docMk/>
            <pc:sldMk cId="0" sldId="271"/>
            <ac:inkMk id="144" creationId="{8EB7637D-D523-16A5-974C-41DEA9E38B93}"/>
          </ac:inkMkLst>
        </pc:inkChg>
        <pc:inkChg chg="add mod">
          <ac:chgData name="Aniket Chhabra" userId="598e0514-bef3-4e71-b6aa-f2edd6441cff" providerId="ADAL" clId="{E1032901-1DA4-4941-B011-F516E50845DD}" dt="2023-02-12T05:55:47.016" v="533"/>
          <ac:inkMkLst>
            <pc:docMk/>
            <pc:sldMk cId="0" sldId="271"/>
            <ac:inkMk id="145" creationId="{0CC070CF-0C3D-C7C5-E6D3-23DD87E22BCB}"/>
          </ac:inkMkLst>
        </pc:inkChg>
        <pc:inkChg chg="add mod">
          <ac:chgData name="Aniket Chhabra" userId="598e0514-bef3-4e71-b6aa-f2edd6441cff" providerId="ADAL" clId="{E1032901-1DA4-4941-B011-F516E50845DD}" dt="2023-02-12T05:55:47.016" v="533"/>
          <ac:inkMkLst>
            <pc:docMk/>
            <pc:sldMk cId="0" sldId="271"/>
            <ac:inkMk id="146" creationId="{BD3B188A-1448-321A-6A54-E06FC2D5E56E}"/>
          </ac:inkMkLst>
        </pc:inkChg>
        <pc:inkChg chg="add mod">
          <ac:chgData name="Aniket Chhabra" userId="598e0514-bef3-4e71-b6aa-f2edd6441cff" providerId="ADAL" clId="{E1032901-1DA4-4941-B011-F516E50845DD}" dt="2023-02-12T05:55:49.965" v="540"/>
          <ac:inkMkLst>
            <pc:docMk/>
            <pc:sldMk cId="0" sldId="271"/>
            <ac:inkMk id="148" creationId="{6E3D2299-A9BA-FD93-B27B-B3BED6797038}"/>
          </ac:inkMkLst>
        </pc:inkChg>
        <pc:inkChg chg="add mod">
          <ac:chgData name="Aniket Chhabra" userId="598e0514-bef3-4e71-b6aa-f2edd6441cff" providerId="ADAL" clId="{E1032901-1DA4-4941-B011-F516E50845DD}" dt="2023-02-12T05:55:49.965" v="540"/>
          <ac:inkMkLst>
            <pc:docMk/>
            <pc:sldMk cId="0" sldId="271"/>
            <ac:inkMk id="149" creationId="{BCED28AB-61D1-FC9A-8CC6-3CDBF2CBB46F}"/>
          </ac:inkMkLst>
        </pc:inkChg>
        <pc:inkChg chg="add mod">
          <ac:chgData name="Aniket Chhabra" userId="598e0514-bef3-4e71-b6aa-f2edd6441cff" providerId="ADAL" clId="{E1032901-1DA4-4941-B011-F516E50845DD}" dt="2023-02-12T05:55:49.965" v="540"/>
          <ac:inkMkLst>
            <pc:docMk/>
            <pc:sldMk cId="0" sldId="271"/>
            <ac:inkMk id="150" creationId="{7DF665F8-AA7B-D192-C95A-520F940DB962}"/>
          </ac:inkMkLst>
        </pc:inkChg>
        <pc:inkChg chg="add mod">
          <ac:chgData name="Aniket Chhabra" userId="598e0514-bef3-4e71-b6aa-f2edd6441cff" providerId="ADAL" clId="{E1032901-1DA4-4941-B011-F516E50845DD}" dt="2023-02-12T05:55:49.965" v="540"/>
          <ac:inkMkLst>
            <pc:docMk/>
            <pc:sldMk cId="0" sldId="271"/>
            <ac:inkMk id="151" creationId="{EC5B0BA4-EB3C-9386-E7FD-76551B8B54F3}"/>
          </ac:inkMkLst>
        </pc:inkChg>
        <pc:inkChg chg="add mod">
          <ac:chgData name="Aniket Chhabra" userId="598e0514-bef3-4e71-b6aa-f2edd6441cff" providerId="ADAL" clId="{E1032901-1DA4-4941-B011-F516E50845DD}" dt="2023-02-12T05:55:49.965" v="540"/>
          <ac:inkMkLst>
            <pc:docMk/>
            <pc:sldMk cId="0" sldId="271"/>
            <ac:inkMk id="152" creationId="{634C5442-3E85-AC6B-BD93-F6AB9080C305}"/>
          </ac:inkMkLst>
        </pc:inkChg>
        <pc:inkChg chg="add mod">
          <ac:chgData name="Aniket Chhabra" userId="598e0514-bef3-4e71-b6aa-f2edd6441cff" providerId="ADAL" clId="{E1032901-1DA4-4941-B011-F516E50845DD}" dt="2023-02-12T05:55:49.965" v="540"/>
          <ac:inkMkLst>
            <pc:docMk/>
            <pc:sldMk cId="0" sldId="271"/>
            <ac:inkMk id="153" creationId="{83EA5695-ADF7-2FAB-DCE9-1FBF24AAAA48}"/>
          </ac:inkMkLst>
        </pc:inkChg>
        <pc:inkChg chg="add mod">
          <ac:chgData name="Aniket Chhabra" userId="598e0514-bef3-4e71-b6aa-f2edd6441cff" providerId="ADAL" clId="{E1032901-1DA4-4941-B011-F516E50845DD}" dt="2023-02-12T05:56:05.008" v="550"/>
          <ac:inkMkLst>
            <pc:docMk/>
            <pc:sldMk cId="0" sldId="271"/>
            <ac:inkMk id="156" creationId="{290B9AAE-E085-B681-64F7-6098A3B502B0}"/>
          </ac:inkMkLst>
        </pc:inkChg>
        <pc:inkChg chg="add mod">
          <ac:chgData name="Aniket Chhabra" userId="598e0514-bef3-4e71-b6aa-f2edd6441cff" providerId="ADAL" clId="{E1032901-1DA4-4941-B011-F516E50845DD}" dt="2023-02-12T05:56:05.008" v="550"/>
          <ac:inkMkLst>
            <pc:docMk/>
            <pc:sldMk cId="0" sldId="271"/>
            <ac:inkMk id="157" creationId="{9E117923-F519-2B42-D216-C17FA25610D6}"/>
          </ac:inkMkLst>
        </pc:inkChg>
        <pc:inkChg chg="add mod">
          <ac:chgData name="Aniket Chhabra" userId="598e0514-bef3-4e71-b6aa-f2edd6441cff" providerId="ADAL" clId="{E1032901-1DA4-4941-B011-F516E50845DD}" dt="2023-02-12T05:56:05.008" v="550"/>
          <ac:inkMkLst>
            <pc:docMk/>
            <pc:sldMk cId="0" sldId="271"/>
            <ac:inkMk id="158" creationId="{0D529EA6-6974-AC2E-701B-62F690E851D6}"/>
          </ac:inkMkLst>
        </pc:inkChg>
        <pc:inkChg chg="add mod">
          <ac:chgData name="Aniket Chhabra" userId="598e0514-bef3-4e71-b6aa-f2edd6441cff" providerId="ADAL" clId="{E1032901-1DA4-4941-B011-F516E50845DD}" dt="2023-02-12T05:56:05.008" v="550"/>
          <ac:inkMkLst>
            <pc:docMk/>
            <pc:sldMk cId="0" sldId="271"/>
            <ac:inkMk id="160" creationId="{F556B6FB-EF1E-5FA1-5037-BBFF17AB092C}"/>
          </ac:inkMkLst>
        </pc:inkChg>
        <pc:inkChg chg="add mod">
          <ac:chgData name="Aniket Chhabra" userId="598e0514-bef3-4e71-b6aa-f2edd6441cff" providerId="ADAL" clId="{E1032901-1DA4-4941-B011-F516E50845DD}" dt="2023-02-12T05:56:05.008" v="550"/>
          <ac:inkMkLst>
            <pc:docMk/>
            <pc:sldMk cId="0" sldId="271"/>
            <ac:inkMk id="162" creationId="{2C8F0A6F-D435-AE92-8519-65E594F802B9}"/>
          </ac:inkMkLst>
        </pc:inkChg>
        <pc:inkChg chg="add del">
          <ac:chgData name="Aniket Chhabra" userId="598e0514-bef3-4e71-b6aa-f2edd6441cff" providerId="ADAL" clId="{E1032901-1DA4-4941-B011-F516E50845DD}" dt="2023-02-12T05:56:05.008" v="550"/>
          <ac:inkMkLst>
            <pc:docMk/>
            <pc:sldMk cId="0" sldId="271"/>
            <ac:inkMk id="163" creationId="{2486CC13-6258-5158-1706-848B1A023727}"/>
          </ac:inkMkLst>
        </pc:inkChg>
        <pc:inkChg chg="add mod">
          <ac:chgData name="Aniket Chhabra" userId="598e0514-bef3-4e71-b6aa-f2edd6441cff" providerId="ADAL" clId="{E1032901-1DA4-4941-B011-F516E50845DD}" dt="2023-02-12T05:56:09.339" v="559"/>
          <ac:inkMkLst>
            <pc:docMk/>
            <pc:sldMk cId="0" sldId="271"/>
            <ac:inkMk id="165" creationId="{D7EE48BB-8B36-397F-28C4-3054B323F7D6}"/>
          </ac:inkMkLst>
        </pc:inkChg>
        <pc:inkChg chg="add mod">
          <ac:chgData name="Aniket Chhabra" userId="598e0514-bef3-4e71-b6aa-f2edd6441cff" providerId="ADAL" clId="{E1032901-1DA4-4941-B011-F516E50845DD}" dt="2023-02-12T05:56:09.339" v="559"/>
          <ac:inkMkLst>
            <pc:docMk/>
            <pc:sldMk cId="0" sldId="271"/>
            <ac:inkMk id="166" creationId="{12E57D72-D6C9-F987-BEDC-FB987F5BF7C6}"/>
          </ac:inkMkLst>
        </pc:inkChg>
        <pc:inkChg chg="add mod">
          <ac:chgData name="Aniket Chhabra" userId="598e0514-bef3-4e71-b6aa-f2edd6441cff" providerId="ADAL" clId="{E1032901-1DA4-4941-B011-F516E50845DD}" dt="2023-02-12T05:56:09.339" v="559"/>
          <ac:inkMkLst>
            <pc:docMk/>
            <pc:sldMk cId="0" sldId="271"/>
            <ac:inkMk id="167" creationId="{615B838B-F301-F7CC-C329-CBB8AC214D23}"/>
          </ac:inkMkLst>
        </pc:inkChg>
        <pc:inkChg chg="add mod">
          <ac:chgData name="Aniket Chhabra" userId="598e0514-bef3-4e71-b6aa-f2edd6441cff" providerId="ADAL" clId="{E1032901-1DA4-4941-B011-F516E50845DD}" dt="2023-02-12T05:56:09.339" v="559"/>
          <ac:inkMkLst>
            <pc:docMk/>
            <pc:sldMk cId="0" sldId="271"/>
            <ac:inkMk id="168" creationId="{BB10F2ED-03EF-7C90-A00A-6F4B289C56DE}"/>
          </ac:inkMkLst>
        </pc:inkChg>
        <pc:inkChg chg="add mod">
          <ac:chgData name="Aniket Chhabra" userId="598e0514-bef3-4e71-b6aa-f2edd6441cff" providerId="ADAL" clId="{E1032901-1DA4-4941-B011-F516E50845DD}" dt="2023-02-12T05:56:09.339" v="559"/>
          <ac:inkMkLst>
            <pc:docMk/>
            <pc:sldMk cId="0" sldId="271"/>
            <ac:inkMk id="169" creationId="{1439AF74-E041-EC25-BB1D-FDD1F7A4B195}"/>
          </ac:inkMkLst>
        </pc:inkChg>
        <pc:inkChg chg="add mod">
          <ac:chgData name="Aniket Chhabra" userId="598e0514-bef3-4e71-b6aa-f2edd6441cff" providerId="ADAL" clId="{E1032901-1DA4-4941-B011-F516E50845DD}" dt="2023-02-12T05:56:09.339" v="559"/>
          <ac:inkMkLst>
            <pc:docMk/>
            <pc:sldMk cId="0" sldId="271"/>
            <ac:inkMk id="170" creationId="{A0C841C4-A7EC-BDE4-E578-088E025E0922}"/>
          </ac:inkMkLst>
        </pc:inkChg>
        <pc:inkChg chg="add mod">
          <ac:chgData name="Aniket Chhabra" userId="598e0514-bef3-4e71-b6aa-f2edd6441cff" providerId="ADAL" clId="{E1032901-1DA4-4941-B011-F516E50845DD}" dt="2023-02-12T05:56:09.339" v="559"/>
          <ac:inkMkLst>
            <pc:docMk/>
            <pc:sldMk cId="0" sldId="271"/>
            <ac:inkMk id="171" creationId="{96CED147-FB0A-DF85-F71F-A458771CFF85}"/>
          </ac:inkMkLst>
        </pc:inkChg>
        <pc:inkChg chg="add mod">
          <ac:chgData name="Aniket Chhabra" userId="598e0514-bef3-4e71-b6aa-f2edd6441cff" providerId="ADAL" clId="{E1032901-1DA4-4941-B011-F516E50845DD}" dt="2023-02-12T05:56:10.960" v="564"/>
          <ac:inkMkLst>
            <pc:docMk/>
            <pc:sldMk cId="0" sldId="271"/>
            <ac:inkMk id="172" creationId="{6784A18C-0BCF-0834-7FAF-134F66B5CC52}"/>
          </ac:inkMkLst>
        </pc:inkChg>
        <pc:inkChg chg="add mod">
          <ac:chgData name="Aniket Chhabra" userId="598e0514-bef3-4e71-b6aa-f2edd6441cff" providerId="ADAL" clId="{E1032901-1DA4-4941-B011-F516E50845DD}" dt="2023-02-12T05:56:10.960" v="564"/>
          <ac:inkMkLst>
            <pc:docMk/>
            <pc:sldMk cId="0" sldId="271"/>
            <ac:inkMk id="175" creationId="{5F2362B2-AB67-9498-45F5-0B0F20132862}"/>
          </ac:inkMkLst>
        </pc:inkChg>
        <pc:inkChg chg="add mod">
          <ac:chgData name="Aniket Chhabra" userId="598e0514-bef3-4e71-b6aa-f2edd6441cff" providerId="ADAL" clId="{E1032901-1DA4-4941-B011-F516E50845DD}" dt="2023-02-12T05:56:10.960" v="564"/>
          <ac:inkMkLst>
            <pc:docMk/>
            <pc:sldMk cId="0" sldId="271"/>
            <ac:inkMk id="176" creationId="{FDBFC02B-C870-967B-9976-99FA82174D5D}"/>
          </ac:inkMkLst>
        </pc:inkChg>
        <pc:inkChg chg="add mod">
          <ac:chgData name="Aniket Chhabra" userId="598e0514-bef3-4e71-b6aa-f2edd6441cff" providerId="ADAL" clId="{E1032901-1DA4-4941-B011-F516E50845DD}" dt="2023-02-12T05:56:10.960" v="564"/>
          <ac:inkMkLst>
            <pc:docMk/>
            <pc:sldMk cId="0" sldId="271"/>
            <ac:inkMk id="177" creationId="{47D64E2E-8B0D-B0B4-25DE-1820DDC87678}"/>
          </ac:inkMkLst>
        </pc:inkChg>
        <pc:inkChg chg="add mod">
          <ac:chgData name="Aniket Chhabra" userId="598e0514-bef3-4e71-b6aa-f2edd6441cff" providerId="ADAL" clId="{E1032901-1DA4-4941-B011-F516E50845DD}" dt="2023-02-12T05:56:10.960" v="564"/>
          <ac:inkMkLst>
            <pc:docMk/>
            <pc:sldMk cId="0" sldId="271"/>
            <ac:inkMk id="178" creationId="{0349131B-99CF-E0A1-41B5-11494D530A26}"/>
          </ac:inkMkLst>
        </pc:inkChg>
        <pc:inkChg chg="add">
          <ac:chgData name="Aniket Chhabra" userId="598e0514-bef3-4e71-b6aa-f2edd6441cff" providerId="ADAL" clId="{E1032901-1DA4-4941-B011-F516E50845DD}" dt="2023-02-12T05:56:11.186" v="565" actId="9405"/>
          <ac:inkMkLst>
            <pc:docMk/>
            <pc:sldMk cId="0" sldId="271"/>
            <ac:inkMk id="180" creationId="{357CB51C-1E2B-1629-8EA9-DC3CB66EBA0C}"/>
          </ac:inkMkLst>
        </pc:inkChg>
        <pc:inkChg chg="add mod">
          <ac:chgData name="Aniket Chhabra" userId="598e0514-bef3-4e71-b6aa-f2edd6441cff" providerId="ADAL" clId="{E1032901-1DA4-4941-B011-F516E50845DD}" dt="2023-02-12T05:56:17.105" v="569"/>
          <ac:inkMkLst>
            <pc:docMk/>
            <pc:sldMk cId="0" sldId="271"/>
            <ac:inkMk id="181" creationId="{B12764D6-A553-ACF7-3C49-A145B095D484}"/>
          </ac:inkMkLst>
        </pc:inkChg>
        <pc:inkChg chg="add mod">
          <ac:chgData name="Aniket Chhabra" userId="598e0514-bef3-4e71-b6aa-f2edd6441cff" providerId="ADAL" clId="{E1032901-1DA4-4941-B011-F516E50845DD}" dt="2023-02-12T05:56:17.105" v="569"/>
          <ac:inkMkLst>
            <pc:docMk/>
            <pc:sldMk cId="0" sldId="271"/>
            <ac:inkMk id="182" creationId="{B03562D9-93D1-40DB-92B5-12BC52F4CB9C}"/>
          </ac:inkMkLst>
        </pc:inkChg>
        <pc:inkChg chg="add mod">
          <ac:chgData name="Aniket Chhabra" userId="598e0514-bef3-4e71-b6aa-f2edd6441cff" providerId="ADAL" clId="{E1032901-1DA4-4941-B011-F516E50845DD}" dt="2023-02-12T05:56:17.105" v="569"/>
          <ac:inkMkLst>
            <pc:docMk/>
            <pc:sldMk cId="0" sldId="271"/>
            <ac:inkMk id="183" creationId="{AA34963A-EF80-E317-1CF0-995F50EC3FFC}"/>
          </ac:inkMkLst>
        </pc:inkChg>
        <pc:inkChg chg="add mod">
          <ac:chgData name="Aniket Chhabra" userId="598e0514-bef3-4e71-b6aa-f2edd6441cff" providerId="ADAL" clId="{E1032901-1DA4-4941-B011-F516E50845DD}" dt="2023-02-12T05:56:32.462" v="579"/>
          <ac:inkMkLst>
            <pc:docMk/>
            <pc:sldMk cId="0" sldId="271"/>
            <ac:inkMk id="185" creationId="{B8757BC3-1F46-87C6-1B49-B40886F69686}"/>
          </ac:inkMkLst>
        </pc:inkChg>
        <pc:inkChg chg="add mod">
          <ac:chgData name="Aniket Chhabra" userId="598e0514-bef3-4e71-b6aa-f2edd6441cff" providerId="ADAL" clId="{E1032901-1DA4-4941-B011-F516E50845DD}" dt="2023-02-12T05:56:32.462" v="579"/>
          <ac:inkMkLst>
            <pc:docMk/>
            <pc:sldMk cId="0" sldId="271"/>
            <ac:inkMk id="186" creationId="{2248DBF5-D7D8-AF17-8CF9-11A6291666AE}"/>
          </ac:inkMkLst>
        </pc:inkChg>
        <pc:inkChg chg="add mod">
          <ac:chgData name="Aniket Chhabra" userId="598e0514-bef3-4e71-b6aa-f2edd6441cff" providerId="ADAL" clId="{E1032901-1DA4-4941-B011-F516E50845DD}" dt="2023-02-12T05:56:32.462" v="579"/>
          <ac:inkMkLst>
            <pc:docMk/>
            <pc:sldMk cId="0" sldId="271"/>
            <ac:inkMk id="188" creationId="{1F0FCBE3-77EC-DEF4-33C0-2C5C6BD1F5F9}"/>
          </ac:inkMkLst>
        </pc:inkChg>
        <pc:inkChg chg="add mod">
          <ac:chgData name="Aniket Chhabra" userId="598e0514-bef3-4e71-b6aa-f2edd6441cff" providerId="ADAL" clId="{E1032901-1DA4-4941-B011-F516E50845DD}" dt="2023-02-12T05:56:32.462" v="579"/>
          <ac:inkMkLst>
            <pc:docMk/>
            <pc:sldMk cId="0" sldId="271"/>
            <ac:inkMk id="189" creationId="{A25F87E3-37FD-AF8B-E2FD-EEBB6597859C}"/>
          </ac:inkMkLst>
        </pc:inkChg>
        <pc:inkChg chg="add mod">
          <ac:chgData name="Aniket Chhabra" userId="598e0514-bef3-4e71-b6aa-f2edd6441cff" providerId="ADAL" clId="{E1032901-1DA4-4941-B011-F516E50845DD}" dt="2023-02-12T05:56:32.462" v="579"/>
          <ac:inkMkLst>
            <pc:docMk/>
            <pc:sldMk cId="0" sldId="271"/>
            <ac:inkMk id="190" creationId="{F9ABA7A3-FFDB-6C80-DE65-3A01C409CA6A}"/>
          </ac:inkMkLst>
        </pc:inkChg>
        <pc:inkChg chg="add mod">
          <ac:chgData name="Aniket Chhabra" userId="598e0514-bef3-4e71-b6aa-f2edd6441cff" providerId="ADAL" clId="{E1032901-1DA4-4941-B011-F516E50845DD}" dt="2023-02-12T05:56:32.462" v="579"/>
          <ac:inkMkLst>
            <pc:docMk/>
            <pc:sldMk cId="0" sldId="271"/>
            <ac:inkMk id="191" creationId="{E332C323-D063-D7A5-23D1-11D9A6028420}"/>
          </ac:inkMkLst>
        </pc:inkChg>
        <pc:inkChg chg="add mod">
          <ac:chgData name="Aniket Chhabra" userId="598e0514-bef3-4e71-b6aa-f2edd6441cff" providerId="ADAL" clId="{E1032901-1DA4-4941-B011-F516E50845DD}" dt="2023-02-12T05:56:32.462" v="579"/>
          <ac:inkMkLst>
            <pc:docMk/>
            <pc:sldMk cId="0" sldId="271"/>
            <ac:inkMk id="193" creationId="{3BB39D2F-EF95-259D-AA2D-87543AECA6C7}"/>
          </ac:inkMkLst>
        </pc:inkChg>
        <pc:inkChg chg="add mod">
          <ac:chgData name="Aniket Chhabra" userId="598e0514-bef3-4e71-b6aa-f2edd6441cff" providerId="ADAL" clId="{E1032901-1DA4-4941-B011-F516E50845DD}" dt="2023-02-12T05:56:45.982" v="587"/>
          <ac:inkMkLst>
            <pc:docMk/>
            <pc:sldMk cId="0" sldId="271"/>
            <ac:inkMk id="195" creationId="{A07A2381-04F2-6BCD-140B-62C18D8103A6}"/>
          </ac:inkMkLst>
        </pc:inkChg>
        <pc:inkChg chg="add mod">
          <ac:chgData name="Aniket Chhabra" userId="598e0514-bef3-4e71-b6aa-f2edd6441cff" providerId="ADAL" clId="{E1032901-1DA4-4941-B011-F516E50845DD}" dt="2023-02-12T05:56:45.982" v="587"/>
          <ac:inkMkLst>
            <pc:docMk/>
            <pc:sldMk cId="0" sldId="271"/>
            <ac:inkMk id="196" creationId="{47C9A8BD-B3DF-2BCB-E2A5-77D56305EB13}"/>
          </ac:inkMkLst>
        </pc:inkChg>
        <pc:inkChg chg="add mod">
          <ac:chgData name="Aniket Chhabra" userId="598e0514-bef3-4e71-b6aa-f2edd6441cff" providerId="ADAL" clId="{E1032901-1DA4-4941-B011-F516E50845DD}" dt="2023-02-12T05:56:45.982" v="587"/>
          <ac:inkMkLst>
            <pc:docMk/>
            <pc:sldMk cId="0" sldId="271"/>
            <ac:inkMk id="198" creationId="{F9355B25-3981-43A1-4E47-2A6E6380F0F3}"/>
          </ac:inkMkLst>
        </pc:inkChg>
        <pc:inkChg chg="add mod">
          <ac:chgData name="Aniket Chhabra" userId="598e0514-bef3-4e71-b6aa-f2edd6441cff" providerId="ADAL" clId="{E1032901-1DA4-4941-B011-F516E50845DD}" dt="2023-02-12T05:56:45.982" v="587"/>
          <ac:inkMkLst>
            <pc:docMk/>
            <pc:sldMk cId="0" sldId="271"/>
            <ac:inkMk id="199" creationId="{AC3B4882-76D7-E0A3-A0A9-412B3A4CFE24}"/>
          </ac:inkMkLst>
        </pc:inkChg>
        <pc:inkChg chg="add mod">
          <ac:chgData name="Aniket Chhabra" userId="598e0514-bef3-4e71-b6aa-f2edd6441cff" providerId="ADAL" clId="{E1032901-1DA4-4941-B011-F516E50845DD}" dt="2023-02-12T05:56:45.982" v="587"/>
          <ac:inkMkLst>
            <pc:docMk/>
            <pc:sldMk cId="0" sldId="271"/>
            <ac:inkMk id="201" creationId="{16761D32-8A68-D384-3AEF-8EF225A5D428}"/>
          </ac:inkMkLst>
        </pc:inkChg>
        <pc:inkChg chg="add mod">
          <ac:chgData name="Aniket Chhabra" userId="598e0514-bef3-4e71-b6aa-f2edd6441cff" providerId="ADAL" clId="{E1032901-1DA4-4941-B011-F516E50845DD}" dt="2023-02-12T05:56:49.879" v="590"/>
          <ac:inkMkLst>
            <pc:docMk/>
            <pc:sldMk cId="0" sldId="271"/>
            <ac:inkMk id="203" creationId="{5A73CC63-770B-774A-C642-C22DFFC2DFB3}"/>
          </ac:inkMkLst>
        </pc:inkChg>
        <pc:inkChg chg="add mod">
          <ac:chgData name="Aniket Chhabra" userId="598e0514-bef3-4e71-b6aa-f2edd6441cff" providerId="ADAL" clId="{E1032901-1DA4-4941-B011-F516E50845DD}" dt="2023-02-12T05:56:49.879" v="590"/>
          <ac:inkMkLst>
            <pc:docMk/>
            <pc:sldMk cId="0" sldId="271"/>
            <ac:inkMk id="204" creationId="{EDBE41DD-85C0-A7FD-B1A3-2256D79DC3B8}"/>
          </ac:inkMkLst>
        </pc:inkChg>
        <pc:inkChg chg="add mod">
          <ac:chgData name="Aniket Chhabra" userId="598e0514-bef3-4e71-b6aa-f2edd6441cff" providerId="ADAL" clId="{E1032901-1DA4-4941-B011-F516E50845DD}" dt="2023-02-12T05:57:12.647" v="598"/>
          <ac:inkMkLst>
            <pc:docMk/>
            <pc:sldMk cId="0" sldId="271"/>
            <ac:inkMk id="206" creationId="{734F900C-B46B-8B35-5606-633309957F5D}"/>
          </ac:inkMkLst>
        </pc:inkChg>
        <pc:inkChg chg="add mod">
          <ac:chgData name="Aniket Chhabra" userId="598e0514-bef3-4e71-b6aa-f2edd6441cff" providerId="ADAL" clId="{E1032901-1DA4-4941-B011-F516E50845DD}" dt="2023-02-12T05:57:12.647" v="598"/>
          <ac:inkMkLst>
            <pc:docMk/>
            <pc:sldMk cId="0" sldId="271"/>
            <ac:inkMk id="207" creationId="{65A14D9A-6E23-0D7C-DD7E-05E3B7CB3CF3}"/>
          </ac:inkMkLst>
        </pc:inkChg>
        <pc:inkChg chg="add mod">
          <ac:chgData name="Aniket Chhabra" userId="598e0514-bef3-4e71-b6aa-f2edd6441cff" providerId="ADAL" clId="{E1032901-1DA4-4941-B011-F516E50845DD}" dt="2023-02-12T05:57:12.647" v="598"/>
          <ac:inkMkLst>
            <pc:docMk/>
            <pc:sldMk cId="0" sldId="271"/>
            <ac:inkMk id="208" creationId="{84E32669-D757-A3D9-89C8-9EF645A70C20}"/>
          </ac:inkMkLst>
        </pc:inkChg>
        <pc:inkChg chg="add mod">
          <ac:chgData name="Aniket Chhabra" userId="598e0514-bef3-4e71-b6aa-f2edd6441cff" providerId="ADAL" clId="{E1032901-1DA4-4941-B011-F516E50845DD}" dt="2023-02-12T05:57:12.647" v="598"/>
          <ac:inkMkLst>
            <pc:docMk/>
            <pc:sldMk cId="0" sldId="271"/>
            <ac:inkMk id="209" creationId="{458CFF46-69B7-1909-76F4-82BF2E7AC72A}"/>
          </ac:inkMkLst>
        </pc:inkChg>
        <pc:inkChg chg="add mod">
          <ac:chgData name="Aniket Chhabra" userId="598e0514-bef3-4e71-b6aa-f2edd6441cff" providerId="ADAL" clId="{E1032901-1DA4-4941-B011-F516E50845DD}" dt="2023-02-12T05:57:12.647" v="598"/>
          <ac:inkMkLst>
            <pc:docMk/>
            <pc:sldMk cId="0" sldId="271"/>
            <ac:inkMk id="210" creationId="{91E33701-EBC9-AB3C-9BF6-EA897CCF5CF4}"/>
          </ac:inkMkLst>
        </pc:inkChg>
        <pc:inkChg chg="add">
          <ac:chgData name="Aniket Chhabra" userId="598e0514-bef3-4e71-b6aa-f2edd6441cff" providerId="ADAL" clId="{E1032901-1DA4-4941-B011-F516E50845DD}" dt="2023-02-12T05:57:11.525" v="596" actId="9405"/>
          <ac:inkMkLst>
            <pc:docMk/>
            <pc:sldMk cId="0" sldId="271"/>
            <ac:inkMk id="211" creationId="{F4AFD1A5-2047-B0FC-9087-24F4F1FF41FA}"/>
          </ac:inkMkLst>
        </pc:inkChg>
        <pc:inkChg chg="add">
          <ac:chgData name="Aniket Chhabra" userId="598e0514-bef3-4e71-b6aa-f2edd6441cff" providerId="ADAL" clId="{E1032901-1DA4-4941-B011-F516E50845DD}" dt="2023-02-12T05:57:11.716" v="597" actId="9405"/>
          <ac:inkMkLst>
            <pc:docMk/>
            <pc:sldMk cId="0" sldId="271"/>
            <ac:inkMk id="212" creationId="{D0F8C1E5-5385-9F48-3849-5EFCED223D03}"/>
          </ac:inkMkLst>
        </pc:inkChg>
      </pc:sldChg>
      <pc:sldChg chg="addSp modSp mod">
        <pc:chgData name="Aniket Chhabra" userId="598e0514-bef3-4e71-b6aa-f2edd6441cff" providerId="ADAL" clId="{E1032901-1DA4-4941-B011-F516E50845DD}" dt="2023-02-12T05:58:01.755" v="626" actId="9405"/>
        <pc:sldMkLst>
          <pc:docMk/>
          <pc:sldMk cId="0" sldId="272"/>
        </pc:sldMkLst>
        <pc:grpChg chg="mod">
          <ac:chgData name="Aniket Chhabra" userId="598e0514-bef3-4e71-b6aa-f2edd6441cff" providerId="ADAL" clId="{E1032901-1DA4-4941-B011-F516E50845DD}" dt="2023-02-12T05:57:38.795" v="611"/>
          <ac:grpSpMkLst>
            <pc:docMk/>
            <pc:sldMk cId="0" sldId="272"/>
            <ac:grpSpMk id="14" creationId="{71F0A1C9-2F89-8572-A164-D437CADB907B}"/>
          </ac:grpSpMkLst>
        </pc:grpChg>
        <pc:grpChg chg="mod">
          <ac:chgData name="Aniket Chhabra" userId="598e0514-bef3-4e71-b6aa-f2edd6441cff" providerId="ADAL" clId="{E1032901-1DA4-4941-B011-F516E50845DD}" dt="2023-02-12T05:57:48.349" v="617"/>
          <ac:grpSpMkLst>
            <pc:docMk/>
            <pc:sldMk cId="0" sldId="272"/>
            <ac:grpSpMk id="20" creationId="{DFAA7FF6-6B66-FA26-3351-2FA7FB7DC939}"/>
          </ac:grpSpMkLst>
        </pc:grpChg>
        <pc:grpChg chg="mod">
          <ac:chgData name="Aniket Chhabra" userId="598e0514-bef3-4e71-b6aa-f2edd6441cff" providerId="ADAL" clId="{E1032901-1DA4-4941-B011-F516E50845DD}" dt="2023-02-12T05:57:51.162" v="621"/>
          <ac:grpSpMkLst>
            <pc:docMk/>
            <pc:sldMk cId="0" sldId="272"/>
            <ac:grpSpMk id="24" creationId="{69E34156-9C4E-1B16-1687-53388EA08291}"/>
          </ac:grpSpMkLst>
        </pc:grpChg>
        <pc:inkChg chg="add">
          <ac:chgData name="Aniket Chhabra" userId="598e0514-bef3-4e71-b6aa-f2edd6441cff" providerId="ADAL" clId="{E1032901-1DA4-4941-B011-F516E50845DD}" dt="2023-02-12T05:57:32.232" v="599" actId="9405"/>
          <ac:inkMkLst>
            <pc:docMk/>
            <pc:sldMk cId="0" sldId="272"/>
            <ac:inkMk id="2" creationId="{D650193C-0931-5579-C6B6-A74B0974524E}"/>
          </ac:inkMkLst>
        </pc:inkChg>
        <pc:inkChg chg="add mod">
          <ac:chgData name="Aniket Chhabra" userId="598e0514-bef3-4e71-b6aa-f2edd6441cff" providerId="ADAL" clId="{E1032901-1DA4-4941-B011-F516E50845DD}" dt="2023-02-12T05:57:38.795" v="611"/>
          <ac:inkMkLst>
            <pc:docMk/>
            <pc:sldMk cId="0" sldId="272"/>
            <ac:inkMk id="3" creationId="{D39DD864-A8B9-FEDA-3273-258B17B0310C}"/>
          </ac:inkMkLst>
        </pc:inkChg>
        <pc:inkChg chg="add mod">
          <ac:chgData name="Aniket Chhabra" userId="598e0514-bef3-4e71-b6aa-f2edd6441cff" providerId="ADAL" clId="{E1032901-1DA4-4941-B011-F516E50845DD}" dt="2023-02-12T05:57:38.795" v="611"/>
          <ac:inkMkLst>
            <pc:docMk/>
            <pc:sldMk cId="0" sldId="272"/>
            <ac:inkMk id="4" creationId="{42FC7C3F-F427-3DDA-5DF9-ECF288EA4294}"/>
          </ac:inkMkLst>
        </pc:inkChg>
        <pc:inkChg chg="add mod">
          <ac:chgData name="Aniket Chhabra" userId="598e0514-bef3-4e71-b6aa-f2edd6441cff" providerId="ADAL" clId="{E1032901-1DA4-4941-B011-F516E50845DD}" dt="2023-02-12T05:57:38.795" v="611"/>
          <ac:inkMkLst>
            <pc:docMk/>
            <pc:sldMk cId="0" sldId="272"/>
            <ac:inkMk id="5" creationId="{D27C5E33-938B-2DF9-E18E-BDBB84D76440}"/>
          </ac:inkMkLst>
        </pc:inkChg>
        <pc:inkChg chg="add mod">
          <ac:chgData name="Aniket Chhabra" userId="598e0514-bef3-4e71-b6aa-f2edd6441cff" providerId="ADAL" clId="{E1032901-1DA4-4941-B011-F516E50845DD}" dt="2023-02-12T05:57:38.795" v="611"/>
          <ac:inkMkLst>
            <pc:docMk/>
            <pc:sldMk cId="0" sldId="272"/>
            <ac:inkMk id="6" creationId="{6D1B3C31-EA75-F0BE-EB49-9969941F4913}"/>
          </ac:inkMkLst>
        </pc:inkChg>
        <pc:inkChg chg="add mod">
          <ac:chgData name="Aniket Chhabra" userId="598e0514-bef3-4e71-b6aa-f2edd6441cff" providerId="ADAL" clId="{E1032901-1DA4-4941-B011-F516E50845DD}" dt="2023-02-12T05:57:38.795" v="611"/>
          <ac:inkMkLst>
            <pc:docMk/>
            <pc:sldMk cId="0" sldId="272"/>
            <ac:inkMk id="7" creationId="{4DCAFFBD-80C8-1725-C90C-36BE8141D924}"/>
          </ac:inkMkLst>
        </pc:inkChg>
        <pc:inkChg chg="add mod">
          <ac:chgData name="Aniket Chhabra" userId="598e0514-bef3-4e71-b6aa-f2edd6441cff" providerId="ADAL" clId="{E1032901-1DA4-4941-B011-F516E50845DD}" dt="2023-02-12T05:57:38.795" v="611"/>
          <ac:inkMkLst>
            <pc:docMk/>
            <pc:sldMk cId="0" sldId="272"/>
            <ac:inkMk id="8" creationId="{4907ADE3-404D-1789-6C98-F2E24C7F0F92}"/>
          </ac:inkMkLst>
        </pc:inkChg>
        <pc:inkChg chg="add mod">
          <ac:chgData name="Aniket Chhabra" userId="598e0514-bef3-4e71-b6aa-f2edd6441cff" providerId="ADAL" clId="{E1032901-1DA4-4941-B011-F516E50845DD}" dt="2023-02-12T05:57:38.795" v="611"/>
          <ac:inkMkLst>
            <pc:docMk/>
            <pc:sldMk cId="0" sldId="272"/>
            <ac:inkMk id="9" creationId="{18D47C79-0D3B-06FB-8E52-B0C55C8CB183}"/>
          </ac:inkMkLst>
        </pc:inkChg>
        <pc:inkChg chg="add mod">
          <ac:chgData name="Aniket Chhabra" userId="598e0514-bef3-4e71-b6aa-f2edd6441cff" providerId="ADAL" clId="{E1032901-1DA4-4941-B011-F516E50845DD}" dt="2023-02-12T05:57:38.795" v="611"/>
          <ac:inkMkLst>
            <pc:docMk/>
            <pc:sldMk cId="0" sldId="272"/>
            <ac:inkMk id="10" creationId="{7024DCD6-5BF1-9C2E-A8D2-6AE8794FAD94}"/>
          </ac:inkMkLst>
        </pc:inkChg>
        <pc:inkChg chg="add mod">
          <ac:chgData name="Aniket Chhabra" userId="598e0514-bef3-4e71-b6aa-f2edd6441cff" providerId="ADAL" clId="{E1032901-1DA4-4941-B011-F516E50845DD}" dt="2023-02-12T05:57:38.795" v="611"/>
          <ac:inkMkLst>
            <pc:docMk/>
            <pc:sldMk cId="0" sldId="272"/>
            <ac:inkMk id="11" creationId="{8CAFA502-2E43-3D34-5FE1-4AE86D6EBF62}"/>
          </ac:inkMkLst>
        </pc:inkChg>
        <pc:inkChg chg="add mod">
          <ac:chgData name="Aniket Chhabra" userId="598e0514-bef3-4e71-b6aa-f2edd6441cff" providerId="ADAL" clId="{E1032901-1DA4-4941-B011-F516E50845DD}" dt="2023-02-12T05:57:38.795" v="611"/>
          <ac:inkMkLst>
            <pc:docMk/>
            <pc:sldMk cId="0" sldId="272"/>
            <ac:inkMk id="12" creationId="{8F5DEA59-BA65-447B-686F-11C004E0A6DC}"/>
          </ac:inkMkLst>
        </pc:inkChg>
        <pc:inkChg chg="add mod">
          <ac:chgData name="Aniket Chhabra" userId="598e0514-bef3-4e71-b6aa-f2edd6441cff" providerId="ADAL" clId="{E1032901-1DA4-4941-B011-F516E50845DD}" dt="2023-02-12T05:57:38.795" v="611"/>
          <ac:inkMkLst>
            <pc:docMk/>
            <pc:sldMk cId="0" sldId="272"/>
            <ac:inkMk id="13" creationId="{65BB334B-AAF2-F9A8-86BA-588A6072FB59}"/>
          </ac:inkMkLst>
        </pc:inkChg>
        <pc:inkChg chg="add">
          <ac:chgData name="Aniket Chhabra" userId="598e0514-bef3-4e71-b6aa-f2edd6441cff" providerId="ADAL" clId="{E1032901-1DA4-4941-B011-F516E50845DD}" dt="2023-02-12T05:57:40.979" v="612" actId="9405"/>
          <ac:inkMkLst>
            <pc:docMk/>
            <pc:sldMk cId="0" sldId="272"/>
            <ac:inkMk id="15" creationId="{F100A3B7-716B-9E43-3F7F-53FB21C2866F}"/>
          </ac:inkMkLst>
        </pc:inkChg>
        <pc:inkChg chg="add mod">
          <ac:chgData name="Aniket Chhabra" userId="598e0514-bef3-4e71-b6aa-f2edd6441cff" providerId="ADAL" clId="{E1032901-1DA4-4941-B011-F516E50845DD}" dt="2023-02-12T05:57:48.349" v="617"/>
          <ac:inkMkLst>
            <pc:docMk/>
            <pc:sldMk cId="0" sldId="272"/>
            <ac:inkMk id="16" creationId="{D21AFDB9-50DF-81CA-3BD2-7E80A80E0B4A}"/>
          </ac:inkMkLst>
        </pc:inkChg>
        <pc:inkChg chg="add mod">
          <ac:chgData name="Aniket Chhabra" userId="598e0514-bef3-4e71-b6aa-f2edd6441cff" providerId="ADAL" clId="{E1032901-1DA4-4941-B011-F516E50845DD}" dt="2023-02-12T05:57:48.349" v="617"/>
          <ac:inkMkLst>
            <pc:docMk/>
            <pc:sldMk cId="0" sldId="272"/>
            <ac:inkMk id="17" creationId="{79D47545-391F-19A0-2CA5-A3F99C399854}"/>
          </ac:inkMkLst>
        </pc:inkChg>
        <pc:inkChg chg="add mod">
          <ac:chgData name="Aniket Chhabra" userId="598e0514-bef3-4e71-b6aa-f2edd6441cff" providerId="ADAL" clId="{E1032901-1DA4-4941-B011-F516E50845DD}" dt="2023-02-12T05:57:48.349" v="617"/>
          <ac:inkMkLst>
            <pc:docMk/>
            <pc:sldMk cId="0" sldId="272"/>
            <ac:inkMk id="18" creationId="{530FC421-BC26-7F82-9822-AECC5BC386C0}"/>
          </ac:inkMkLst>
        </pc:inkChg>
        <pc:inkChg chg="add mod">
          <ac:chgData name="Aniket Chhabra" userId="598e0514-bef3-4e71-b6aa-f2edd6441cff" providerId="ADAL" clId="{E1032901-1DA4-4941-B011-F516E50845DD}" dt="2023-02-12T05:57:48.349" v="617"/>
          <ac:inkMkLst>
            <pc:docMk/>
            <pc:sldMk cId="0" sldId="272"/>
            <ac:inkMk id="19" creationId="{3E7615C7-BBD8-19AA-0E8F-8776FA68C2E4}"/>
          </ac:inkMkLst>
        </pc:inkChg>
        <pc:inkChg chg="add mod">
          <ac:chgData name="Aniket Chhabra" userId="598e0514-bef3-4e71-b6aa-f2edd6441cff" providerId="ADAL" clId="{E1032901-1DA4-4941-B011-F516E50845DD}" dt="2023-02-12T05:57:51.162" v="621"/>
          <ac:inkMkLst>
            <pc:docMk/>
            <pc:sldMk cId="0" sldId="272"/>
            <ac:inkMk id="21" creationId="{DC726709-099C-2D03-8DB2-3BFE61CB97BF}"/>
          </ac:inkMkLst>
        </pc:inkChg>
        <pc:inkChg chg="add mod">
          <ac:chgData name="Aniket Chhabra" userId="598e0514-bef3-4e71-b6aa-f2edd6441cff" providerId="ADAL" clId="{E1032901-1DA4-4941-B011-F516E50845DD}" dt="2023-02-12T05:57:51.162" v="621"/>
          <ac:inkMkLst>
            <pc:docMk/>
            <pc:sldMk cId="0" sldId="272"/>
            <ac:inkMk id="22" creationId="{873CCFAF-11D4-1C24-6F43-53F57AFDFFFF}"/>
          </ac:inkMkLst>
        </pc:inkChg>
        <pc:inkChg chg="add mod">
          <ac:chgData name="Aniket Chhabra" userId="598e0514-bef3-4e71-b6aa-f2edd6441cff" providerId="ADAL" clId="{E1032901-1DA4-4941-B011-F516E50845DD}" dt="2023-02-12T05:57:51.162" v="621"/>
          <ac:inkMkLst>
            <pc:docMk/>
            <pc:sldMk cId="0" sldId="272"/>
            <ac:inkMk id="23" creationId="{43F394E3-6CF2-5BD1-51B0-6B02D42EAD98}"/>
          </ac:inkMkLst>
        </pc:inkChg>
        <pc:inkChg chg="add">
          <ac:chgData name="Aniket Chhabra" userId="598e0514-bef3-4e71-b6aa-f2edd6441cff" providerId="ADAL" clId="{E1032901-1DA4-4941-B011-F516E50845DD}" dt="2023-02-12T05:58:01.755" v="626" actId="9405"/>
          <ac:inkMkLst>
            <pc:docMk/>
            <pc:sldMk cId="0" sldId="272"/>
            <ac:inkMk id="25" creationId="{F94B26EF-90BE-9920-DE4D-FED9CEE51E72}"/>
          </ac:inkMkLst>
        </pc:inkChg>
      </pc:sldChg>
    </pc:docChg>
  </pc:docChgLst>
</pc:chgInfo>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16.757"/>
    </inkml:context>
    <inkml:brush xml:id="br0">
      <inkml:brushProperty name="width" value="0.1" units="cm"/>
      <inkml:brushProperty name="height" value="0.1" units="cm"/>
    </inkml:brush>
  </inkml:definitions>
  <inkml:trace contextRef="#ctx0" brushRef="#br0">173 86 1000 0 0,'0'-4'349'0'0,"0"0"0"0"0,0 1 0 0 0,-1-1 0 0 0,1 0 0 0 0,-1 1 0 0 0,0-1 0 0 0,0 1 0 0 0,-1-1 0 0 0,1 1 0 0 0,-1 0 0 0 0,0-1-1 0 0,1 1 1 0 0,-1 0 0 0 0,-4-4 0 0 0,4 4-265 0 0,-1 0 0 0 0,0 1-1 0 0,0-1 1 0 0,0 1-1 0 0,0 0 1 0 0,0 0 0 0 0,0 0-1 0 0,-1 0 1 0 0,1 1 0 0 0,-1-1-1 0 0,1 1 1 0 0,-1 0-1 0 0,0 0 1 0 0,1 0 0 0 0,-1 0-1 0 0,0 1 1 0 0,0-1 0 0 0,0 1-1 0 0,1 0 1 0 0,-1 0-1 0 0,-6 2 1 0 0,8-2-75 0 0,-1 1 0 0 0,1 0 0 0 0,0 0 0 0 0,0 0 0 0 0,0 0 0 0 0,0 0 0 0 0,0 0 0 0 0,0 0 0 0 0,0 1 0 0 0,1-1-1 0 0,-1 1 1 0 0,0-1 0 0 0,1 1 0 0 0,-1 0 0 0 0,1 0 0 0 0,0-1 0 0 0,-1 1 0 0 0,1 0 0 0 0,0 0 0 0 0,-1 4 0 0 0,-2 4 41 0 0,0 0 0 0 0,1 0 0 0 0,-1 12 0 0 0,2-16-21 0 0,-5 36 292 0 0,1-1 0 0 0,3 0-1 0 0,2 62 1 0 0,18 124 640 0 0,33 131 1487 0 0,139 514 0 0 0,-183-849-2343 0 0,2 10 164 0 0,1 0 0 0 0,2-1 0 0 0,18 37 0 0 0,-28-68-302 0 0,0 1 1 0 0,-1-1 0 0 0,1 1 0 0 0,0-1-1 0 0,0 0 1 0 0,0 1 0 0 0,0-1 0 0 0,0 0-1 0 0,0 0 1 0 0,1 0 0 0 0,-1 0 0 0 0,0 0-1 0 0,0 0 1 0 0,1 0 0 0 0,-1 0 0 0 0,1 0 0 0 0,-1-1-1 0 0,1 1 1 0 0,-1 0 0 0 0,1-1 0 0 0,-1 0-1 0 0,1 1 1 0 0,0-1 0 0 0,-1 0 0 0 0,1 0-1 0 0,0 0 1 0 0,-1 0 0 0 0,1 0 0 0 0,-1 0-1 0 0,1 0 1 0 0,0 0 0 0 0,-1-1 0 0 0,1 1-1 0 0,-1-1 1 0 0,1 1 0 0 0,-1-1 0 0 0,1 0 0 0 0,-1 1-1 0 0,1-1 1 0 0,1-1 0 0 0,6-4-534 0 0,1-1 0 0 0,-1 0 0 0 0,0 0 1 0 0,12-14-1 0 0,-15 15 252 0 0,114-121-6613 0 0,-89 91 3911 0 0</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15.627"/>
    </inkml:context>
    <inkml:brush xml:id="br0">
      <inkml:brushProperty name="width" value="0.1" units="cm"/>
      <inkml:brushProperty name="height" value="0.1" units="cm"/>
    </inkml:brush>
  </inkml:definitions>
  <inkml:trace contextRef="#ctx0" brushRef="#br0">83 6 892 0 0,'0'-6'4202'0'0,"-11"38"-2974"0"0,2 1 1 0 0,1 0 0 0 0,-5 43-1 0 0,12-71-1129 0 0,-34 342 1959 0 0,31-231-4001 0 0,3 0-3786 0 0,1-107 3640 0 0</inkml:trace>
</inkml:ink>
</file>

<file path=ppt/ink/ink1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3:25.752"/>
    </inkml:context>
    <inkml:brush xml:id="br0">
      <inkml:brushProperty name="width" value="0.1" units="cm"/>
      <inkml:brushProperty name="height" value="0.1" units="cm"/>
    </inkml:brush>
  </inkml:definitions>
  <inkml:trace contextRef="#ctx0" brushRef="#br0">44 138 2608 0 0,'-4'-15'2325'0'0,"-15"-61"6677"0"0,-1 29-9441 0 0</inkml:trace>
</inkml:ink>
</file>

<file path=ppt/ink/ink1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3:26.079"/>
    </inkml:context>
    <inkml:brush xml:id="br0">
      <inkml:brushProperty name="width" value="0.1" units="cm"/>
      <inkml:brushProperty name="height" value="0.1" units="cm"/>
    </inkml:brush>
  </inkml:definitions>
  <inkml:trace contextRef="#ctx0" brushRef="#br0">2 101 1340 0 0,'-1'32'5013'0'0,"0"-18"-3387"0"0,1 0 0 0 0,0 1 1 0 0,4 20-1 0 0,-3-30-1403 0 0,1 0-1 0 0,-1-1 1 0 0,1 1-1 0 0,0 0 1 0 0,0-1 0 0 0,0 1-1 0 0,0-1 1 0 0,1 0 0 0 0,0 0-1 0 0,0 0 1 0 0,0 0 0 0 0,0 0-1 0 0,8 6 1 0 0,-3-3 25 0 0,1-1 0 0 0,-1-1 1 0 0,13 7-1 0 0,-17-10-197 0 0,0 0 0 0 0,0 0 0 0 0,0-1 0 0 0,0 0 0 0 0,0 1 0 0 0,0-2 0 0 0,0 1 0 0 0,0 0 0 0 0,0-1 1 0 0,6 0-1 0 0,-9 0-48 0 0,0 0-1 0 0,0-1 1 0 0,0 1 0 0 0,0 0 0 0 0,0-1 0 0 0,0 1 0 0 0,-1-1 0 0 0,1 1 0 0 0,0-1 0 0 0,0 1 0 0 0,0-1-1 0 0,0 0 1 0 0,-1 1 0 0 0,1-1 0 0 0,0 0 0 0 0,-1 0 0 0 0,1 1 0 0 0,0-1 0 0 0,-1 0 0 0 0,1 0 0 0 0,-1 0-1 0 0,0 0 1 0 0,1 0 0 0 0,-1 0 0 0 0,0 0 0 0 0,1 0 0 0 0,-1 0 0 0 0,0 0 0 0 0,0 0 0 0 0,0 0 0 0 0,0 0-1 0 0,0 0 1 0 0,0 0 0 0 0,0 0 0 0 0,0 0 0 0 0,0 0 0 0 0,-1-1 0 0 0,0-4-166 0 0,0 0 0 0 0,0 0-1 0 0,-1-1 1 0 0,-2-7 0 0 0,-14-27-2506 0 0,-7-20-4907 0 0,21 46 3401 0 0</inkml:trace>
  <inkml:trace contextRef="#ctx0" brushRef="#br0" timeOffset="1">260 1 16 0 0,'6'15'1846'0'0,"0"0"0"0"0,-1 1 0 0 0,3 20 0 0 0,-2 5 720 0 0,1 44 0 0 0,-4-46-876 0 0,-3-38-1655 0 0,0 3 392 0 0,0-1 0 0 0,0 1 0 0 0,0-1 0 0 0,1 1 0 0 0,0-1 0 0 0,0 1 0 0 0,0-1 1 0 0,0 1-1 0 0,2 3 0 0 0,-2-6-6 0 0,22-7 431 0 0,-9-2-719 0 0,0 0 0 0 0,0 1 1 0 0,1 0-1 0 0,0 1 0 0 0,30-8 0 0 0,-43 14-223 0 0,-1 0 1 0 0,1-1-1 0 0,-1 1 0 0 0,1 0 1 0 0,-1 0-1 0 0,1 0 0 0 0,-1 0 1 0 0,1 1-1 0 0,-1-1 0 0 0,1 0 1 0 0,-1 0-1 0 0,1 1 0 0 0,-1-1 1 0 0,1 1-1 0 0,-1 0 0 0 0,0-1 1 0 0,1 1-1 0 0,-1 0 0 0 0,0 0 1 0 0,1 0-1 0 0,-1 0 0 0 0,0 0 1 0 0,0 0-1 0 0,0 0 0 0 0,0 0 1 0 0,0 0-1 0 0,0 0 0 0 0,0 1 1 0 0,0 1-1 0 0,1-1-636 0 0,-1 1 1 0 0,-1 0-1 0 0,1 0 0 0 0,0 0 1 0 0,-1-1-1 0 0,1 1 1 0 0,-1 0-1 0 0,0 0 0 0 0,0 0 1 0 0,0 0-1 0 0,0 0 0 0 0,-1 4 1 0 0</inkml:trace>
</inkml:ink>
</file>

<file path=ppt/ink/ink1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3:26.733"/>
    </inkml:context>
    <inkml:brush xml:id="br0">
      <inkml:brushProperty name="width" value="0.1" units="cm"/>
      <inkml:brushProperty name="height" value="0.1" units="cm"/>
    </inkml:brush>
  </inkml:definitions>
  <inkml:trace contextRef="#ctx0" brushRef="#br0">407 1 1500 0 0,'-36'113'9343'0'0,"-33"53"-5786"0"0,31-80-2308 0 0,-92 201 276 0 0,35-100-4744 0 0,92-181 2758 0 0,-16 27-1924 0 0,2-14-2369 0 0</inkml:trace>
</inkml:ink>
</file>

<file path=ppt/ink/ink1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3:27.078"/>
    </inkml:context>
    <inkml:brush xml:id="br0">
      <inkml:brushProperty name="width" value="0.1" units="cm"/>
      <inkml:brushProperty name="height" value="0.1" units="cm"/>
    </inkml:brush>
  </inkml:definitions>
  <inkml:trace contextRef="#ctx0" brushRef="#br0">33 0 2424 0 0,'-2'2'2078'0'0,"-2"4"-1389"0"0,0 1-1 0 0,1-1 1 0 0,-1 1-1 0 0,1 0 0 0 0,1 0 1 0 0,-1 0-1 0 0,1 0 0 0 0,1 1 1 0 0,-1-1-1 0 0,1 1 0 0 0,1-1 1 0 0,-1 9-1 0 0,1 1-49 0 0,0 0-1 0 0,1 0 0 0 0,1 0 1 0 0,6 24-1 0 0,-2-20-193 0 0,1 0 1 0 0,0 0-1 0 0,2 0 1 0 0,1-2-1 0 0,0 1 1 0 0,1-1 0 0 0,1 0-1 0 0,16 17 1 0 0,-21-26-238 0 0,1-1 1 0 0,1-1 0 0 0,0 1 0 0 0,0-1 0 0 0,0-1 0 0 0,1 0-1 0 0,0 0 1 0 0,0-1 0 0 0,1 0 0 0 0,0-1 0 0 0,0 0 0 0 0,0-1 0 0 0,1 0-1 0 0,-1-1 1 0 0,1 0 0 0 0,16 2 0 0 0,-19-5-111 0 0,-1 0 0 0 0,1-1-1 0 0,-1 0 1 0 0,1 0 0 0 0,-1 0 0 0 0,1-1 0 0 0,-1-1-1 0 0,0 1 1 0 0,0-1 0 0 0,0-1 0 0 0,14-7 0 0 0,-16 7-667 0 0,0-1 0 0 0,1 1 1 0 0,-2-1-1 0 0,1 0 0 0 0,9-11 0 0 0,-12 12-853 0 0,0-1-1 0 0,0 1 1 0 0,0-1-1 0 0,0 0 1 0 0,-1 0 0 0 0,0 1-1 0 0,0-2 1 0 0,2-7-1 0 0</inkml:trace>
</inkml:ink>
</file>

<file path=ppt/ink/ink1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42.323"/>
    </inkml:context>
    <inkml:brush xml:id="br0">
      <inkml:brushProperty name="width" value="0.1" units="cm"/>
      <inkml:brushProperty name="height" value="0.1" units="cm"/>
    </inkml:brush>
  </inkml:definitions>
  <inkml:trace contextRef="#ctx0" brushRef="#br0">2 60 836 0 0,'-1'-60'6343'0'0,"5"83"-4921"0"0,8 90 385 0 0,4 91-1245 0 0,-16-169-577 0 0,-1 52-1501 0 0,-2-29-2300 0 0,1-49 2176 0 0,-2-2 61 0 0</inkml:trace>
</inkml:ink>
</file>

<file path=ppt/ink/ink1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42.693"/>
    </inkml:context>
    <inkml:brush xml:id="br0">
      <inkml:brushProperty name="width" value="0.1" units="cm"/>
      <inkml:brushProperty name="height" value="0.1" units="cm"/>
    </inkml:brush>
  </inkml:definitions>
  <inkml:trace contextRef="#ctx0" brushRef="#br0">71 246 288 0 0,'-64'-40'7674'0'0,"63"40"-7641"0"0,1 0 0 0 0,0 0 0 0 0,-1-1 0 0 0,1 1 0 0 0,-1 0 0 0 0,1 0 0 0 0,0-1 0 0 0,-1 1 0 0 0,1 0 0 0 0,0-1 0 0 0,-1 1 0 0 0,1-1 0 0 0,0 1 0 0 0,0 0 0 0 0,0-1 0 0 0,-1 1 0 0 0,1-1 0 0 0,0 1 0 0 0,0-1 0 0 0,0 1 0 0 0,0 0 0 0 0,0-1 0 0 0,-1 1 0 0 0,1-1 0 0 0,0 1 0 0 0,0-1 0 0 0,0 1 0 0 0,0-1 0 0 0,1 1 0 0 0,-1-1 0 0 0,0 1 0 0 0,0-1 0 0 0,0 1 0 0 0,0 0 0 0 0,0-1 0 0 0,1 1 0 0 0,-1-1 0 0 0,0 1 0 0 0,0-1 0 0 0,0 1 0 0 0,1 0 0 0 0,-1-1 0 0 0,0 1 0 0 0,1 0 0 0 0,-1-1 0 0 0,0 1 0 0 0,1 0 0 0 0,-1 0 0 0 0,1-1 0 0 0,-1 1 0 0 0,0 0 0 0 0,1 0 0 0 0,-1-1 0 0 0,1 1 0 0 0,-1 0 0 0 0,1 0 0 0 0,-1 0 0 0 0,1 0 0 0 0,29-11 389 0 0,-30 11-397 0 0,102-24 988 0 0,110-10-1 0 0,-46 8-420 0 0,-156 25-584 0 0,101-19 1218 0 0,124-38 0 0 0,-206 51-1435 0 0,-6 2-2985 0 0,-23 5 3128 0 0,0 0 0 0 0,0 0 0 0 0,0 0-1 0 0,0 0 1 0 0,0 0 0 0 0,1 15-5421 0 0</inkml:trace>
</inkml:ink>
</file>

<file path=ppt/ink/ink1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43.634"/>
    </inkml:context>
    <inkml:brush xml:id="br0">
      <inkml:brushProperty name="width" value="0.1" units="cm"/>
      <inkml:brushProperty name="height" value="0.1" units="cm"/>
    </inkml:brush>
  </inkml:definitions>
  <inkml:trace contextRef="#ctx0" brushRef="#br0">153 23 284 0 0,'-10'-18'2070'0'0,"10"18"-2024"0"0,0-1 0 0 0,-1 1 1 0 0,1 0-1 0 0,0-1 0 0 0,-1 1 1 0 0,1 0-1 0 0,0 0 0 0 0,-1-1 1 0 0,1 1-1 0 0,0 0 0 0 0,-1 0 1 0 0,1 0-1 0 0,-1-1 0 0 0,1 1 0 0 0,0 0 1 0 0,-1 0-1 0 0,1 0 0 0 0,-1 0 1 0 0,1 0-1 0 0,-1 0 0 0 0,1 0 1 0 0,0 0-1 0 0,-1 0 0 0 0,-1 1-10 0 0,0 0 0 0 0,1 0 0 0 0,-1 1 0 0 0,0-1-1 0 0,1 1 1 0 0,0-1 0 0 0,-1 1 0 0 0,1-1 0 0 0,0 1-1 0 0,0 0 1 0 0,0 0 0 0 0,0 0 0 0 0,0-1 0 0 0,0 1 0 0 0,0 3-1 0 0,-8 17 214 0 0,1 1 0 0 0,2 0 0 0 0,0 0 0 0 0,-3 27 0 0 0,-5 97 394 0 0,12-124-558 0 0,-14 269 1789 0 0,28 393 0 0 0,4-481-1451 0 0,13 184 391 0 0,-21 0-112 0 0,-17-128-979 0 0,-74 443 0 0 0,79-677-188 0 0,3-17-196 0 0,0-1 1 0 0,-1 1 0 0 0,0-1 0 0 0,-4 11-1 0 0</inkml:trace>
</inkml:ink>
</file>

<file path=ppt/ink/ink1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44.126"/>
    </inkml:context>
    <inkml:brush xml:id="br0">
      <inkml:brushProperty name="width" value="0.1" units="cm"/>
      <inkml:brushProperty name="height" value="0.1" units="cm"/>
    </inkml:brush>
  </inkml:definitions>
  <inkml:trace contextRef="#ctx0" brushRef="#br0">229 0 452 0 0,'-3'1'650'0'0,"-3"2"-483"0"0,0 0 0 0 0,0 0 0 0 0,1 0-1 0 0,-1 1 1 0 0,1 0 0 0 0,0 0 0 0 0,0 0 0 0 0,0 1-1 0 0,0 0 1 0 0,1-1 0 0 0,0 2 0 0 0,0-1 0 0 0,0 0-1 0 0,0 1 1 0 0,-4 10 0 0 0,-6 14 398 0 0,-19 59 1 0 0,27-70-338 0 0,-18 62 283 0 0,3 1 1 0 0,4 1 0 0 0,4 1-1 0 0,3 0 1 0 0,5 1-1 0 0,9 168 1 0 0,24 101 460 0 0,3 45-278 0 0,-22 0 83 0 0,-28-32-411 0 0,-9-123-3956 0 0,18-194 327 0 0,4-30 1000 0 0</inkml:trace>
</inkml:ink>
</file>

<file path=ppt/ink/ink1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44.546"/>
    </inkml:context>
    <inkml:brush xml:id="br0">
      <inkml:brushProperty name="width" value="0.1" units="cm"/>
      <inkml:brushProperty name="height" value="0.1" units="cm"/>
    </inkml:brush>
  </inkml:definitions>
  <inkml:trace contextRef="#ctx0" brushRef="#br0">24 410 168 0 0,'-4'9'305'0'0,"0"0"1"0"0,1 0-1 0 0,0 0 1 0 0,0 0-1 0 0,1 0 1 0 0,1 1-1 0 0,-1-1 1 0 0,1 1-1 0 0,1-1 1 0 0,0 1-1 0 0,0 0 1 0 0,3 12-1 0 0,-1-9-21 0 0,2 0-1 0 0,0 1 1 0 0,0-1 0 0 0,1 0-1 0 0,1-1 1 0 0,0 0 0 0 0,14 21-1 0 0,1-5 139 0 0,2-1-1 0 0,0 0 1 0 0,2-2-1 0 0,1-1 0 0 0,52 38 1 0 0,-46-40-182 0 0,0-1-1 0 0,1-1 1 0 0,1-2 0 0 0,1-1-1 0 0,0-2 1 0 0,68 19 0 0 0,-83-29-193 0 0,0-1-1 0 0,0 0 1 0 0,0-2 0 0 0,1-1 0 0 0,-1 0 0 0 0,1-2-1 0 0,-1 0 1 0 0,0-1 0 0 0,0-1 0 0 0,0-1 0 0 0,0-1 0 0 0,0 0-1 0 0,-1-2 1 0 0,29-13 0 0 0,-17 2-21 0 0,-1-1 0 0 0,-1-1 0 0 0,0-2 0 0 0,-1 0 0 0 0,-2-2 0 0 0,0-2 0 0 0,-2 0 0 0 0,-1-1 0 0 0,35-53 0 0 0,-30 35 156 0 0,-2-2 1 0 0,-2 0-1 0 0,-3-1 1 0 0,-1-1-1 0 0,26-101 1 0 0,-37 101-151 0 0,-3-1-1 0 0,2-61 1 0 0,-5 53-1862 0 0,-3 57 1589 0 0,0-18-913 0 0,-6 8-3177 0 0,-1 5 1524 0 0</inkml:trace>
</inkml:ink>
</file>

<file path=ppt/ink/ink1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3:27.499"/>
    </inkml:context>
    <inkml:brush xml:id="br0">
      <inkml:brushProperty name="width" value="0.1" units="cm"/>
      <inkml:brushProperty name="height" value="0.1" units="cm"/>
    </inkml:brush>
  </inkml:definitions>
  <inkml:trace contextRef="#ctx0" brushRef="#br0">64 0 2072 0 0,'12'10'6063'0'0,"-11"-9"-5706"0"0,-1 0-1 0 0,1 1 1 0 0,3 22 2908 0 0,-11 29-1210 0 0,6-43-1161 0 0,-23 124 2063 0 0,-21 142-3153 0 0,41-226-2707 0 0,6-18-1912 0 0</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15.972"/>
    </inkml:context>
    <inkml:brush xml:id="br0">
      <inkml:brushProperty name="width" value="0.1" units="cm"/>
      <inkml:brushProperty name="height" value="0.1" units="cm"/>
    </inkml:brush>
  </inkml:definitions>
  <inkml:trace contextRef="#ctx0" brushRef="#br0">1 27 1556 0 0,'1'-4'487'0'0,"0"3"-211"0"0,0-1 0 0 0,-1 1 0 0 0,1-1 0 0 0,0 0 0 0 0,0 1 0 0 0,0 0 0 0 0,0-1 0 0 0,0 1-1 0 0,0-1 1 0 0,0 1 0 0 0,1 0 0 0 0,-1 0 0 0 0,0 0 0 0 0,1 0 0 0 0,2-2 0 0 0,-3 4-150 0 0,-1 0-1 0 0,1 1 1 0 0,-1-1-1 0 0,1 0 1 0 0,-1 1 0 0 0,1-1-1 0 0,-1 0 1 0 0,0 0-1 0 0,0 1 1 0 0,1-1 0 0 0,-1 1-1 0 0,0 1 1 0 0,0 212 3847 0 0,0 109-3085 0 0,0-269-851 0 0,-1-26-2231 0 0,-6 57-1 0 0</inkml:trace>
</inkml:ink>
</file>

<file path=ppt/ink/ink1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3:28.061"/>
    </inkml:context>
    <inkml:brush xml:id="br0">
      <inkml:brushProperty name="width" value="0.1" units="cm"/>
      <inkml:brushProperty name="height" value="0.1" units="cm"/>
    </inkml:brush>
  </inkml:definitions>
  <inkml:trace contextRef="#ctx0" brushRef="#br0">175 0 36 0 0,'-3'2'5935'0'0,"-6"2"-4996"0"0,0 1 0 0 0,0 0 0 0 0,1 0 0 0 0,-1 1 0 0 0,1 1 0 0 0,-12 11 0 0 0,1 1 724 0 0,-24 33 0 0 0,38-47-1444 0 0,1 1 0 0 0,0 0 0 0 0,1 0 0 0 0,-1 0 1 0 0,1 1-1 0 0,0-1 0 0 0,1 1 0 0 0,0-1 0 0 0,0 1 0 0 0,0 0 0 0 0,1 0 0 0 0,0 0 0 0 0,0 0 0 0 0,1 14 0 0 0,1-15-133 0 0,0 0 0 0 0,0-1 0 0 0,0 1 0 0 0,1-1 0 0 0,0 1 0 0 0,0-1-1 0 0,1 0 1 0 0,-1 0 0 0 0,1 0 0 0 0,0 0 0 0 0,1 0 0 0 0,-1-1 0 0 0,1 0 0 0 0,0 1-1 0 0,0-1 1 0 0,0 0 0 0 0,1-1 0 0 0,8 7 0 0 0,-6-6-70 0 0,0 0 0 0 0,0 0 1 0 0,0 0-1 0 0,0-1 0 0 0,1 0 0 0 0,-1 0 1 0 0,1-1-1 0 0,0 0 0 0 0,0 0 0 0 0,0-1 1 0 0,0 0-1 0 0,0-1 0 0 0,0 0 0 0 0,0 0 1 0 0,0 0-1 0 0,0-1 0 0 0,0 0 0 0 0,0-1 1 0 0,0 0-1 0 0,10-4 0 0 0,-8 2-27 0 0,0-1-1 0 0,-1 0 1 0 0,1 0 0 0 0,-1-1-1 0 0,0 0 1 0 0,-1-1-1 0 0,0 0 1 0 0,0 0-1 0 0,0-1 1 0 0,-1 0 0 0 0,0 0-1 0 0,-1-1 1 0 0,0 0-1 0 0,10-17 1 0 0,-12 19 15 0 0,0 0 1 0 0,-1-1-1 0 0,0 1 0 0 0,0-1 1 0 0,0 0-1 0 0,-1 1 0 0 0,0-1 1 0 0,-1 0-1 0 0,0 0 1 0 0,1-16-1 0 0,-3 24-3 0 0,1-1 1 0 0,0 1-1 0 0,0 0 1 0 0,0-1 0 0 0,0 1-1 0 0,0-1 1 0 0,0 1-1 0 0,-1 0 1 0 0,1-1-1 0 0,0 1 1 0 0,0 0-1 0 0,-1-1 1 0 0,1 1-1 0 0,0 0 1 0 0,0-1-1 0 0,-1 1 1 0 0,1 0-1 0 0,0 0 1 0 0,-1-1-1 0 0,1 1 1 0 0,0 0-1 0 0,-1 0 1 0 0,1 0-1 0 0,-1-1 1 0 0,1 1-1 0 0,0 0 1 0 0,-1 0-1 0 0,1 0 1 0 0,-1 0 0 0 0,1 0-1 0 0,0 0 1 0 0,-1 0-1 0 0,1 0 1 0 0,-1 0-1 0 0,1 0 1 0 0,0 0-1 0 0,-1 0 1 0 0,1 0-1 0 0,-1 0 1 0 0,1 0-1 0 0,0 1 1 0 0,-1-1-1 0 0,1 0 1 0 0,-1 0-1 0 0,1 0 1 0 0,0 1-1 0 0,-1-1 1 0 0,1 0-1 0 0,0 0 1 0 0,-1 1-1 0 0,-17 12 39 0 0,14-6-40 0 0,1-1 1 0 0,0 1-1 0 0,0-1 1 0 0,0 1 0 0 0,0 0-1 0 0,1 0 1 0 0,0 0-1 0 0,1 0 1 0 0,0 1 0 0 0,0-1-1 0 0,0 0 1 0 0,1 1-1 0 0,0-1 1 0 0,0 0 0 0 0,1 1-1 0 0,0-1 1 0 0,3 9-1 0 0,-4-14 7 0 0,0-1 0 0 0,1 1-1 0 0,0-1 1 0 0,-1 1 0 0 0,1-1-1 0 0,0 1 1 0 0,0-1 0 0 0,0 1-1 0 0,0-1 1 0 0,0 0 0 0 0,0 1-1 0 0,0-1 1 0 0,0 0 0 0 0,0 0-1 0 0,1 0 1 0 0,-1 0 0 0 0,0 0-1 0 0,1 0 1 0 0,-1-1 0 0 0,1 1-1 0 0,1 1 1 0 0,1-1-36 0 0,0 0 0 0 0,0 0 1 0 0,0-1-1 0 0,0 1 0 0 0,0-1 0 0 0,1 0 1 0 0,-1 0-1 0 0,0 0 0 0 0,0 0 0 0 0,0-1 1 0 0,0 0-1 0 0,0 0 0 0 0,0 0 0 0 0,0 0 0 0 0,5-3 1 0 0,-3 2-8 0 0,43-18 69 0 0,-3 0-122 0 0,-44 19 68 0 0,-1 1-187 0 0,1 0 28 0 0,-1 0 1 0 0,0 0-1 0 0,0 0 0 0 0,0 0 0 0 0,1 0 0 0 0,-1 0 0 0 0,0 0 0 0 0,0 0 0 0 0,0 0 0 0 0,0 1 0 0 0,1-1 0 0 0,-1 0 1 0 0,0 1-1 0 0,0-1 0 0 0,0 1 0 0 0,1 0 0 0 0,2 3 421 0 0</inkml:trace>
</inkml:ink>
</file>

<file path=ppt/ink/ink1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3:29.375"/>
    </inkml:context>
    <inkml:brush xml:id="br0">
      <inkml:brushProperty name="width" value="0.1" units="cm"/>
      <inkml:brushProperty name="height" value="0.1" units="cm"/>
    </inkml:brush>
  </inkml:definitions>
  <inkml:trace contextRef="#ctx0" brushRef="#br0">1 154 76 0 0,'7'5'1523'0'0,"1"1"0"0"0,-1 1 0 0 0,-1-1-1 0 0,7 8 1 0 0,-7-6-586 0 0,0 0 1 0 0,-1 0-1 0 0,7 15 0 0 0,-7-12-619 0 0,-1-1 1 0 0,-1 1-1 0 0,0-1 0 0 0,0 1 0 0 0,-1 0 1 0 0,0 0-1 0 0,-1 0 0 0 0,-1 0 1 0 0,0 1-1 0 0,0-1 0 0 0,-1 0 0 0 0,-4 21 1 0 0,5-32-281 0 0,0 1 0 0 0,0-1 1 0 0,0 0-1 0 0,-1 0 0 0 0,1 0 0 0 0,0 1 1 0 0,0-1-1 0 0,0 0 0 0 0,0 0 0 0 0,0 1 1 0 0,0-1-1 0 0,0 0 0 0 0,0 1 0 0 0,0-1 1 0 0,0 0-1 0 0,0 0 0 0 0,0 1 0 0 0,0-1 1 0 0,0 0-1 0 0,0 0 0 0 0,0 1 0 0 0,0-1 1 0 0,1 0-1 0 0,-1 0 0 0 0,0 1 0 0 0,0-1 1 0 0,0 0-1 0 0,0 0 0 0 0,0 0 1 0 0,1 1-1 0 0,-1-1 0 0 0,0 0 0 0 0,0 0 1 0 0,0 0-1 0 0,0 0 0 0 0,1 1 0 0 0,-1-1 1 0 0,1 0-1 0 0,11-5 381 0 0,21-21-896 0 0,-21 17 523 0 0,194-137-1099 0 0,-204 145 1089 0 0,-1-1-4 0 0,1 1 1 0 0,-1 0-1 0 0,0 0 1 0 0,1-1-1 0 0,-1 1 0 0 0,1 1 1 0 0,-1-1-1 0 0,1 0 1 0 0,0 0-1 0 0,-1 0 1 0 0,1 1-1 0 0,0-1 0 0 0,-1 1 1 0 0,1-1-1 0 0,0 1 1 0 0,0 0-1 0 0,0 0 1 0 0,-1 0-1 0 0,1 0 0 0 0,0 0 1 0 0,0 0-1 0 0,0 0 1 0 0,1 1-1 0 0,-1 1 22 0 0,0 0-1 0 0,0 1 0 0 0,0-1 0 0 0,-1 0 1 0 0,1 1-1 0 0,-1 0 0 0 0,0-1 1 0 0,0 1-1 0 0,1 3 0 0 0,0-3-18 0 0,3 14 41 0 0,0-1 0 0 0,0 1 0 0 0,2 17 0 0 0,-4-16 16 0 0,11 34 0 0 0,-14-51-66 0 0,0 0-25 0 0,0-1-1 0 0,0 0 0 0 0,0 1 1 0 0,1-1-1 0 0,-1 0 0 0 0,0 1 0 0 0,0-1 1 0 0,0 0-1 0 0,0 1 0 0 0,1-1 1 0 0,-1 0-1 0 0,0 0 0 0 0,0 1 1 0 0,0-1-1 0 0,1 0 0 0 0,-1 0 1 0 0,0 0-1 0 0,1 1 0 0 0,-1-1 0 0 0,0 0 1 0 0,0 0-1 0 0,1 0 0 0 0,-1 0 1 0 0,0 0-1 0 0,1 1 0 0 0,6-9-110 0 0,0 0-1 0 0,-1 0 1 0 0,0 0-1 0 0,8-16 1 0 0,-7 12 40 0 0,0 1 1 0 0,12-15 0 0 0,12-6-89 0 0,-30 31 160 0 0,-1 1-1 0 0,1-1 0 0 0,-1 1 1 0 0,1-1-1 0 0,-1 1 0 0 0,1 0 1 0 0,0-1-1 0 0,-1 1 0 0 0,1 0 1 0 0,-1-1-1 0 0,1 1 0 0 0,0 0 0 0 0,-1 0 1 0 0,1 0-1 0 0,0 0 0 0 0,-1-1 1 0 0,1 1-1 0 0,0 0 0 0 0,0 0 1 0 0,-1 0-1 0 0,1 0 0 0 0,0 1 1 0 0,-1-1-1 0 0,1 0 0 0 0,0 0 1 0 0,-1 0-1 0 0,1 0 0 0 0,0 1 1 0 0,-1-1-1 0 0,1 0 0 0 0,-1 1 1 0 0,1-1-1 0 0,-1 1 0 0 0,1-1 1 0 0,0 0-1 0 0,0 2 0 0 0,16 18 184 0 0,4 28 223 0 0,-14-30-260 0 0,0 0-1 0 0,21 33 1 0 0,-25-47-135 0 0,0 0 1 0 0,0 0-1 0 0,0 0 0 0 0,0-1 1 0 0,1 0-1 0 0,-1 1 1 0 0,1-1-1 0 0,0 0 0 0 0,0 0 1 0 0,0-1-1 0 0,0 0 0 0 0,0 1 1 0 0,1-1-1 0 0,-1 0 1 0 0,1-1-1 0 0,8 3 0 0 0,-6-3-28 0 0,1-1-1 0 0,-1 0 0 0 0,0 0 0 0 0,0 0 0 0 0,1-1 0 0 0,-1 0 0 0 0,0-1 1 0 0,0 1-1 0 0,0-1 0 0 0,0-1 0 0 0,-1 1 0 0 0,1-1 0 0 0,0 0 1 0 0,-1-1-1 0 0,0 1 0 0 0,0-1 0 0 0,6-6 0 0 0,-7 7-8 0 0,7-5-8 0 0,0 0-1 0 0,-1 0 1 0 0,0-1 0 0 0,0-1 0 0 0,-1 1-1 0 0,-1-2 1 0 0,16-20 0 0 0,-24 30 29 0 0,-1 0 0 0 0,0 1 0 0 0,0 0-1 0 0,0-1 1 0 0,0 1 0 0 0,0 0 0 0 0,0 0-1 0 0,0-1 1 0 0,0 1 0 0 0,0 0-1 0 0,0-1 1 0 0,0 1 0 0 0,0 0 0 0 0,0 0-1 0 0,0-1 1 0 0,0 1 0 0 0,0 0-1 0 0,0-1 1 0 0,0 1 0 0 0,0 0-1 0 0,0 0 1 0 0,0-1 0 0 0,0 1 0 0 0,-1 0-1 0 0,1 0 1 0 0,0-1 0 0 0,0 1-1 0 0,0 0 1 0 0,-1 0 0 0 0,1-1 0 0 0,0 1-1 0 0,-3 1-5 0 0,1-1 1 0 0,0 1-1 0 0,0 0 0 0 0,-1 0 0 0 0,1 0 0 0 0,0 0 1 0 0,0 0-1 0 0,0 0 0 0 0,-2 3 0 0 0,2-3-59 0 0,2-1-72 0 0,0 0 119 0 0,-1 0-1 0 0,1 1 0 0 0,0-1 0 0 0,0 0 1 0 0,0 0-1 0 0,-1 0 0 0 0,1 1 1 0 0,0-1-1 0 0,0 0 0 0 0,0 0 1 0 0,0 0-1 0 0,0 1 0 0 0,0-1 1 0 0,-1 0-1 0 0,1 0 0 0 0,0 1 1 0 0,0-1-1 0 0,0 0 0 0 0,0 0 1 0 0,0 1-1 0 0,0-1 0 0 0,0 0 0 0 0,0 0 1 0 0,0 1-1 0 0,0-1 0 0 0,0 0 1 0 0,0 1-1 0 0,0-1 0 0 0,0 0 1 0 0,0 0-1 0 0,0 1 0 0 0,1-1 1 0 0,-1 0-1 0 0,0 0 0 0 0,0 1 1 0 0,0-1-1 0 0,0 0 0 0 0,0 0 1 0 0,1 0-1 0 0,-1 1 0 0 0,7 12-526 0 0,-6-12 542 0 0,0 1 3 0 0,-1-1 0 0 0,1 0 0 0 0,0 0 0 0 0,-1 0 1 0 0,1 0-1 0 0,0 0 0 0 0,0 0 0 0 0,0-1 0 0 0,0 1 0 0 0,0 0 0 0 0,0 0 0 0 0,0-1 1 0 0,0 1-1 0 0,0 0 0 0 0,0-1 0 0 0,0 1 0 0 0,0-1 0 0 0,1 1 0 0 0,-1-1 0 0 0,0 0 1 0 0,0 0-1 0 0,1 1 0 0 0,-1-1 0 0 0,0 0 0 0 0,0 0 0 0 0,1 0 0 0 0,-1 0 1 0 0,0-1-1 0 0,2 1 0 0 0,2-1 9 0 0,0 0 1 0 0,0 0-1 0 0,0-1 1 0 0,-1 1-1 0 0,1-1 1 0 0,0 0-1 0 0,-1 0 1 0 0,0-1-1 0 0,1 1 1 0 0,-1-1 0 0 0,0 0-1 0 0,-1 0 1 0 0,1 0-1 0 0,0-1 1 0 0,-1 1-1 0 0,0-1 1 0 0,0 0-1 0 0,5-7 1 0 0,4-8-24 0 0,0-2 0 0 0,14-34 0 0 0,-20 41 6 0 0,16-33 317 0 0,-3-1 0 0 0,15-62 1 0 0,-33 98 134 0 0,-8 15 23 0 0,-8 16 95 0 0,9-6-394 0 0,1 1 0 0 0,1-1 1 0 0,0 1-1 0 0,1 0 0 0 0,0 0 0 0 0,1 0 1 0 0,1 1-1 0 0,0-1 0 0 0,2 21 1 0 0,2-1-143 0 0,1 1 1 0 0,15 57-1 0 0,-18-87-78 0 0,13 39-448 0 0,-13-41 386 0 0,0 1 0 0 0,1-1 0 0 0,-1-1 0 0 0,1 1 0 0 0,0 0 0 0 0,-1 0 0 0 0,1-1 0 0 0,1 1 0 0 0,-1-1 1 0 0,0 1-1 0 0,3 1 0 0 0,-3-3 56 0 0,0 0 0 0 0,-1-1 0 0 0,1 1 1 0 0,0 0-1 0 0,0-1 0 0 0,0 0 0 0 0,0 1 1 0 0,-1-1-1 0 0,1 0 0 0 0,0 0 1 0 0,0 0-1 0 0,0 0 0 0 0,0-1 0 0 0,0 1 1 0 0,-1 0-1 0 0,1-1 0 0 0,0 1 0 0 0,0-1 1 0 0,0 0-1 0 0,-1 1 0 0 0,1-1 0 0 0,0 0 1 0 0,2-2-1 0 0,5-3-56 0 0,-1 0 0 0 0,15-13 0 0 0,-22 18 82 0 0,110-116 1306 0 0,-64 65 966 0 0,-45 50-1624 0 0,2 11 246 0 0,-17 34-797 0 0,4-11 392 0 0,-18 40 1 0 0,0-24-2963 0 0,21-40 796 0 0,-1 1-1 0 0,0-1 1 0 0,-10 9-1 0 0,8-12-1066 0 0</inkml:trace>
</inkml:ink>
</file>

<file path=ppt/ink/ink1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3:29.728"/>
    </inkml:context>
    <inkml:brush xml:id="br0">
      <inkml:brushProperty name="width" value="0.1" units="cm"/>
      <inkml:brushProperty name="height" value="0.1" units="cm"/>
    </inkml:brush>
  </inkml:definitions>
  <inkml:trace contextRef="#ctx0" brushRef="#br0">1 77 2220 0 0,'14'-9'4261'0'0,"6"0"-2210"0"0,0 0-1 0 0,1 1 1 0 0,0 0-1 0 0,22-3 1 0 0,24-2-2142 0 0,-1 3-6221 0 0,-41 10-1615 0 0</inkml:trace>
</inkml:ink>
</file>

<file path=ppt/ink/ink1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3:30.717"/>
    </inkml:context>
    <inkml:brush xml:id="br0">
      <inkml:brushProperty name="width" value="0.1" units="cm"/>
      <inkml:brushProperty name="height" value="0.1" units="cm"/>
    </inkml:brush>
  </inkml:definitions>
  <inkml:trace contextRef="#ctx0" brushRef="#br0">116 97 1232 0 0,'2'-7'9224'0'0,"-13"257"-1918"0"0,-11 109-3634 0 0,22-356-3606 0 0,0-1 0 0 0,-1 1 0 0 0,1-1 0 0 0,0 1 0 0 0,-1-1 0 0 0,1 0 0 0 0,-1 1 0 0 0,0-1 0 0 0,0 0 0 0 0,0 1 0 0 0,0-1 0 0 0,0 0 0 0 0,0 0 0 0 0,-1 0 0 0 0,1 0 0 0 0,-1 0 0 0 0,1 0 0 0 0,-1 0 0 0 0,0-1-1 0 0,0 1 1 0 0,1 0 0 0 0,-4 1 0 0 0,3-4-52 0 0,0 1 0 0 0,1-1-1 0 0,-1 0 1 0 0,1 1 0 0 0,-1-1-1 0 0,1 0 1 0 0,-1 0-1 0 0,1 0 1 0 0,0 0 0 0 0,0 0-1 0 0,-1-1 1 0 0,1 1 0 0 0,0 0-1 0 0,0 0 1 0 0,0-1 0 0 0,0 1-1 0 0,-1-3 1 0 0,-2-3-26 0 0,0-1-1 0 0,0-1 1 0 0,1 1 0 0 0,0-1 0 0 0,1 1 0 0 0,0-1-1 0 0,-2-15 1 0 0,-2-63-378 0 0,6 30 94 0 0,2 0 1 0 0,13-78 0 0 0,-9 102 181 0 0,1 2 1 0 0,2-1 0 0 0,1 1 0 0 0,1 0 0 0 0,26-47-1 0 0,-33 71 90 0 0,0 1 0 0 0,0 0 0 0 0,1-1 0 0 0,0 2 0 0 0,1-1 0 0 0,-1 1 0 0 0,1 0 0 0 0,0 0-1 0 0,0 0 1 0 0,8-4 0 0 0,-12 8 6 0 0,0-1 0 0 0,0 1-1 0 0,0 1 1 0 0,0-1 0 0 0,0 0-1 0 0,0 0 1 0 0,0 1 0 0 0,1-1-1 0 0,-1 1 1 0 0,0 0 0 0 0,0-1 0 0 0,0 1-1 0 0,1 0 1 0 0,-1 0 0 0 0,0 1-1 0 0,0-1 1 0 0,0 0 0 0 0,1 1-1 0 0,-1-1 1 0 0,0 1 0 0 0,0 0-1 0 0,0 0 1 0 0,0-1 0 0 0,0 1 0 0 0,0 1-1 0 0,0-1 1 0 0,0 0 0 0 0,-1 0-1 0 0,1 1 1 0 0,0-1 0 0 0,-1 1-1 0 0,1 0 1 0 0,-1-1 0 0 0,1 1-1 0 0,-1 0 1 0 0,0 0 0 0 0,0 0-1 0 0,0 0 1 0 0,1 2 0 0 0,0 1-38 0 0,-1-1-1 0 0,1 1 1 0 0,-1-1 0 0 0,0 1 0 0 0,-1-1 0 0 0,1 1-1 0 0,-1-1 1 0 0,0 1 0 0 0,0 0 0 0 0,0-1 0 0 0,-1 1-1 0 0,0-1 1 0 0,1 1 0 0 0,-2-1 0 0 0,1 1 0 0 0,0-1-1 0 0,-1 0 1 0 0,0 0 0 0 0,-5 8 0 0 0,-1 3-133 0 0,-1-1 0 0 0,0 0 0 0 0,-1-1 0 0 0,-14 14 0 0 0,5-7-1226 0 0,0 0 1 0 0,-2-2-1 0 0,0 0 0 0 0,-47 29 1 0 0,67-47 1311 0 0,1 0 1 0 0,0 0 0 0 0,-1 0 0 0 0,1 0-1 0 0,0 1 1 0 0,-1-1 0 0 0,1 0 0 0 0,0 0-1 0 0,0 0 1 0 0,-1 0 0 0 0,1 1 0 0 0,0-1-1 0 0,0 0 1 0 0,-1 0 0 0 0,1 1 0 0 0,0-1-1 0 0,0 0 1 0 0,-1 0 0 0 0,1 1 0 0 0,0-1-1 0 0,0 0 1 0 0,0 1 0 0 0,0-1 0 0 0,0 0-1 0 0,-1 1 1 0 0,1-1 0 0 0,0 0 0 0 0,0 1-1 0 0,0-1 1 0 0,0 0 0 0 0,0 1 0 0 0,0-1-1 0 0,0 0 1 0 0,0 1 0 0 0,0-1 0 0 0,0 0-1 0 0,1 1 1 0 0,-1-1 0 0 0,0 0 0 0 0,0 1-1 0 0,0-1 1 0 0,0 0 0 0 0,0 1 0 0 0,0-1-1 0 0,1 0 1 0 0,-1 0 0 0 0,0 1 0 0 0,0-1-1 0 0,1 0 1 0 0,-1 0 0 0 0,0 1 0 0 0,0-1-1 0 0,1 0 1 0 0,-1 0 0 0 0,0 0 0 0 0,0 1-1 0 0,1-1 1 0 0,-1 0 0 0 0,0 0 0 0 0,1 0-1 0 0,-1 0 1 0 0,0 0 0 0 0,1 0 0 0 0,-1 0-1 0 0,1 0 1 0 0,12 2-1749 0 0</inkml:trace>
</inkml:ink>
</file>

<file path=ppt/ink/ink1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3:31.639"/>
    </inkml:context>
    <inkml:brush xml:id="br0">
      <inkml:brushProperty name="width" value="0.1" units="cm"/>
      <inkml:brushProperty name="height" value="0.1" units="cm"/>
    </inkml:brush>
  </inkml:definitions>
  <inkml:trace contextRef="#ctx0" brushRef="#br0">131 116 140 0 0,'59'-8'6689'0'0,"-56"7"-5605"0"0,-1 8 1642 0 0,-2-7-2682 0 0,0 0-1 0 0,0 0 0 0 0,0 1 1 0 0,0-1-1 0 0,0 0 0 0 0,0 0 1 0 0,0 1-1 0 0,0-1 0 0 0,0 0 1 0 0,0 1-1 0 0,0-1 0 0 0,0 0 1 0 0,0 0-1 0 0,0 1 0 0 0,0-1 1 0 0,0 0-1 0 0,0 0 0 0 0,0 1 1 0 0,0-1-1 0 0,0 0 0 0 0,0 1 1 0 0,0-1-1 0 0,-1 0 0 0 0,1 0 0 0 0,0 1 1 0 0,0-1-1 0 0,0 0 0 0 0,0 0 1 0 0,-1 0-1 0 0,1 1 0 0 0,0-1 1 0 0,0 0-1 0 0,-1 0 0 0 0,1 0 1 0 0,0 0-1 0 0,0 1 0 0 0,-1-1 1 0 0,-19 19 1997 0 0,-30 25 0 0 0,31-30-1642 0 0,2 1 1 0 0,0 0-1 0 0,-15 19 1 0 0,28-29-251 0 0,-1 1 1 0 0,1 0-1 0 0,0-1 1 0 0,1 1-1 0 0,-1 1 1 0 0,1-1-1 0 0,0 0 1 0 0,-2 8-1 0 0,5-13-142 0 0,0 0 0 0 0,0-1 1 0 0,0 1-1 0 0,0-1 0 0 0,0 1 0 0 0,0 0 0 0 0,0-1 0 0 0,0 1 0 0 0,0-1 1 0 0,0 1-1 0 0,0 0 0 0 0,0-1 0 0 0,1 1 0 0 0,-1-1 0 0 0,0 1 0 0 0,0-1 1 0 0,1 1-1 0 0,-1 0 0 0 0,0-1 0 0 0,1 0 0 0 0,-1 1 0 0 0,1-1 0 0 0,-1 1 1 0 0,1-1-1 0 0,-1 1 0 0 0,1-1 0 0 0,-1 0 0 0 0,1 1 0 0 0,-1-1 0 0 0,1 0 1 0 0,-1 1-1 0 0,1-1 0 0 0,-1 0 0 0 0,1 0 0 0 0,0 0 0 0 0,-1 0 0 0 0,2 1 1 0 0,21-1-599 0 0,-16-1 253 0 0,1-2 0 0 0,-1 1 0 0 0,0-1 0 0 0,0 0 0 0 0,0-1 0 0 0,0 0 0 0 0,-1 0 0 0 0,7-5 0 0 0,48-42-2117 0 0,-52 43 2179 0 0,0 0 30 0 0,0-1 1 0 0,1 2-1 0 0,0-1 1 0 0,20-10 0 0 0,-30 18 266 0 0,1 0 0 0 0,-1 0 0 0 0,1 0 0 0 0,0 0 1 0 0,-1 0-1 0 0,1 0 0 0 0,-1 0 0 0 0,1 0 0 0 0,-1 0 0 0 0,1 0 1 0 0,-1 1-1 0 0,1-1 0 0 0,-1 0 0 0 0,1 0 0 0 0,-1 0 0 0 0,1 1 1 0 0,-1-1-1 0 0,1 0 0 0 0,-1 1 0 0 0,1-1 0 0 0,-1 0 0 0 0,0 1 1 0 0,1-1-1 0 0,-1 1 0 0 0,0-1 0 0 0,1 0 0 0 0,-1 2 0 0 0,8 11 430 0 0,-3-1 143 0 0,1 1 1 0 0,0-1-1 0 0,15 21 0 0 0,-19-29-447 0 0,1 0 0 0 0,1-1 0 0 0,-1 1 0 0 0,1-1 0 0 0,-1 0 0 0 0,1 1 0 0 0,0-1 0 0 0,0-1 1 0 0,0 1-1 0 0,0-1 0 0 0,1 0 0 0 0,-1 0 0 0 0,8 3 0 0 0,-8-5-116 0 0,-1 1 0 0 0,0-1 0 0 0,1 0 0 0 0,-1 0 0 0 0,0 0 0 0 0,1-1 0 0 0,-1 1 0 0 0,0-1 0 0 0,0 1 0 0 0,1-1 0 0 0,-1 0 0 0 0,0-1 0 0 0,0 1 0 0 0,0 0 0 0 0,4-3 0 0 0,3-2-49 0 0,-1-1 0 0 0,16-14-1 0 0,-12 9-132 0 0,-1-1 0 0 0,-1 0 1 0 0,-1 0-1 0 0,18-30 0 0 0,27-65-149 0 0,-31 58 472 0 0,-19 41-133 0 0,-4 5-15 0 0,1 1 0 0 0,-1 0 0 0 0,1 0 0 0 0,0 0 1 0 0,0 0-1 0 0,0 0 0 0 0,4-3 0 0 0,-5 23 430 0 0,-6 17-23 0 0,-37 192 1045 0 0,35-197-1379 0 0,-3 1 0 0 0,0-2 0 0 0,-1 1 0 0 0,-2-2 0 0 0,-25 41 0 0 0,23-50-5 0 0,15-17-112 0 0,-1-1-1 0 0,0 1 0 0 0,1-1 0 0 0,-1 0 0 0 0,1 1 0 0 0,-1-1 0 0 0,0 0 1 0 0,1 1-1 0 0,-1-1 0 0 0,0 0 0 0 0,1 0 0 0 0,-1 0 0 0 0,0 1 0 0 0,0-1 1 0 0,1 0-1 0 0,-1 0 0 0 0,0 0 0 0 0,0 0 0 0 0,1 0 0 0 0,-1-1 0 0 0,0 1 1 0 0,1 0-1 0 0,-1 0 0 0 0,0 0 0 0 0,0 0 0 0 0,1-1 0 0 0,-1 1 0 0 0,0-1 0 0 0,0-1-50 0 0,1 1 0 0 0,-1-1-1 0 0,1 0 1 0 0,-1 0-1 0 0,1 1 1 0 0,0-1-1 0 0,0 0 1 0 0,0 0-1 0 0,0 0 1 0 0,0 1 0 0 0,1-1-1 0 0,0-3 1 0 0,1-4-26 0 0,0 0 0 0 0,1 0 0 0 0,0 0 0 0 0,1 0 0 0 0,0 1 1 0 0,0-1-1 0 0,1 1 0 0 0,0 0 0 0 0,1 1 0 0 0,0-1 0 0 0,7-7 1 0 0,-8 10 75 0 0,1 0 1 0 0,-1 0 0 0 0,1 1 0 0 0,0 0 0 0 0,0 0 0 0 0,1 1 0 0 0,-1-1 0 0 0,1 1-1 0 0,-1 0 1 0 0,1 1 0 0 0,0 0 0 0 0,0 0 0 0 0,0 1 0 0 0,1-1 0 0 0,6 1 0 0 0,6 0-78 0 0,9 0-761 0 0,-1-1 1 0 0,49-11-1 0 0,-69 11 679 0 0,1 0 0 0 0,0-1 0 0 0,-1-1 0 0 0,0 1 0 0 0,0-1 0 0 0,0-1 0 0 0,0 1 0 0 0,-1-1 0 0 0,0-1 0 0 0,0 1 0 0 0,0-1 0 0 0,-1-1 0 0 0,7-6 0 0 0,53-81 1021 0 0,-50 69 115 0 0,-8 17 41 0 0,-3 13 263 0 0,-4 13-220 0 0,-41 137 244 0 0,32-132-1746 0 0,-1 0 0 0 0,-1-1-1 0 0,-1 0 1 0 0,-20 30 0 0 0,14-39-870 0 0,7-10 99 0 0,10-3 1208 0 0,0 0 1 0 0,0-1 0 0 0,0 1-1 0 0,-1 0 1 0 0,1 0 0 0 0,0-1 0 0 0,0 1-1 0 0,0 0 1 0 0,0 0 0 0 0,0-1-1 0 0,-1 1 1 0 0,1 0 0 0 0,0-1-1 0 0,0 1 1 0 0,0 0 0 0 0,0 0-1 0 0,0-1 1 0 0,0 1 0 0 0,0 0-1 0 0,0-1 1 0 0,0 1 0 0 0,0 0-1 0 0,0-1 1 0 0,0 1 0 0 0,0 0-1 0 0,0 0 1 0 0,1-1 0 0 0,-1 1-1 0 0,0 0 1 0 0,0-1 0 0 0,0 1-1 0 0,0 0 1 0 0,3-8 69 0 0,-1 0-1 0 0,1 1 0 0 0,0 0 1 0 0,1 0-1 0 0,0 0 1 0 0,0 0-1 0 0,0 0 0 0 0,1 1 1 0 0,0 0-1 0 0,0 0 1 0 0,1 0-1 0 0,-1 1 0 0 0,1-1 1 0 0,8-4-1 0 0,-13 9 24 0 0,0 1-1 0 0,1-1 1 0 0,-1 1 0 0 0,0 0-1 0 0,1-1 1 0 0,-1 1-1 0 0,0 0 1 0 0,1 0-1 0 0,-1 0 1 0 0,0 0-1 0 0,1 0 1 0 0,-1 0 0 0 0,0 0-1 0 0,1 1 1 0 0,-1-1-1 0 0,0 0 1 0 0,1 1-1 0 0,-1-1 1 0 0,0 1 0 0 0,0-1-1 0 0,1 1 1 0 0,-1 0-1 0 0,2 1 1 0 0,25 20 920 0 0,-17-9-829 0 0,-1-1-1 0 0,18 29 0 0 0,6 6-6227 0 0</inkml:trace>
</inkml:ink>
</file>

<file path=ppt/ink/ink1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3:32.035"/>
    </inkml:context>
    <inkml:brush xml:id="br0">
      <inkml:brushProperty name="width" value="0.1" units="cm"/>
      <inkml:brushProperty name="height" value="0.1" units="cm"/>
    </inkml:brush>
  </inkml:definitions>
  <inkml:trace contextRef="#ctx0" brushRef="#br0">3 120 2028 0 0,'-1'-40'5879'0'0,"0"20"-1940"0"0,3-37 0 0 0,-2 55-4265 0 0</inkml:trace>
</inkml:ink>
</file>

<file path=ppt/ink/ink1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3:32.415"/>
    </inkml:context>
    <inkml:brush xml:id="br0">
      <inkml:brushProperty name="width" value="0.1" units="cm"/>
      <inkml:brushProperty name="height" value="0.1" units="cm"/>
    </inkml:brush>
  </inkml:definitions>
  <inkml:trace contextRef="#ctx0" brushRef="#br0">0 0 1680 0 0,'19'21'7468'0'0,"-3"4"-4275"0"0,-11-17-2647 0 0,0 1 1 0 0,1-1-1 0 0,9 9 1 0 0,-9-11-456 0 0,0 0 1 0 0,0-1-1 0 0,1 0 0 0 0,-1 0 1 0 0,1-1-1 0 0,0 1 1 0 0,1-2-1 0 0,11 6 1 0 0,-14-8-160 0 0,0 1 1 0 0,1-1 0 0 0,-1 0 0 0 0,0-1 0 0 0,1 1-1 0 0,-1-1 1 0 0,1 0 0 0 0,-1-1 0 0 0,0 1-1 0 0,1-1 1 0 0,-1 0 0 0 0,0 0 0 0 0,0-1 0 0 0,7-2-1 0 0,74-29-732 0 0,-85 33 811 0 0,1 0 0 0 0,-1 0 0 0 0,0-1 0 0 0,0 1 0 0 0,0 0-1 0 0,0 0 1 0 0,0 0 0 0 0,0 0 0 0 0,0 0 0 0 0,0 0 0 0 0,1 1 0 0 0,-1-1 0 0 0,0 0-1 0 0,0 1 1 0 0,0-1 0 0 0,0 0 0 0 0,0 1 0 0 0,0-1 0 0 0,0 1 0 0 0,0 0 0 0 0,0-1-1 0 0,1 2 1 0 0,0 0 26 0 0,-1 0-1 0 0,1-1 0 0 0,-1 2 1 0 0,0-1-1 0 0,1 0 1 0 0,-1 0-1 0 0,0 0 0 0 0,0 0 1 0 0,1 5-1 0 0,0 3 134 0 0,0 1-1 0 0,0-1 1 0 0,0 17-1 0 0,-2-27-165 0 0,0 49 439 0 0,-7 51-1 0 0,3-56-198 0 0,4-14 156 0 0,0-29-354 0 0,2-2-66 0 0,3-3-9 0 0,-1 0 0 0 0,1 0 0 0 0,-1-1 1 0 0,0 1-1 0 0,0-1 0 0 0,0 0 0 0 0,-1-1 0 0 0,1 1 0 0 0,-1 0 0 0 0,2-7 0 0 0,24-64-241 0 0,-24 63 233 0 0,68-218-408 0 0,-71 202 339 0 0,-13 58 239 0 0,-16 61 27 0 0,-16 48-70 0 0,34-113-70 0 0,-2 0 1 0 0,0-1 0 0 0,-22 32-1 0 0,27-46 68 0 0,0 0 0 0 0,-1 0-1 0 0,-1-1 1 0 0,1 0 0 0 0,-1 0-1 0 0,-1-1 1 0 0,0 0 0 0 0,-13 9-1 0 0,22-17-74 0 0,0 0-1 0 0,-1 1 1 0 0,1-1 0 0 0,0 0-1 0 0,-1 1 1 0 0,1-1-1 0 0,-1 0 1 0 0,1 0 0 0 0,0 1-1 0 0,-1-1 1 0 0,1 0 0 0 0,-1 0-1 0 0,1 0 1 0 0,-1 0-1 0 0,1 1 1 0 0,-1-1 0 0 0,1 0-1 0 0,-1 0 1 0 0,1 0-1 0 0,0 0 1 0 0,-1 0 0 0 0,1 0-1 0 0,-1 0 1 0 0,1 0-1 0 0,-1 0 1 0 0,1-1 0 0 0,-1 1-1 0 0,1 0 1 0 0,-1 0 0 0 0,1 0-1 0 0,0 0 1 0 0,-1-1-1 0 0,1 1 1 0 0,-1 0 0 0 0,1 0-1 0 0,0-1 1 0 0,-1 1-1 0 0,1 0 1 0 0,0-1 0 0 0,-1 1-1 0 0,1 0 1 0 0,0-1 0 0 0,-1 1-1 0 0,1-1 1 0 0,0 1-1 0 0,0-1 1 0 0,0 1 0 0 0,-1 0-1 0 0,1-1 1 0 0,0 1-1 0 0,0-1 1 0 0,0 1 0 0 0,0-1-1 0 0,0 1 1 0 0,0-1-1 0 0,0 1 1 0 0,0-1 0 0 0,0 1-1 0 0,0-1 1 0 0,0 0 0 0 0,7-28-69 0 0,7-1-315 0 0,1 0 0 0 0,1 2 0 0 0,22-29 0 0 0,66-77-3592 0 0,-97 126 3471 0 0,23-30-5104 0 0,-24 28 2351 0 0</inkml:trace>
</inkml:ink>
</file>

<file path=ppt/ink/ink1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3:32.804"/>
    </inkml:context>
    <inkml:brush xml:id="br0">
      <inkml:brushProperty name="width" value="0.1" units="cm"/>
      <inkml:brushProperty name="height" value="0.1" units="cm"/>
    </inkml:brush>
  </inkml:definitions>
  <inkml:trace contextRef="#ctx0" brushRef="#br0">1 26 628 0 0,'0'0'5173'0'0,"6"-6"-3181"0"0,4 1-736 0 0,1 0-1024 0 0,5 0-832 0 0,1 1-2733 0 0</inkml:trace>
</inkml:ink>
</file>

<file path=ppt/ink/ink1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5:28.733"/>
    </inkml:context>
    <inkml:brush xml:id="br0">
      <inkml:brushProperty name="width" value="0.08571" units="cm"/>
      <inkml:brushProperty name="height" value="0.08571" units="cm"/>
      <inkml:brushProperty name="color" value="#E71224"/>
    </inkml:brush>
  </inkml:definitions>
  <inkml:trace contextRef="#ctx0" brushRef="#br0">71 115 6813,'0'-22'2339,"1"3"-810,-1 5 900,0 2-2250,1 14 1,-1 2 180,0 17-180,-3 12-90,1-3 0,-2 12 0,1-9 90,0 2-90,0-1 90,-1-1-90,1 0 89,0-2-89,0-2 90,0-3-180,1-1 180,0-2-180,-1-3 90,1-2 90,0-2 90,1-1 629,-1-3-89,0 3-180,0-3-630,-2-6 179,1-7-179,-2-10-90,2-3 1,1-6 89,0-4 0,1-6-180,1-4 90,1-6 90,2-2-90,1-2-218,3 1 218,0 1 90,2 2-180,0 4 180,7-9-90,-4 14 90,5-5-90,-5 16 90,1 5 0,0 2 0,1 5-89,1 2 89,0 5 0,0 4 0,2 3 0,0 5 217,0 4-217,0 4 0,3 16-90,-6-6 90,2 12 0,-8-10 0,-2 0 0,-2-1 90,-2 0-90,-1-2 90,-3 0-90,-1-2 90,-1 0 0,-2-1 0,-1-2 0,-1-2 0,-7 7 0,3-9-90,-6 5 90,5-11-90,0-1 90,-1-3-90,1-1 0,-1-2-180,1 0-90,0-3-180,0 0-719,1-2-720,-4-2-1619,1-2 3508,-1-4 0,7 3 0,4-1 0</inkml:trace>
</inkml:ink>
</file>

<file path=ppt/ink/ink1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5:29.038"/>
    </inkml:context>
    <inkml:brush xml:id="br0">
      <inkml:brushProperty name="width" value="0.08571" units="cm"/>
      <inkml:brushProperty name="height" value="0.08571" units="cm"/>
      <inkml:brushProperty name="color" value="#E71224"/>
    </inkml:brush>
  </inkml:definitions>
  <inkml:trace contextRef="#ctx0" brushRef="#br0">1 154 7803,'16'6'3328,"-5"-1"-2789,-3 5 1,-4-1-90,-1 2-90,-1 3-91,0 1 91,0 1-90,-1 1 0,0 1-90,0 0 90,-1 0-90,0 0-1,0 0-89,0-2 90,-1 0-180,2-2 540,-2 0 180,1 2 269,-2-3-629,-4-4-180,1-12-90,-2-8 0,3-8 0,3 0-1,0-4-89,2-2 90,2-4 0,1-1-90,2-1 90,1 0-90,2 1 0,1 2-90,1 1 0,2 2-89,1 1-91,2 4-270,0 2-90,0 3-89,1 3-361,-2 3 1,1 2-270,-1 2-3958,-2 2 5307,4 3 0,-9-1 0,1 2 0</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16.363"/>
    </inkml:context>
    <inkml:brush xml:id="br0">
      <inkml:brushProperty name="width" value="0.1" units="cm"/>
      <inkml:brushProperty name="height" value="0.1" units="cm"/>
    </inkml:brush>
  </inkml:definitions>
  <inkml:trace contextRef="#ctx0" brushRef="#br0">110 88 628 0 0,'-12'7'792'0'0,"1"1"0"0"0,0 1 0 0 0,0-1 0 0 0,1 2-1 0 0,-17 19 1 0 0,24-26-585 0 0,1 0-1 0 0,-1 0 1 0 0,1 1 0 0 0,-1-1-1 0 0,1 1 1 0 0,0 0 0 0 0,0-1-1 0 0,1 1 1 0 0,-1 0-1 0 0,1 0 1 0 0,0 0 0 0 0,0 0-1 0 0,0 1 1 0 0,0-1 0 0 0,1 0-1 0 0,0 0 1 0 0,-1 0-1 0 0,2 1 1 0 0,-1-1 0 0 0,0 0-1 0 0,1 0 1 0 0,2 9 0 0 0,-1-10-78 0 0,1 1 0 0 0,0 0 0 0 0,-1 0 1 0 0,1-1-1 0 0,0 0 0 0 0,1 1 1 0 0,-1-1-1 0 0,1-1 0 0 0,-1 1 0 0 0,1 0 1 0 0,0-1-1 0 0,0 0 0 0 0,0 0 1 0 0,0 0-1 0 0,0 0 0 0 0,0 0 0 0 0,1-1 1 0 0,8 2-1 0 0,5 0 142 0 0,0 0-1 0 0,-1-1 1 0 0,27-1 0 0 0,-25-1-171 0 0,0-1 1 0 0,-1-1 0 0 0,1-1 0 0 0,-1-1 0 0 0,1 0 0 0 0,-1-1 0 0 0,0-2 0 0 0,-1 1 0 0 0,29-17 0 0 0,-25 11-165 0 0,-1-2 0 0 0,0 0 0 0 0,-1-1 0 0 0,-1-1 0 0 0,0 0 0 0 0,-1-2 1 0 0,16-21-1 0 0,-31 37 30 0 0,77-107-3137 0 0,-76 101 1406 0 0</inkml:trace>
</inkml:ink>
</file>

<file path=ppt/ink/ink1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5:29.188"/>
    </inkml:context>
    <inkml:brush xml:id="br0">
      <inkml:brushProperty name="width" value="0.08571" units="cm"/>
      <inkml:brushProperty name="height" value="0.08571" units="cm"/>
      <inkml:brushProperty name="color" value="#E71224"/>
    </inkml:brush>
  </inkml:definitions>
  <inkml:trace contextRef="#ctx0" brushRef="#br0">1 3 11490,'21'6'360,"1"-2"-450,-6-4-180,2 0-89,3-1-181,2-1-3482,1 1 1414,12-1 2608,-8 0 0,12 0 0,-11 0 0</inkml:trace>
</inkml:ink>
</file>

<file path=ppt/ink/ink1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5:29.390"/>
    </inkml:context>
    <inkml:brush xml:id="br0">
      <inkml:brushProperty name="width" value="0.08571" units="cm"/>
      <inkml:brushProperty name="height" value="0.08571" units="cm"/>
      <inkml:brushProperty name="color" value="#E71224"/>
    </inkml:brush>
  </inkml:definitions>
  <inkml:trace contextRef="#ctx0" brushRef="#br0">223 1 12660,'-1'17'719,"-2"-1"-629,-6-3 0,-1 0-4161,-1 2 4071,-3 2 90,0 2 859,-9 9-2388,-12 14 629,8-11-179,-5 5-630,20-24-90,1-2 1709,0-2 0,6-5 0,1 0 0</inkml:trace>
</inkml:ink>
</file>

<file path=ppt/ink/ink1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5:29.576"/>
    </inkml:context>
    <inkml:brush xml:id="br0">
      <inkml:brushProperty name="width" value="0.08571" units="cm"/>
      <inkml:brushProperty name="height" value="0.08571" units="cm"/>
      <inkml:brushProperty name="color" value="#E71224"/>
    </inkml:brush>
  </inkml:definitions>
  <inkml:trace contextRef="#ctx0" brushRef="#br0">0 22 10861,'8'-15'3148,"2"8"-2878,-3 8-90,1 10 90,-1-1-180,1 5 89,1 1 1,2 4-90,1 2 0,2 2-90,-1 1-180,1 0 0,-1 0-179,0-2-181,-1 0-90,-1-3-359,-1-1-91,-1-1-718,0-2-451,-1-3 2249,-1-1 0,-3-6 0,-2-2 0</inkml:trace>
</inkml:ink>
</file>

<file path=ppt/ink/ink1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5:30.124"/>
    </inkml:context>
    <inkml:brush xml:id="br0">
      <inkml:brushProperty name="width" value="0.08571" units="cm"/>
      <inkml:brushProperty name="height" value="0.08571" units="cm"/>
      <inkml:brushProperty name="color" value="#E71224"/>
    </inkml:brush>
  </inkml:definitions>
  <inkml:trace contextRef="#ctx0" brushRef="#br0">1 40 11760,'11'24'1889,"-1"-1"-1439,-8-5 0,1 3-91,-1 2 1,0 2-90,1 0-90,-1 1 0,0-1 0,1 1 0,-1-1-90,1-2 90,-2-1-1,1-2 1,0-4 90,-1 0 540,0-3-1,-1 2-359,0-2-360,-3-8 0,0-5-90,-2-14 0,2-1 0,2-6 0,0-3 0,2-5 0,1-3 0,3-2 0,1-3 0,3 1 0,2-1 0,1 4-90,1 4 90,1 4-90,0 3 0,1 3 90,0 4 0,-1 5-90,1 2 90,-2 5 0,1 3-90,0 4-3302,-1 3 3302,0 5 90,-1 2 0,-2 4 0,-1 2-90,0 14 0,-4-8 90,-1 10-90,-3-11 90,-2 1 0,-5 9 0,0-9 0,-10 16 0,4-20 90,-12 10-90,8-16 0,-7 1 0,8-7-180,-1-4-179,2-1-181,0-1-90,1-3-89,0-1-181,2-2 1,-1-1-361,2-1 2314,1-1-4562,1 0 3508,2-3 0,2 5 0,2-1 0</inkml:trace>
</inkml:ink>
</file>

<file path=ppt/ink/ink1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5:30.449"/>
    </inkml:context>
    <inkml:brush xml:id="br0">
      <inkml:brushProperty name="width" value="0.08571" units="cm"/>
      <inkml:brushProperty name="height" value="0.08571" units="cm"/>
      <inkml:brushProperty name="color" value="#E71224"/>
    </inkml:brush>
  </inkml:definitions>
  <inkml:trace contextRef="#ctx0" brushRef="#br0">0 136 10501,'7'18'2159,"-1"0"-1620,-4-7-89,0 3-90,0 0 0,0 2-90,0 0-1,0 0 1,0 1 90,1 6-270,0-6 270,1 9 0,-2-9 179,1 2-449,-4-13-90,0-7 90,-2-12-90,2-2 90,2-3 0,0-3 90,1-2 0,2-1-90,3-3 90,0 1-90,2-2 0,2 2 0,0 1-90,2 2 0,0 2-180,8-3-180,-5 7-90,5-2-269,-7 9-181,0 2-89,-1 2-1530,-1 1-2158,2 2 4677,-3 3 0,-3 0 0,-4 1 0</inkml:trace>
</inkml:ink>
</file>

<file path=ppt/ink/ink1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5:30.591"/>
    </inkml:context>
    <inkml:brush xml:id="br0">
      <inkml:brushProperty name="width" value="0.08571" units="cm"/>
      <inkml:brushProperty name="height" value="0.08571" units="cm"/>
      <inkml:brushProperty name="color" value="#E71224"/>
    </inkml:brush>
  </inkml:definitions>
  <inkml:trace contextRef="#ctx0" brushRef="#br0">0 0 12930,'1'20'1259,"2"-3"-1079,7-12 0,2 0-270,1 0-180,1 0-270,2 0-269,0-1-271,1-1-899,-1 1-449,1-1 2428,0-1 0,2 1 0,0 0 0</inkml:trace>
</inkml:ink>
</file>

<file path=ppt/ink/ink1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5:31.124"/>
    </inkml:context>
    <inkml:brush xml:id="br0">
      <inkml:brushProperty name="width" value="0.08571" units="cm"/>
      <inkml:brushProperty name="height" value="0.08571" units="cm"/>
      <inkml:brushProperty name="color" value="#E71224"/>
    </inkml:brush>
  </inkml:definitions>
  <inkml:trace contextRef="#ctx0" brushRef="#br0">357 1 10681,'-19'11'1979,"0"2"-1529,3 1-91,-2 4 1,-3 3-180,-1 2 90,-2 3 180,-17 24-271,8-7 1,-13 18-180,23-26-180,4-5 91,8-13-181,2-2-180,0 0 0,2-3-1349,0-2 1799,1 0 0,3-6 0,-1 1 0</inkml:trace>
</inkml:ink>
</file>

<file path=ppt/ink/ink1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5:31.299"/>
    </inkml:context>
    <inkml:brush xml:id="br0">
      <inkml:brushProperty name="width" value="0.08571" units="cm"/>
      <inkml:brushProperty name="height" value="0.08571" units="cm"/>
      <inkml:brushProperty name="color" value="#E71224"/>
    </inkml:brush>
  </inkml:definitions>
  <inkml:trace contextRef="#ctx0" brushRef="#br0">0 36 8972,'7'-19'4317,"0"4"-3687,-1 13-360,0 8 0,0 9-90,0 3 0,0-1-91,0 3 1,1 1 0,2 3 90,-1 1-180,1 2 0,1-1-180,-2-2-179,0-1-181,0-2-270,-1-1-89,-1-3-1260,1 0-809,-2-3 2968,1-2 0,-3-5 0,-1-2 0</inkml:trace>
</inkml:ink>
</file>

<file path=ppt/ink/ink1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5:31.864"/>
    </inkml:context>
    <inkml:brush xml:id="br0">
      <inkml:brushProperty name="width" value="0.08571" units="cm"/>
      <inkml:brushProperty name="height" value="0.08571" units="cm"/>
      <inkml:brushProperty name="color" value="#E71224"/>
    </inkml:brush>
  </inkml:definitions>
  <inkml:trace contextRef="#ctx0" brushRef="#br0">1 1 14459,'10'16'899,"-3"1"-629,-5-3-90,-2 2 90,1 2-180,0 0-3302,0 2 3392,0-1-90,0 0-1,0 0 1,-1 0 0,1-1 0,-1-2-90,1-1 3572,-1-1-3392,1 2 90,0-1-540,0 0 0,2-11-179,-1-4 89,2-13-90,-1-1 180,1-5 0,1-2 0,0-3 91,1-3 89,0 2 90,0-1 0,-2 3 0,0 3 0,0 2-90,-1 3 90,-1 2 269,0 0 91,-6 9-270,1 6 90,-3 8-90,3 5 0,2-3 0,1 2 90,1 0-90,1 0 180,1 1-90,1-1 89,1 0 1,1-2 90,0 0-180,1-2 90,1-2-180,0-2 90,1-1-90,2-3 0,0-1-90,1-3 89,0-2-89,1-2 180,2-2-90,-2-1 180,0 0 0,-2 0 0,0 0-90,-2 2 90,0 0-180,1-1 0,-1 1-90,2 3 89,-3 5-89,-1 6 90,-2 8-90,-1-2 90,0 4-180,-1-2 90,1 1-269,-2 1 89,1 0-270,-1 1-90,0-1-269,-1 0-91,0 1-269,0-3-180,-2 1-1440,0-3-1708,0 0 4497,-2 0 0,1-7 0,0-1 0</inkml:trace>
</inkml:ink>
</file>

<file path=ppt/ink/ink1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5:32.088"/>
    </inkml:context>
    <inkml:brush xml:id="br0">
      <inkml:brushProperty name="width" value="0.08571" units="cm"/>
      <inkml:brushProperty name="height" value="0.08571" units="cm"/>
      <inkml:brushProperty name="color" value="#E71224"/>
    </inkml:brush>
  </inkml:definitions>
  <inkml:trace contextRef="#ctx0" brushRef="#br0">66 1 9152,'-20'4'4407,"2"-1"-2608,4 1 270,0 0-1349,16 2-181,3 0-89,18 3 0,7-4-90,7 2-91,7-2-461,4 0 282,3-1-90,2-2-180,2 0-180,1-1-90,-1-1-269,-2-2-181,-1 0-359,-2-1-270,-4-2-1349,-5 0-1980,-4-1 4858,-7 1 0,-2-2 0,-4 0 0</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30.757"/>
    </inkml:context>
    <inkml:brush xml:id="br0">
      <inkml:brushProperty name="width" value="0.1" units="cm"/>
      <inkml:brushProperty name="height" value="0.1" units="cm"/>
    </inkml:brush>
  </inkml:definitions>
  <inkml:trace contextRef="#ctx0" brushRef="#br0">57 0 344 0 0,'-57'10'6016'0'0,"108"-9"-5291"0"0,-16 1-434 0 0,581 15 1947 0 0,123-1-502 0 0,-525-33-462 0 0,-197 12-1667 0 0,-14 4-18 0 0,-22 2-3392 0 0,3 1 1320 0 0,-6 3-647 0 0</inkml:trace>
</inkml:ink>
</file>

<file path=ppt/ink/ink1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5:32.288"/>
    </inkml:context>
    <inkml:brush xml:id="br0">
      <inkml:brushProperty name="width" value="0.08571" units="cm"/>
      <inkml:brushProperty name="height" value="0.08571" units="cm"/>
      <inkml:brushProperty name="color" value="#E71224"/>
    </inkml:brush>
  </inkml:definitions>
  <inkml:trace contextRef="#ctx0" brushRef="#br0">70 0 7892,'-22'10'4318,"3"-1"-3239,4-1 2070,4-1-2250,8 5-89,8-4-91,10 3-269,8-5 90,6 0-181,7-1-89,5-1-90,4-1-90,1-1-180,0-1-90,-3 0-179,-2-2-91,-4-1-3572,-1-1 3213,-3 0-181,-1-2-269,-5 0-90,-2 0-1440,-4-1-1708,-4-1 4497,-2 0 0,-7 3 0,-3 1 0</inkml:trace>
</inkml:ink>
</file>

<file path=ppt/ink/ink1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5:32.780"/>
    </inkml:context>
    <inkml:brush xml:id="br0">
      <inkml:brushProperty name="width" value="0.08571" units="cm"/>
      <inkml:brushProperty name="height" value="0.08571" units="cm"/>
      <inkml:brushProperty name="color" value="#E71224"/>
    </inkml:brush>
  </inkml:definitions>
  <inkml:trace contextRef="#ctx0" brushRef="#br0">0 0 7443,'15'3'0,"0"0"-540,-3-1 180,2 0 360,0 0 0,4 1 0,0-1 0</inkml:trace>
</inkml:ink>
</file>

<file path=ppt/ink/ink1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5:32.922"/>
    </inkml:context>
    <inkml:brush xml:id="br0">
      <inkml:brushProperty name="width" value="0.08571" units="cm"/>
      <inkml:brushProperty name="height" value="0.08571" units="cm"/>
      <inkml:brushProperty name="color" value="#E71224"/>
    </inkml:brush>
  </inkml:definitions>
  <inkml:trace contextRef="#ctx0" brushRef="#br0">0 9 8702,'23'2'-1169,"-2"0"989,-7-4 180,1 0 0,5-2 0,0 0 0</inkml:trace>
</inkml:ink>
</file>

<file path=ppt/ink/ink1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5:33.265"/>
    </inkml:context>
    <inkml:brush xml:id="br0">
      <inkml:brushProperty name="width" value="0.08571" units="cm"/>
      <inkml:brushProperty name="height" value="0.08571" units="cm"/>
      <inkml:brushProperty name="color" value="#E71224"/>
    </inkml:brush>
  </inkml:definitions>
  <inkml:trace contextRef="#ctx0" brushRef="#br0">79 40 11400,'17'-17'2249,"-1"3"-1979,-6 7-90,2 5-90,-3 4 0,0 4-90,-5 6 90,-3 3-90,-1 4 0,-1-2 90,0 0-90,0-3 0,1 0 0,0 1 0,1 1 0,0 1 0,0 1-90,1-1 90,1 1-90,-1-1 0,0-1 0,-1-1 90,1 0 0,-2 3 0,-3-2-90,-1-1 180,-3-3-180,0-7 90,-2-2-90,-2-1-90,0-1-90,-1-1-179,0-1-91,-1-1-270,-1-2-89,0 0-720,1-1-180,0 0 1799,0-1 0,6 3 0,2 0 0</inkml:trace>
</inkml:ink>
</file>

<file path=ppt/ink/ink1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5:33.893"/>
    </inkml:context>
    <inkml:brush xml:id="br0">
      <inkml:brushProperty name="width" value="0.08571" units="cm"/>
      <inkml:brushProperty name="height" value="0.08571" units="cm"/>
      <inkml:brushProperty name="color" value="#E71224"/>
    </inkml:brush>
  </inkml:definitions>
  <inkml:trace contextRef="#ctx0" brushRef="#br0">57 0 7803,'-3'18'2968,"1"3"-2159,0 3-179,-2 7 0,0 10-450,0 5 359,-2 6-89,1 8-1843,0 4 1663,0 4-1,1 2 91,0 21-180,2-21-90,-1 15-542,3-28 542,-1-2 0,1-2 0,-1-2-270,1-4-107,-1-4-162,1-4-990,-1 6 449,1-14-1259,0 3 2249,1-16 0,-1-9 0,0-3 0</inkml:trace>
</inkml:ink>
</file>

<file path=ppt/ink/ink1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5:34.453"/>
    </inkml:context>
    <inkml:brush xml:id="br0">
      <inkml:brushProperty name="width" value="0.08571" units="cm"/>
      <inkml:brushProperty name="height" value="0.08571" units="cm"/>
      <inkml:brushProperty name="color" value="#E71224"/>
    </inkml:brush>
  </inkml:definitions>
  <inkml:trace contextRef="#ctx0" brushRef="#br0">18 256 7892,'-4'-18'3508,"0"0"-2608,0 3-360,1 0-91,1 1-89,2 1-3392,2 0 3212,3-1 270,26-13-270,15 3-180,12-3-211,9 8 211,-10 8 89,8 2-178,5 2 178,4 2-1329,4 1 1330,4 2-90,4 1 1848,4 2-1848,5 1 0,-16 1 0,2 0-604,-18 0 0,0 0 604,25 1 0,-1 1-601,-23-2 0,-4 1 556,3 0 0,0 0 45,0 0 0,0 1-45,1 0 0,-1 0 45,-1 1 0,1 0-45,-1 0 0,-1 0 90,0 0 0,0 1-90,-1 0 0,0 0 45,-2 0 0,3 1-42,21 3 0,1 0 42,-20-2 0,-1 0 0,19 3 0,-3-1 0,-28-3 0,-1 0-614,19 3 1,0 1 613,30 5 0,-34-6 0,0 0-754,22 4 754,-1 0 44,-27-5 0,1 0-134,29 6 197,-32-6 0,0-1-107,18 3-90,-22-4 0,-1 0 0,26 3 90,15 2 1261,-35-6-1261,-6-2 0,-5 0 0,-5-1 0,-3-1 0,-8-1 0,-2-1 1158,5 0-1068,-10-1 775,5 0-775,1-2 493,-10 2-583,7-2 0,-14 2 0,4-1 3482,0 2-3482,0 1 0,-2 2 90,-5 2-1,-1 3 91,2 14-3302,-2 10 3302,-1 6-122,-5 6 302,-2 20 89,-2 14-179,-1 4-90,1-1 0,0-23 0,1-1 270,0 25-360,0-21 90,1 17-90,1-27 0,0-2-1,0-1-538,1 10-1170,0-5 359,0-3-269,0-15 2432,-2-16-903,1-4 0,-1-7 0,0-3 0</inkml:trace>
</inkml:ink>
</file>

<file path=ppt/ink/ink1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5:35.183"/>
    </inkml:context>
    <inkml:brush xml:id="br0">
      <inkml:brushProperty name="width" value="0.08571" units="cm"/>
      <inkml:brushProperty name="height" value="0.08571" units="cm"/>
      <inkml:brushProperty name="color" value="#E71224"/>
    </inkml:brush>
  </inkml:definitions>
  <inkml:trace contextRef="#ctx0" brushRef="#br0">108 1 12120,'-7'19'360,"2"-4"-1767,0-3 1497,1-2 356,1 0-446,-2 5 231,1-4-411,-2 9 90,2-9 1,-1 7 728,0-6-639,-1 3 0,-1-3-90,1-2 90,-1-1 90,1-2-540,-2 1 450,1-2 0,3-3 0,0 0 0</inkml:trace>
</inkml:ink>
</file>

<file path=ppt/ink/ink1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5:35.907"/>
    </inkml:context>
    <inkml:brush xml:id="br0">
      <inkml:brushProperty name="width" value="0.08571" units="cm"/>
      <inkml:brushProperty name="height" value="0.08571" units="cm"/>
      <inkml:brushProperty name="color" value="#E71224"/>
    </inkml:brush>
  </inkml:definitions>
  <inkml:trace contextRef="#ctx0" brushRef="#br0">39 1 11580,'-15'8'1260,"2"1"-901,7 4-89,3 2-180,2 2 0,2-2 0,2 0 0,1-4 0,1 0 0,1-1 0,1 1 0,2-1 0,2 0 0,1 0 0,3 0-90,2-1 90,2-1-90,5 0 90,2-1 0,7 1-90,3 0 90,3 0-90,4 0 0,1 0 0,2 0 89,25 4 1,-16-3-2607,18 2 2517,-21-2 0,0-1 0,4 0 90,-3 1 0,7 0 0,-3-1 0,4 2 0,0-2 0,2 1 90,27 3 0,-20-2 782,22 3-873,-29-5 1,0 1 0,-1 1 0,0-1 0,0 1 0,0 0 0,0 0 180,26 4-3027,-21-2 2937,20 2-90,-31-3-353,-1-2 353,-4 0-1787,4 0 1787,-2 0 0,6 1 659,-1-1-569,3 0-90,2 0-90,0 0 180,29 4 1264,-21-4-1444,20 4 90,-33-5-90,-2 0 69,-4-1-69,0 0 0,23 4 0,-19-3 90,18 2-90,-24-4 0,0 1 0,-1-1 0,-1 1 0,0-1-277,0 0 277,-1 0 0,0 0 0,-1 0 0,0 0 656,-1 0-656,-1 0 415,20 3-415,4 2 0,-1-1 0,-4 0 0,-20-2 0,18 2 2868,-14-1-2868,12 2 90,-18-4-90,-4 0 0,-1 0 554,12 1-554,-11-2 0,24 3 0,-27-5 90,22 0 0,-25-4 540,30-4-361,-30 0 464,25-8-374,-31 2-89,7-4 180,-10 1-90,-1-2-90,-1-1-1,-2-3 1,-1-1 0,-2-2-90,-1-1-90,-2-1 90,-2-1-180,-3 0 411,-1-1-411,-1-10-270,-2 10-90,-1-8-270,-2 11-269,-1 1-360,-1-1-271,-3 2-538,-2 1-1350,-2 0 3418,-13-5 0,1 5 0,-10-4 0</inkml:trace>
</inkml:ink>
</file>

<file path=ppt/ink/ink1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5:44.774"/>
    </inkml:context>
    <inkml:brush xml:id="br0">
      <inkml:brushProperty name="width" value="0.08571" units="cm"/>
      <inkml:brushProperty name="height" value="0.08571" units="cm"/>
      <inkml:brushProperty name="color" value="#E71224"/>
    </inkml:brush>
  </inkml:definitions>
  <inkml:trace contextRef="#ctx0" brushRef="#br0">76 9 9691,'-19'-2'3958,"0"0"-3148,1 0 449,3 0-1169,11 4-180,7 0 0,17 3-90,29 4-360,-4 0-668,26 3 398,-15 0 1,5 1-271,0 1-809,-2 0-539,-4-1 2428,-2 0 0,-5-3 0,-1 1 0</inkml:trace>
</inkml:ink>
</file>

<file path=ppt/ink/ink1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5:47.944"/>
    </inkml:context>
    <inkml:brush xml:id="br0">
      <inkml:brushProperty name="width" value="0.08571" units="cm"/>
      <inkml:brushProperty name="height" value="0.08571" units="cm"/>
      <inkml:brushProperty name="color" value="#E71224"/>
    </inkml:brush>
  </inkml:definitions>
  <inkml:trace contextRef="#ctx0" brushRef="#br0">1 1315 10951,'13'-7'539,"0"0"-449,-5 0 0,0 0 180,0 0-90,0 0-180,-1 0 180,1-1-90,-2 0 0,1 1-90,-1-2 90,0 1-90,1 0-90,0-1 90,1-1 0,0 0 0,1-1 0,0 0 0,0 0 0,-1 1 0,1 0 0,0 0 0,1 1 0,-2-1 90,2 2-90,-1-1 0,0 0 90,1 1 0,-1-1 90,1 0 0,-1 0-180,0 0 89,0-1 1,-1 1-90,0-1 0,0 0 0,0 1 0,-1-1 90,1 1-90,-1 0 0,0-1 0,1 0 90,1 0 90,0-2 0,0 2-90,1 0 0,0-1-90,0 0 180,1 0-90,-1 0 0,0 0-90,1 0 0,0-1 90,0-1-90,-2 3 0,2-3 0,-5 5 90,5-4-90,-5 5 0,4-5-90,-2 1 0,0 1 90,0-3 0,0 2-90,1-3 90,0 1 0,-1-1 90,1 1 0,0 0 0,-1 0-90,1 1 90,-1-1-90,1 2 90,-1 0-90,0 0 0,0 0 0,0 1 90,0-1-90,1 1 0,0-1 179,1 0-179,1 0 0,-2 1 90,-1 2 0,-1 1-90,-1 1 180,0-1-180,0 1 90,0-1-90,0 0 90,0 1 0,3-3-90,-2 2 0,3-4 90,-1 2-90,3-3 0,-3 3 90,2-2-180,-1 2 180,-1 0-90,1 0 0,-4 3 0,1 0 90,-1 0-90,3-3-90,1 0 180,1-2-90,0 1 0,0 0 0,-1 2 0,1-1 90,-1-1-180,1 2 180,-1-1-90,-1 1 0,1 0 0,0 0 0,1 0 90,-1 1 0,1 0 0,-1 0-90,0 0 0,0 0 90,0 0-90,-1 1 0,1-1 0,-1 1 0,-1 0 0,0 0 0,0 1 0,0-2 0,1 0 90,0 0 90,-1 0-1,-1 1-179,1-1 90,0 1-90,1-1 0,-1 1 0,0-1 90,0 1 0,1-1 0,-1 0-719,0 0 629,-1 0 0,-4 4 0,0 0 0</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33.505"/>
    </inkml:context>
    <inkml:brush xml:id="br0">
      <inkml:brushProperty name="width" value="0.1" units="cm"/>
      <inkml:brushProperty name="height" value="0.1" units="cm"/>
    </inkml:brush>
  </inkml:definitions>
  <inkml:trace contextRef="#ctx0" brushRef="#br0">4 13 784 0 0,'-3'-12'6785'0'0,"9"26"-4693"0"0,10 28-958 0 0,-6-11-656 0 0,-2 0 0 0 0,-1 1 0 0 0,-1 0-1 0 0,2 40 1 0 0,-8-45-904 0 0,0 0 1 0 0,-1-1-1 0 0,-6 29 0 0 0,3-36-2833 0 0,0 32 1 0 0,4-42 698 0 0</inkml:trace>
</inkml:ink>
</file>

<file path=ppt/ink/ink1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5:49.618"/>
    </inkml:context>
    <inkml:brush xml:id="br0">
      <inkml:brushProperty name="width" value="0.08571" units="cm"/>
      <inkml:brushProperty name="height" value="0.08571" units="cm"/>
      <inkml:brushProperty name="color" value="#E71224"/>
    </inkml:brush>
  </inkml:definitions>
  <inkml:trace contextRef="#ctx0" brushRef="#br0">1269 47 10321,'10'-16'360,"1"3"-630,-5 5 90,2 3 180,4 2 1979,1 1-1709,-12 3 0,0 0 0,-12 5-180,0 0 449,1 0-539,-15 15 90,13-11 0,-13 10 0,16-12 90,-1 1 0,0 0-90,0 1 0,0-1 90,0 0-90,0 1 89,0-1-89,0 0 0,0 0 90,-5 4-180,4-3 90,-3 2 0,4-3-90,0-1 90,1 0-90,-1 1 90,0-2-90,1 0 0,0 0 0,1 0 90,-1-1 0,-3 3-90,3-2 0,-3 2 0,4-3 90,0 0-90,0 0 0,0-1 0,0 1 0,0 0 0,1-1 90,-5 3-90,4-1 0,-4 1 0,4-2 0,0-1 0,0 1 0,0 0 0,1 0 0,-1 1 0,0-1 0,-1 0 0,1 1 0,-4 2 0,4-2 0,-4 2 0,4-3 0,1 1 0,-1-1 90,0 0-90,1 0 0,0-1 0,-1 2 0,1-1 0,-7 5 90,5-4-180,-5 4 180,6-5-90,0 0 0,0 0 0,0 0 0,0 0 0,0 0 90,0-1-180,0 1 180,0 0-180,-1 0 180,1 0-90,0 0 0,0-1 0,1 1 0,-1-1 0,0 0 0,-2 3 0,-1 0 0,0 0 0,1 0 90,-1 0 0,3-2-90,-2 3 90,2-3 0,-3 3-90,2-2 89,-2 1-89,3-2 90,0 0 0,0 0 0,1-1-90,-2 2 90,2-2 0,-4 3-90,3-1 0,-2 1 90,1-1-90,0 1 0,-3 3 90,0 0 0,-1 4-90,3-5 90,-3 5-90,5-5 90,-3 2-90,0 1 0,1-1 0,0 1 0,0 0 90,0 0-90,1 0 0,0 0 0,0 0 0,1 0 90,0 0-180,1-3 180,0 0-90,2-2 0,-1 2 0,-1 2 0,-2 3 0,-2 3 0,3-2 0,-2 2 90,-2 3 90,4-5-90,-3 4-90,3-7 180,1 0-91,0-1 1,0 0 0,0-1 90,0-1-90,0 0-90,1-2-989,-1 0-3689,0-1-1168,0-7 5846,2-3 0,1-1 0,3-1 0</inkml:trace>
</inkml:ink>
</file>

<file path=ppt/ink/ink1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5:50.862"/>
    </inkml:context>
    <inkml:brush xml:id="br0">
      <inkml:brushProperty name="width" value="0.08571" units="cm"/>
      <inkml:brushProperty name="height" value="0.08571" units="cm"/>
      <inkml:brushProperty name="color" value="#E71224"/>
    </inkml:brush>
  </inkml:definitions>
  <inkml:trace contextRef="#ctx0" brushRef="#br0">0 13 10771,'18'0'809,"-2"0"-629,-3 1 90,0 0-180,5 1 0,-3-1 90,0 0-90,-3 0 0,0 0 0,3 0-90,-1 0 90,2 1-90,0-1 90,1 0-90,1 1 0,0 0 0,0 0 90,1 0-90,0-1 0,0 1 0,0 0 0,0 0 0,0 0 90,0-1-90,-1 0 90,1 0-90,-1 0 179,-1 0-89,0-1 0,0 0 0,-1 0 90,1 0-90,-1-1 0,1 0 0,-1 0 90,0 0 0,0 0-90,1-1 90,-1 0-90,0-1 0,0 1-90,-1 0 89,1 0 91,5-2-180,-5 1 90,4-1-90,-7 2 90,-2 0-90,2-1 90,-1 0-180,2 1-719,-2-1 809,-2 1 0,-4 1 0,-1 0 0</inkml:trace>
</inkml:ink>
</file>

<file path=ppt/ink/ink1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6:00.876"/>
    </inkml:context>
    <inkml:brush xml:id="br0">
      <inkml:brushProperty name="width" value="0.08571" units="cm"/>
      <inkml:brushProperty name="height" value="0.08571" units="cm"/>
      <inkml:brushProperty name="color" value="#E71224"/>
    </inkml:brush>
  </inkml:definitions>
  <inkml:trace contextRef="#ctx0" brushRef="#br0">85 102 7982,'-1'19'1620,"1"-3"-1261,-2-3 1,0 1-180,0 3 0,1-1 0,0 0 0,0-4-90,0 1 90,0 1-91,0 1 91,0 8-90,0-3 0,-1 5-90,2-7 90,-1 0 0,0 1 90,0 0-90,1 0 0,-1 0 0,0 0 0,0 0 0,0 1 0,-1-1 0,1 0 0,-1 1 0,0-2-90,0 9 0,0-7 0,0 6 90,0-9-180,0 0 180,0-1-180,0-1 180,0 0-90,0-1 90,0-1-180,1-1 180,-1 1-90,0-1 89,0 0-89,-1 5 90,1-5-90,-1 9 90,0-6-90,0 5 90,0 0-90,1-2 0,-1-1 0,2-1 180,-1-1 0,2 0 0,-1 1-90,1-1 0,0 1-90,0-1 90,1-1-90,0 0 0,0-1 0,0 1 0,0-2 0,0 1 0,1 0 0,0 0 0,0 0 90,-1 0-90,1-1 0,-1 1 0,1-1 90,1 1 359,-1-2-269,2-1-90,4-4 0,3-3-90,18-4 0,-8 0 0,12-1 0,-16 1 0,-1 0 0,-5 0 0,2 1 0,-1-1 0,1 1 0,0-1 0,6 0 0,-4 1 0,3-1 0,0 1 0,1 0 0,10 0 0,-4 0 0,-3 1 0,-1 0 0,-9 0 0,9 1 0,-9-1 0,5 1 0,-5-1 0,6 2 0,-4-2 0,4 1 0,-5 0 0,1 0 90,-1 0-90,0 0-90,-1-1 90,0 1 90,12 1-90,-9-1-90,9 1 90,-11-1 90,-1-1-90,1 0 0,1 0 0,-1 0 0,1-1 0,5 0 0,-5-1 0,5 0 0,-7 0 0,0 0 0,3 0 0,0-2 0,4 0 0,-1-1 0,-1 0 0,-1-1 0,-1 0 0,0 0 0,-1 0 0,-2 1 0,1-1 0,-1 0 0,0 1 0,-1 1 0,1 0 0,-1 0 0,2 1 0,-3 0 0,1 0 0,0 0 0,0 0 0,0-1 270,0 0 180,0 0-90,-1-1-180,0 0-91,-1-3 1,-2-2-90,-1 0 0,-2-2 90,-1 1-90,0-1 0,0-1 0,-1 0 0,0-1 0,0-1-90,0 0 90,-1-1 0,1 1 0,-1-1 0,1-1 90,0 1-90,0-2 0,-1 1 0,1-2 90,-1 2-90,0-2 0,-1 0 0,1 0 0,-1-2 0,-1-1 0,0 0 0,0-1 0,-1 1 0,1-1 0,-2 1 0,1 1 0,0-1 0,-1 2 0,0-1 0,-1 0 0,0 4 0,0-2 0,1 6 0,-1-2 0,2 3 0,-2-3 0,1-2 0,-1-4 0,0 0 0,0 0 0,1 1 0,0 0 0,0-1 0,0 1 0,1-1 0,1 1-90,0-1 90,0 0 0,0 0 0,1 2 0,-1-1 0,1 1 0,0 0 0,0 0-90,0 0 90,0 0 0,0 1 0,0 0 0,-1 1 0,1 0 0,-1 1 0,0 1 0,-1 1 0,1 1-90,0-1 90,0 2-89,-1-2 89,-3 3-180,-2 4-180,-3 4-180,-2 3-359,0 1-361,-1 1 541,-1 1-2160,2 0 2879,-2 0 0,9-2 0,-1 0 0</inkml:trace>
</inkml:ink>
</file>

<file path=ppt/ink/ink1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6:02.456"/>
    </inkml:context>
    <inkml:brush xml:id="br0">
      <inkml:brushProperty name="width" value="0.08571" units="cm"/>
      <inkml:brushProperty name="height" value="0.08571" units="cm"/>
      <inkml:brushProperty name="color" value="#E71224"/>
    </inkml:brush>
  </inkml:definitions>
  <inkml:trace contextRef="#ctx0" brushRef="#br0">328 1 10681,'-7'9'1259,"4"-8"-1169,-8 30 90,6-16 0,0 3 0,-1 1-90,0 2 90,0 1 0,-1 1-90,1 0 89,-1 0-3481,1 2 3392,-1-1 0,1 2 0,0-1 0,0 3 0,0-2 90,0 2-90,0-3 3302,0 2-3302,2-2 0,-1 0 0,0 1-90,1-1 90,0 1 0,-2 10 0,2-8-90,-1 8 90,2-11-90,-1-1 0,1 1 90,0-1-90,-1 0 89,1 1-89,-1-1 0,1 0 0,-1 0 90,-2 11-90,2-9 0,-2 9 0,2-12 90,0 0-90,0-1 90,0 0 0,0 0 0,0 0-90,0-1 90,1-1-90,-1-1 180,0 8-180,0-5 180,0 5-90,1-8 0,0 0 0,0-1 0,1 1-90,0-1 90,-1 1-90,-1 8 90,0 0 90,-1 8-90,0-8-90,1-3 89,0-8-89,1-1 0,0-1 90,1-1-90,-1-1 0,1-1 0,-2 4 90,2-2-359,-1 2-8996,0-2 9265,0-13 0,1 5 0,1-12 0</inkml:trace>
</inkml:ink>
</file>

<file path=ppt/ink/ink1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6:03.842"/>
    </inkml:context>
    <inkml:brush xml:id="br0">
      <inkml:brushProperty name="width" value="0.08571" units="cm"/>
      <inkml:brushProperty name="height" value="0.08571" units="cm"/>
      <inkml:brushProperty name="color" value="#E71224"/>
    </inkml:brush>
  </inkml:definitions>
  <inkml:trace contextRef="#ctx0" brushRef="#br0">480 42 10861,'-17'-13'1349,"1"0"-1349,18 8 0,3 1-90,7 2 90,1 1-90,-1 0 0,2 0 0,0 1 90,2-1-180,1 1 180,1-1-90,1 1 90,-1 0-90,0 0 0,0 1 1,-1-1 89,-1 0-90,-2 1 90,-1-1 0,-1 1-90,3 0 0,-1 0 0,2-1 90,-3 1-90,0 1 0,-1-1-180,1 1 0,3 1 0,1-1 90,-1 1 1,-1-1-1,-4 0 0,0 1 90,0-1 0,1 1 0,-1-1 90,1 1-90,-2-1 0,1 1 90,-1-1 90,4 1 180,-2 0 90,3 1 269,-3-1-89,0 0-360,-2 0-90,1 1 270,-3 1-91,-2 3 1,-4 3-90,-1 3-90,-1 0 180,0 1-180,-1-2 0,0 1 90,-1 2-3482,1 1 3482,-1 1-180,0 1 179,0 1-89,0 2 90,-1 2-90,1 1 0,-1 0 3392,0 1-3392,-1 1 0,0 1 0,0 2 0,-1 1 0,0 0 0,1 0 90,-2 0-90,1 0 0,0 1 0,-1-2 0,2 0-1,-2 0 1,2-2 0,-2 2-90,1 0 90,-1-2 0,1 0-180,0-3 180,-1 11-90,1-7 0,-1 7 90,2-11-90,0 0 0,0-1 90,1 1 0,-1-1-90,1-1 90,-1 1 0,1 0-90,-1-1 90,1 1 0,-1-1 0,0 10-90,0-8 0,0 6 90,1-10-90,1-1 0,-1 0 90,1 0-90,0 0 0,-1-1 0,1 1 90,0 0-90,-2 7 0,2-5 90,-1 5-90,1-8 90,-1-1 90,0 9-180,1-8 0,-1 6 89,0-8-89,1 0 90,0-2 0,-2 7-90,1-6 90,0 4 0,0-7-90,1-2 90,0 0 0,0 0 0,0-1 180,-1 3 0,-1 0 0,0 2 89,-1-3-179,-1 0 0,-2-3 0,-2 0-180,-3-1 90,1-3-90,-1-1 0,3-2 90,-9 0-90,3 0 0,-7-1 0,3-1 0,-1 0 0,-3-1 90,-2 0-90,-2 0 0,-2-1 90,0 0 0,-3 0 0,1-1-3482,-1 0 3392,2 0 90,1-1-90,2 1 0,2 0 0,2 0 90,1 0-90,0-1 0,3 0 3392,1 0-3392,2 0-90,1-1 90,0 1-90,2-1 90,-1 0-90,-3-1 0,5 1 0,-1-1-270,4 1 90,-1-1-89,1-2 89,-1-1 0,3-2-180,3 1 180,5-4 90,2 3 90,4-2 0,2 3 1,1 1 89,1-1 0,-2 2-90,1 1 90,-2 1 0,0 0 0,0-1 0,1 0-90,0-2 90,0 0 0,0-2 0,0 0 0,-1-1 0,0 1 0,-1 0 0,-1 0-180,0 1 0,-1-1-90,0 1-450,-1 0-629,1-3-540,-1 1 1889,0-2 0,-1 7 0,-2 2 0</inkml:trace>
</inkml:ink>
</file>

<file path=ppt/ink/ink1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6:04.606"/>
    </inkml:context>
    <inkml:brush xml:id="br0">
      <inkml:brushProperty name="width" value="0.08571" units="cm"/>
      <inkml:brushProperty name="height" value="0.08571" units="cm"/>
      <inkml:brushProperty name="color" value="#E71224"/>
    </inkml:brush>
  </inkml:definitions>
  <inkml:trace contextRef="#ctx0" brushRef="#br0">209 0 11221,'8'25'989,"-2"0"-719,-8-2 0,0 4 0,-2 5-1,0 6 1,-2 3 90,-1 6-3302,-4 33 3302,2-15-181,-4 26-1730,3-23 1820,1 1-1075,-1 0 1075,0-1-347,-1-1 438,-4 25-270,4-26 0,-3 18 90,5-33-90,0-2 0,1-1 1678,0-2-1768,1-2 90,1-5-90,0-2 90,1-5 1889,1-2-1890,-1 5 1728,2-10-1907,0 3 93,2-12-1352,1 1-2976,2-4 1087,6-7 3238,-1-7 0,5-12 0,-3-3 0</inkml:trace>
</inkml:ink>
</file>

<file path=ppt/ink/ink1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6:05.142"/>
    </inkml:context>
    <inkml:brush xml:id="br0">
      <inkml:brushProperty name="width" value="0.08571" units="cm"/>
      <inkml:brushProperty name="height" value="0.08571" units="cm"/>
      <inkml:brushProperty name="color" value="#E71224"/>
    </inkml:brush>
  </inkml:definitions>
  <inkml:trace contextRef="#ctx0" brushRef="#br0">67 83 8432,'6'-23'1439,"2"3"-1259,0 9-90,1 3-4161,0 3 4071,2 1 1039,0 0-1039,1 1 90,7 1 0,-3 1 0,4-1-90,-5 2 3392,-1 1-3302,0-1-180,0 1 180,-1 0-90,0 0 0,-1 0 180,-1 1 90,4-1-1,-2 1 1,3 1 0,-3-1 90,0 1 0,-4 1 89,1 5-359,-4 5 90,-3 0 0,-1 5-90,-2-1 90,0 3 0,-1 4 0,-1 4 0,-1 5 0,0 5-90,0 5-1,0 3 1,-1 4-240,1 0 330,0 2-618,-1 1 528,1 1 90,-1 1-180,1-2 182,-2 26-2,1-19-1,-2 18 1,2-26-301,0 0 301,0-1 90,0-2-90,-1-1 90,0-3-90,0-2 0,-1-5 0,0-3 218,0-4-218,-1-4 428,1-2-428,-2-4 2,1-1-92,-2-2 328,0-3-328,1-1 0,-2-3 0,1-2 0,-6 0-90,4-4 0,-4 0-180,0-5-180,3-1 0,-3-2-179,3-1-181,0-2 1,0 1-271,-1-2-179,1 0-2609,-7-2 630,6 1 3148,-6-2 0,4 1 0,0 0 0</inkml:trace>
</inkml:ink>
</file>

<file path=ppt/ink/ink1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6:07.478"/>
    </inkml:context>
    <inkml:brush xml:id="br0">
      <inkml:brushProperty name="width" value="0.08571" units="cm"/>
      <inkml:brushProperty name="height" value="0.08571" units="cm"/>
      <inkml:brushProperty name="color" value="#E71224"/>
    </inkml:brush>
  </inkml:definitions>
  <inkml:trace contextRef="#ctx0" brushRef="#br0">1 0 6903,'8'18'540,"-2"-1"-810,-4-3-180,-2 3-4161,0-2 4611,0 0 0,-1-8 0,1-2 0</inkml:trace>
</inkml:ink>
</file>

<file path=ppt/ink/ink1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6:10.770"/>
    </inkml:context>
    <inkml:brush xml:id="br0">
      <inkml:brushProperty name="width" value="0.08571" units="cm"/>
      <inkml:brushProperty name="height" value="0.08571" units="cm"/>
      <inkml:brushProperty name="color" value="#E71224"/>
    </inkml:brush>
  </inkml:definitions>
  <inkml:trace contextRef="#ctx0" brushRef="#br0">0 1 11490,'21'6'900,"1"-1"-6381,-6-5 5661,5 0 1229,1 0-1049,31 2-360,-18 0 90,22 2-90,-27-2 949,0 1-949,-4 0 0,0 0 0,-2-1 90,0 1-90,-1 0 3392,-2 0-3392,-1-1 90,-1 1-90,0-1-90,-1 0 0,-1 0 0,0-1 1,0 1-91,-1-1 0,-1-1-360,7 0 180,-5-1 0,6 1-89,-6-2-1,-1 1-90,1 0-89,-1 0-541,-1 0 271,-1 0 899,0 1 0,-7 0 0,-1-1 0</inkml:trace>
</inkml:ink>
</file>

<file path=ppt/ink/ink1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6:11.566"/>
    </inkml:context>
    <inkml:brush xml:id="br0">
      <inkml:brushProperty name="width" value="0.08571" units="cm"/>
      <inkml:brushProperty name="height" value="0.08571" units="cm"/>
      <inkml:brushProperty name="color" value="#E71224"/>
    </inkml:brush>
  </inkml:definitions>
  <inkml:trace contextRef="#ctx0" brushRef="#br0">42 21 10141,'-21'-6'3148,"1"0"-3058,20 2-90,1 2-90,12-1 180,2 4-90,5-1 90,3 2-90,6 0 0,3 1 0,6 0 0,2 1-230,5 0 320,0 1-90,0-1-90,1 0 90,-1 0 0,0 0 0,-1-1 0,-4 0 0,-1-1 90,-5 0-90,-2 0 90,-3-1 90,-3-1 0,-3 1 0,-3 0 90,-2-1-91,-3 0 91,-2 0 230,0 1-320,2-2 0,-1 1-360,1-2-1169,-2 1-5307,0-1 6656,-1 1 0,-5-1 0,0 2 0</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33.895"/>
    </inkml:context>
    <inkml:brush xml:id="br0">
      <inkml:brushProperty name="width" value="0.1" units="cm"/>
      <inkml:brushProperty name="height" value="0.1" units="cm"/>
    </inkml:brush>
  </inkml:definitions>
  <inkml:trace contextRef="#ctx0" brushRef="#br0">128 0 584 0 0,'-9'10'1533'0'0,"-1"0"0"0"0,2 0 0 0 0,-13 18-1 0 0,11-11-890 0 0,0 1 1 0 0,-13 29-1 0 0,19-37-571 0 0,-1 2 0 0 0,2-1 1 0 0,-1 0-1 0 0,1 1 0 0 0,1-1 1 0 0,0 1-1 0 0,1 0 1 0 0,0 0-1 0 0,1-1 0 0 0,0 1 1 0 0,1 0-1 0 0,0 0 1 0 0,5 19-1 0 0,-2-22-40 0 0,-1 0 1 0 0,1 0-1 0 0,0-1 1 0 0,1 0-1 0 0,0 0 1 0 0,0 0-1 0 0,1 0 1 0 0,0-1-1 0 0,0 0 0 0 0,0 0 1 0 0,1 0-1 0 0,0-1 1 0 0,1 0-1 0 0,-1-1 1 0 0,1 1-1 0 0,1-2 1 0 0,-1 1-1 0 0,0-1 1 0 0,1 0-1 0 0,0-1 0 0 0,13 4 1 0 0,-20-7-28 0 0,1 1 0 0 0,-1-1 1 0 0,1 1-1 0 0,-1-1 0 0 0,0 0 0 0 0,1 0 0 0 0,-1 0 1 0 0,0 0-1 0 0,1-1 0 0 0,-1 1 0 0 0,1-1 1 0 0,-1 1-1 0 0,0-1 0 0 0,0 0 0 0 0,1 0 0 0 0,-1 0 1 0 0,0 0-1 0 0,0 0 0 0 0,0-1 0 0 0,0 1 1 0 0,0-1-1 0 0,0 1 0 0 0,-1-1 0 0 0,1 1 0 0 0,0-1 1 0 0,-1 0-1 0 0,1 0 0 0 0,-1 0 0 0 0,0 0 1 0 0,0 0-1 0 0,2-3 0 0 0,-2 2-3 0 0,0 0-1 0 0,0 0 1 0 0,0 0-1 0 0,0 0 1 0 0,0-1-1 0 0,-1 1 1 0 0,0 0-1 0 0,1 0 1 0 0,-1 0-1 0 0,0-1 0 0 0,-1 1 1 0 0,1 0-1 0 0,0 0 1 0 0,-1-1-1 0 0,0 1 1 0 0,0 0-1 0 0,0 0 1 0 0,0 0-1 0 0,0 0 1 0 0,-1 0-1 0 0,-2-5 1 0 0,-2 1 9 0 0,0 1 1 0 0,-1-1-1 0 0,0 1 1 0 0,0 0-1 0 0,0 1 1 0 0,0 0-1 0 0,-1 0 1 0 0,0 0-1 0 0,-15-6 0 0 0,12 7-241 0 0,-1 0 0 0 0,1 0 0 0 0,-1 1 0 0 0,1 1-1 0 0,-1 0 1 0 0,-22-1 0 0 0,31 2-30 0 0,0 1-1 0 0,1 0 1 0 0,-1 0 0 0 0,0 0 0 0 0,0 0-1 0 0,1 0 1 0 0,-1 1 0 0 0,0-1 0 0 0,1 1 0 0 0,-1 0-1 0 0,0 0 1 0 0,1 0 0 0 0,-1 0 0 0 0,1 0-1 0 0,-4 3 1 0 0,9 3-2120 0 0</inkml:trace>
</inkml:ink>
</file>

<file path=ppt/ink/ink1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6:06.396"/>
    </inkml:context>
    <inkml:brush xml:id="br0">
      <inkml:brushProperty name="width" value="0.08571" units="cm"/>
      <inkml:brushProperty name="height" value="0.08571" units="cm"/>
      <inkml:brushProperty name="color" value="#E71224"/>
    </inkml:brush>
  </inkml:definitions>
  <inkml:trace contextRef="#ctx0" brushRef="#br0">1 14 6543,'25'-3'360,"0"1"-450,-8-1 90,3 2-90,1-1 0,2 1-270,1 0 181,0 1 179,0 0 0,4 0 0,0-1 0</inkml:trace>
</inkml:ink>
</file>

<file path=ppt/ink/ink1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6:07.229"/>
    </inkml:context>
    <inkml:brush xml:id="br0">
      <inkml:brushProperty name="width" value="0.08571" units="cm"/>
      <inkml:brushProperty name="height" value="0.08571" units="cm"/>
      <inkml:brushProperty name="color" value="#E71224"/>
    </inkml:brush>
  </inkml:definitions>
  <inkml:trace contextRef="#ctx0" brushRef="#br0">1 19 6723,'30'0'630,"1"0"-540,0 0 0,7 0 90,30 0-90,-11-1-4369,22 1 4369,-17-1-90,2 0 431,5 1-431,-1-2-180,1 1-90,0-1-269,-5 1 89,2-1 450,-7-1 0,3 1 0,-5-1 0</inkml:trace>
</inkml:ink>
</file>

<file path=ppt/ink/ink1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6:18.341"/>
    </inkml:context>
    <inkml:brush xml:id="br0">
      <inkml:brushProperty name="width" value="0.08571" units="cm"/>
      <inkml:brushProperty name="height" value="0.08571" units="cm"/>
      <inkml:brushProperty name="color" value="#E71224"/>
    </inkml:brush>
  </inkml:definitions>
  <inkml:trace contextRef="#ctx0" brushRef="#br0">0 0 6903,'17'3'1169,"0"-1"-899,-2 0-90,-1 0 270,7 0-270,0 1-1080,1-1 900,-2 1 0,-13-2 0,-1 0 0</inkml:trace>
</inkml:ink>
</file>

<file path=ppt/ink/ink1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6:24.634"/>
    </inkml:context>
    <inkml:brush xml:id="br0">
      <inkml:brushProperty name="width" value="0.08571" units="cm"/>
      <inkml:brushProperty name="height" value="0.08571" units="cm"/>
      <inkml:brushProperty name="color" value="#E71224"/>
    </inkml:brush>
  </inkml:definitions>
  <inkml:trace contextRef="#ctx0" brushRef="#br0">1 1 11760,'6'4'2789,"-2"-2"-2609,35 4-180,-11-1 90,4 0-90,-1 0 0,1 0-180,0 0-90,-4-1-180,-1 1-180,-4-1-89,-2-2-1080,2 2-1619,-7-1 3418,5 1 0,-14-2 0,1-1 0</inkml:trace>
</inkml:ink>
</file>

<file path=ppt/ink/ink1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6:24.832"/>
    </inkml:context>
    <inkml:brush xml:id="br0">
      <inkml:brushProperty name="width" value="0.08571" units="cm"/>
      <inkml:brushProperty name="height" value="0.08571" units="cm"/>
      <inkml:brushProperty name="color" value="#E71224"/>
    </inkml:brush>
  </inkml:definitions>
  <inkml:trace contextRef="#ctx0" brushRef="#br0">11 1 9242,'-11'7'5397,"15"-1"-5038,15-1 1,12-3-90,-2 0 90,2 1-180,4-1 0,1 1-90,0 0 90,0 0-180,-2 0-90,-3-1-90,-2 1-180,-3 0-180,-3-1-179,-3 0-271,-2 0-269,-3-1-3868,-1 1 5127,0 1 0,-8-2 0,1 1 0</inkml:trace>
</inkml:ink>
</file>

<file path=ppt/ink/ink1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6:12.895"/>
    </inkml:context>
    <inkml:brush xml:id="br0">
      <inkml:brushProperty name="width" value="0.08571" units="cm"/>
      <inkml:brushProperty name="height" value="0.08571" units="cm"/>
      <inkml:brushProperty name="color" value="#E71224"/>
    </inkml:brush>
  </inkml:definitions>
  <inkml:trace contextRef="#ctx0" brushRef="#br0">38 0 11041,'-19'2'4767,"2"-1"-3778,15 3-809,27-1 0,-1 1 0,22 0 0,-16-1-90,4-1 90,2 1-90,4-1 90,0 1-90,0 0 0,-1 0 89,-4-1-89,-2-1 90,-2 1 0,7-2 0,-12 1 0,7-1 0,-15 0-90,-2 1 90,-2-1 0,-1 0 0,2 0-90,0 0-90,1-1-810,0 1-1978,-2 0 2788,0 0 0,-7 0 0,-1 1 0</inkml:trace>
</inkml:ink>
</file>

<file path=ppt/ink/ink1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6:15.361"/>
    </inkml:context>
    <inkml:brush xml:id="br0">
      <inkml:brushProperty name="width" value="0.08571" units="cm"/>
      <inkml:brushProperty name="height" value="0.08571" units="cm"/>
      <inkml:brushProperty name="color" value="#E71224"/>
    </inkml:brush>
  </inkml:definitions>
  <inkml:trace contextRef="#ctx0" brushRef="#br0">31 13 9602,'-16'-6'5127,"2"0"-4588,18 5-359,10 2 0,11 2-90,9 2-3302,-3-2 3392,6 1 0,3 0-97,3 0 97,2 0 0,0 0 0,0-1-91,0-1 181,13 0-180,-15-1 90,6 0-90,-18-1 0,17-3-90,-20 1 90,13-2-90,-24 2 3120,3-1-4020,-6 1-350,5-3 1250,-9 1 0,-2 1 0,-3 1 0</inkml:trace>
</inkml:ink>
</file>

<file path=ppt/ink/ink1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6:16.338"/>
    </inkml:context>
    <inkml:brush xml:id="br0">
      <inkml:brushProperty name="width" value="0.08571" units="cm"/>
      <inkml:brushProperty name="height" value="0.08571" units="cm"/>
      <inkml:brushProperty name="color" value="#E71224"/>
    </inkml:brush>
  </inkml:definitions>
  <inkml:trace contextRef="#ctx0" brushRef="#br0">35 9 9602,'-18'-4'5846,"1"0"-5216,19 4-450,23 2-90,-2 1 90,18 2-90,-19-3 89,2 0-89,0 0 0,1 0 0,-1 0 90,1-1-3572,-1-1 3482,-1 1 0,-1-1 0,-1 0-90,-1-1 0,-1 1 90,-1-1-90,-1 0 3392,-2 0-3302,-1-1-360,-2 1-629,3-1-631,-2 0 1530,2-2 0,-8 2 0,-3 0 0</inkml:trace>
</inkml:ink>
</file>

<file path=ppt/ink/ink1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6:29.050"/>
    </inkml:context>
    <inkml:brush xml:id="br0">
      <inkml:brushProperty name="width" value="0.08571" units="cm"/>
      <inkml:brushProperty name="height" value="0.08571" units="cm"/>
      <inkml:brushProperty name="color" value="#E71224"/>
    </inkml:brush>
  </inkml:definitions>
  <inkml:trace contextRef="#ctx0" brushRef="#br0">17 3 10681,'-1'16'1169,"-1"1"-989,-2-1 0,0-2 0,1 1-90,2-3 90,0 0-90,0 0 90,2 1-90,0-1 89,0 1 1,2 0-90,-1-1 90,0-1-90,1 1 90,0-1 0,0-1 90,0 0 0,2 2-180,2 0 0,1 0-1,1-3 1,-2-3 0,1-1-90,2 0 90,2-1-90,1 0 0,2-1 90,1-1-90,2 1 0,2-2 0,2 1 0,2-1 0,3 0-90,2 1 90,2-1 0,4 0 0,2 0 0,3 0 0,3 1 0,3 0-356,1 0 356,1 1 0,2 0 0,-1 1 90,1 0-180,0-1 90,0 1 0,-1 0 0,0 1 0,-1-1 0,0 0 0,0 0 0,20 2-90,5 1 180,0-2-180,-5 1 180,-21-3-180,0 0 180,0 0-180,0 0 180,0 0-180,0-1 180,0 1-1639,0-1 1639,1 1-180,-2-1-195,1 0 285,0 0 90,-1 0-180,0 0 90,-2 0 0,-1 0 0,-3 0 0,-2-1 0,0 0 0,-2 1 90,0-1-90,13 0-90,-13 0 180,10 0-2876,-17-1 2876,0 0-180,-1 0 783,1 0-783,0 1 180,0-1-180,2 1 237,1-2-147,2 2 0,0-1 0,0 1 90,-1 0-90,-2 0-1,0 0 1,13 1 0,-12-1 90,12 0 2843,-15 0-2843,1 0-2627,-1-1 2627,0 1-2190,1-1 2100,0 0 1,-1 0-1,14-1 0,-10 1 0,9-1 0,-11 1 0,1-1 2178,1 1-2178,1-1 3392,0 0-3392,0 1 0,0-1-90,0 0 90,0 0 0,0 0 0,15-1 0,-14 1 0,11-1 0,-18 1 0,0 0 0,0-1 0,0 0 90,0 1-180,-1-1 180,-1 1-180,0-1 90,0 0 0,0 0 0,0 0 0,-1-1 0,1 1 0,0 0-90,-1-1 90,1 0 0,-2 1 0,2-1 0,8 0 0,-7 1 0,6 0 0,-12 0 0,-1 1 0,0 0-90,-1-1 90,1 0 0,-1 1 0,0-1 0,8 0 0,-7 0 0,6 0 0,-9 0 0,0 0 0,0 0 0,-1-1 0,-1 1 0,1 0 0,-2 0 0,1-1 0,-1 1 0,0 0 0,-2 0 0,0 0 0,5-1-90,2 0 90,-1 0 0,-1 1 0,-6 0 0,0 1 0,1 0 0,4-1 0,1 0 0,4 0 0,-2 1 90,-2-2 270,-1 0-90,-2-1-90,0-3-90,-2-1-90,-1-4 90,-4 2 90,0-2-90,-2 0 90,-1 2-90,0-2 0,-1 2-90,0 1 89,1-6-89,-2 3 90,2-3-90,-1-2 180,-1 5 90,1-5-180,0 2 0,-2 3 0,2-8 0,-1 5-90,-1-2-180,1 3-2428,-1-1-4858,-1 2 7466,-5 6 0,3 1 0,-4 7 0</inkml:trace>
</inkml:ink>
</file>

<file path=ppt/ink/ink1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6:30.118"/>
    </inkml:context>
    <inkml:brush xml:id="br0">
      <inkml:brushProperty name="width" value="0.08571" units="cm"/>
      <inkml:brushProperty name="height" value="0.08571" units="cm"/>
      <inkml:brushProperty name="color" value="#E71224"/>
    </inkml:brush>
  </inkml:definitions>
  <inkml:trace contextRef="#ctx0" brushRef="#br0">149 1 10411,'-2'22'1259,"-1"0"-899,2-3 0,-1 3-90,0 4 0,-1 4-1,0 1 1,0 4-90,-1 1 90,-2 16-90,2-9-90,-3 10-90,2-14 90,0-3-90,-1-1 90,-1 0-90,0-2 90,0 1-180,0-2-90,-3 11-180,2-12 0,-1 7-179,2-16-811,-1 4 451,3-7-2429,-2 1 3328,2-7 0,2-7 0,1-1 0</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34.317"/>
    </inkml:context>
    <inkml:brush xml:id="br0">
      <inkml:brushProperty name="width" value="0.1" units="cm"/>
      <inkml:brushProperty name="height" value="0.1" units="cm"/>
    </inkml:brush>
  </inkml:definitions>
  <inkml:trace contextRef="#ctx0" brushRef="#br0">402 0 964 0 0,'0'0'4043'0'0,"-8"6"-2709"0"0,-35 22 4 0 0,-60 53 1 0 0,18-13-2312 0 0,68-56-1005 0 0,-38 21-1 0 0,39-27 295 0 0</inkml:trace>
  <inkml:trace contextRef="#ctx0" brushRef="#br0" timeOffset="1">0 71 744 0 0,'1'-1'310'0'0,"0"-1"0"0"0,0 0-1 0 0,1 1 1 0 0,-1-1 0 0 0,0 1-1 0 0,0-1 1 0 0,1 1 0 0 0,-1 0 0 0 0,1-1-1 0 0,-1 1 1 0 0,1 0 0 0 0,0 0-1 0 0,-1 0 1 0 0,1 0 0 0 0,0 0 0 0 0,0 1-1 0 0,0-1 1 0 0,-1 0 0 0 0,1 1-1 0 0,4-1 1 0 0,-2 1-26 0 0,1 0-1 0 0,-1 0 0 0 0,1 0 0 0 0,-1 1 1 0 0,0 0-1 0 0,1 0 0 0 0,-1 0 1 0 0,0 0-1 0 0,5 3 0 0 0,7 3 183 0 0,-1 1 0 0 0,1 1-1 0 0,23 19 1 0 0,-16-9-247 0 0,0 1-1 0 0,-1 1 1 0 0,-1 1 0 0 0,23 32 0 0 0,4 12-2767 0 0,-21-30-717 0 0,-21-28 1060 0 0,1-2-411 0 0</inkml:trace>
</inkml:ink>
</file>

<file path=ppt/ink/ink1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6:31.839"/>
    </inkml:context>
    <inkml:brush xml:id="br0">
      <inkml:brushProperty name="width" value="0.08571" units="cm"/>
      <inkml:brushProperty name="height" value="0.08571" units="cm"/>
      <inkml:brushProperty name="color" value="#E71224"/>
    </inkml:brush>
  </inkml:definitions>
  <inkml:trace contextRef="#ctx0" brushRef="#br0">0 164 7623,'16'-17'899,"-4"4"-809,-1 5 0,0 2 0,0 1 0,1-1-90,1 1 180,1 0-180,0 1 180,8-2-90,-5 2 0,14-4 0,-12 5 0,5-2-90,-6 2 89,-1 0-89,0 1 0,1 0 0,0 0 180,0 1-180,0 0 90,1 0-90,0 0 90,1-1-90,0 2 180,2-2-180,0 1 180,2 0-90,1-1 90,0 1-90,1-1 0,1 0-90,0 1 180,3-1-180,1 0 90,2 0-90,1 0 180,0 0-180,0 0 179,14-1-89,-11 1-90,10-1 90,-16 1-90,11-1 0,-11 1 90,23-1-3482,-22 1 3392,11 0 0,-12 1-259,31 0 259,-21 0 0,22 0 0,-31 1 0,2 0 0,-2 0 0,2 0 0,31 2-90,-23-2 180,23 2-180,-31-1 180,-1 0-180,1 0 180,-1 1-180,1-1 180,-1 1-90,1 1-2182,16 0 2182,-11 0 0,12 2 2057,-15-2-2057,3 1 0,1-1 0,2 1 90,-2 0-90,-1-1 0,-2 0 0,0-1 0,0 1 0,-1-1 0,0-1 254,-1 1-254,15-1 0,-14 0 0,10 1 0,-17-2 0,0 1-90,0-1 180,0 1-90,0-1-90,1 0 3418,-1 0-3328,1 0 194,-1 0-194,3 0 0,-2 0 0,3 0-90,-3 0 90,2 0 0,-2 0 0,0 1 0,-1-1 0,1 0 0,-2 0 0,1 1 0,-1-1 0,-1 1 0,10-1 0,-8 1 0,7-1 0,-13 1 0,-1-1 0,-1 0 0,2 1 0,0-1-90,1 1 90,1 0 0,0 0 0,1 0 0,0 0 0,0 1 0,0-1 0,2 1 0,-1 0 90,1-1-90,1 1 90,-2-1-90,2 1 90,-2 0-90,13 0 90,-10-1-90,8 1 90,-13-1-90,0 0 0,-1 0 0,1-1 90,-1 1-90,0 0 0,0-1 90,0 0-90,0 1 90,12-1 0,-7 0-90,8 0 0,-11 1 90,0-1-90,1 0 90,0 1 0,1 0 0,0 0-90,2 1 180,15 0-180,-11 0 90,11 0-90,-15 0 90,-1 0-90,0 0 0,-3-1 89,1 0-89,-1 0 90,-1 0-90,1-1 0,-1 1 0,-1 0 90,0-1-90,8 1 0,-7 0 0,7-2 0,-11 1 90,1 0-90,-1 0-90,0 1 90,-1-1 0,1 0-90,9 0 180,-7 0-90,7 1 0,-10-1 0,1 0 0,0 1-90,0-1 180,2 1-180,0 0 180,1-1-180,0 1 90,1 0-90,1 0 90,0 1-89,0-1 89,1 1 0,-1 0 0,1 0 0,-1 0-90,11 1 90,-9 0 0,7 0 0,-11-2-90,-2 1 90,14-1 0,-13 0 0,10 0 0,-11-1-90,-8-1 180,5 0-90,-3 1 0,-1-2 0,3 0 90,-3 1-90,0-1 90,-2 0-90,0 1 179,0 0 91,-4 5-180,-1 4 0,-5 6-90,-2 4 90,-1-2-90,0 2 90,-1 5 90,0-3-180,0 7 90,-1-5-90,0 2 90,-1 1-90,1 1 90,-3 13 0,1-7-90,-1 11 0,0-10 0,0 0 90,0 0-180,-1 1 180,1 0-90,-1 1 0,0 0 0,-3 15 0,2-11 90,-1 11-180,2-16 180,0 0-180,0-1 180,0-1-90,0-1 0,0-1 0,0-2 0,0-2 0,1-2 90,0-1-180,-1-1 180,1-1-90,0-1 0,-1-2 90,2-1-90,-1-1 0,0-1 89,-1 3-89,2-5 0,-2 3 90,2-4-90,0-1 90,0 2-90,-2-1 0,0-4 0,-4-1 90,-4-5-180,1-1 90,-3-2 0,-5-1-90,3 1 90,-7-1 0,4 0 90,-1 0-180,-3 0 90,0 0 90,-2 1-90,0 0 0,-1 0 0,0 0 0,-2 0 0,1 0 0,-2 1 0,0 0 0,-1 0 0,-1 1 0,-1-1 0,0 0 0,-1 1 0,0-1 0,0 0 0,0 0 0,0 0 0,0 1 0,0-1 0,1 1-90,0-1 90,0 1 0,2 1 0,-14 0 0,13 0 0,-9 1-90,15 0 90,0-1 90,1 1-90,-10 1-90,9-1 90,-7 1-89,11-1 89,2 0-90,0-1 90,1 1-90,1 0 0,0-1 0,-1 0 0,1-1 90,0 1-90,0 0 0,-1-1 90,1 0-270,-9 0 180,6 0 0,-6 0 0,9 0 0,1-1 0,0 2 0,0-2-90,1 1-89,-1 0-1,1-1-90,-1 1-450,-7-1 361,4 0-91,-5 1 0,7-1 1,0 0-91,-1 0-359,1 0 539,-1-1 450,-2-1 0,-1 0 0,-3 0 0</inkml:trace>
</inkml:ink>
</file>

<file path=ppt/ink/ink1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6:32.792"/>
    </inkml:context>
    <inkml:brush xml:id="br0">
      <inkml:brushProperty name="width" value="0.08571" units="cm"/>
      <inkml:brushProperty name="height" value="0.08571" units="cm"/>
      <inkml:brushProperty name="color" value="#E71224"/>
    </inkml:brush>
  </inkml:definitions>
  <inkml:trace contextRef="#ctx0" brushRef="#br0">56 1 8882,'5'23'540,"0"-1"-1050,-3-9 690,0 3 224,0 2 316,0 23-540,-1-13 89,1 18 1,-2-9-180,-1-7 294,-1 7-114,0-11 0,0-1 0,-3 11 351,1-9-441,-1 7-1,0-11 1,0-2-90,1-2 0,-1-1 90,0-1-180,1-2 90,0 0 0,0-3-90,0 0 180,1-2 270,-1 3 89,0-2 271,0 3-540,3-2-180,7-3 0,2-3 0,7-2 0,1-2-90,4-1 0,2 1 90,7-1-90,1 1 0,5-1-90,1 1-90,1 0-90,0-1 0,1 1-180,-1-1-719,17 0-360,-2 1 359,-1-2-629,-9 0-539,-17 0 2338,-3-1 0,1-1 0,-2 1 0</inkml:trace>
</inkml:ink>
</file>

<file path=ppt/ink/ink1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6:43.815"/>
    </inkml:context>
    <inkml:brush xml:id="br0">
      <inkml:brushProperty name="width" value="0.08571" units="cm"/>
      <inkml:brushProperty name="height" value="0.08571" units="cm"/>
      <inkml:brushProperty name="color" value="#E71224"/>
    </inkml:brush>
  </inkml:definitions>
  <inkml:trace contextRef="#ctx0" brushRef="#br0">3128 1364 10231,'20'1'990,"-1"-1"-6381,-4 1 5841,12 0-270,-3 1 772,12 1-772,-5 0 603,2 1-693,5 0 0,1 2 0,5 0-90,1 0-74,0 2 74,1-1 0,0 1 0,1 0 90,0 0-90,1 0 0,2 0 0,0 0 2293,6 1-2293,2-1 0,5 1 0,2-2 0,1-1 0,1-1-2202,2 0 2202,-19-3 0,1-1 0,29 0 15,-28 0 1,0-2-16,22-1-90,2-2 180,-1-1-180,-1-1 180,-1-1-381,-2-1 291,-2-1 0,-3-1 90,-3 0-90,-2 0 90,17-4-90,-20 2 89,13-2-89,-24 4 60,0-1-60,-1 0 2510,-1-1-2510,-3-1 0,0-1 90,13-10-180,-14 5 90,11-8 0,-19 6 0,-1-1 0,-1-2 0,-2 0 0,-1-2 422,-2-1-422,7-12-90,-5-1 90,-1-1 0,-8 4 0,-10 14 702,-2-2-792,-2 3 648,-3 0-558,-1-2 0,-2 2 0,-2-1 366,-3 1-366,-2-2 0,-2 1 0,-3-2-89,-3 0 89,-4 1 0,-3-2 0,-4 1 0,-19-11 0,5 8 0,-16-8-586,11 11 586,-2 0 90,-1 1-90,-2 2 0,0 1 0,0 1 0,2 3-90,0 1 90,2 3 90,0 1-90,-2 0 0,1 2 0,-2 1 0,-22-4 0,15 5 0,-17-3 0,21 4 0,0 1 0,-1 0 90,-1 1-180,0 0 90,-1 1-90,0-1 90,1 2 0,0-1 0,0 1 0,2-1 0,0 1-90,1 0 180,1 0-180,1 0 90,0 1 0,1-1 0,1 0 0,-19 1 0,16 0 0,-12-1-90,21 2 90,3 0 0,0 1 0,0-1-90,-1 0 0,1 1 0,0 0-19,0 0-71,1 0 1,-17 0 179,14 0-180,-12 1 90,18-1 0,0 1 0,0-1-90,0 0 180,0-1-90,1 2 90,-1-2-90,1 2 90,0-1-90,-1 1 90,2-1-90,-1 1 180,1 0-180,0 0 180,0 1-180,0-1 90,-15 3 0,11-2-90,-11 1 180,15-1-180,0 1 90,1-1-90,0 0 180,0 1-180,1-1 669,-1 1-669,-13 0 0,10 0 90,-9 0-90,12 0 1,3-2-91,-4 1 180,1 0-65,1-1-115,-15 0 180,11 0-180,-12-1 180,13-1-90,1 0 90,-1 0-90,0 0 90,0-2-90,0 1 180,0-1-180,0 1 90,0-1 0,0 0 0,0 0 0,0-1 0,0 0-90,1 0 180,-1-1-90,0 1 0,-1-1 0,1 0 0,0 0 0,0 0 0,1-1 0,-13-3 0,10 2-90,-10-2 90,15 3 0,1-1 0,0 2-89,0-1 89,1 0 0,1 0 0,1 0 0,1 1 0,2 0 0,-1 0 0,2 0 0,-1 0 0,1 0 0,-1 1 0,2-1 0,-12 0 0,8 0 0,-8 0 0,10 2 0,0 0 0,-8-1 0,7 2 0,-8-1 0,-3 0 89,9 1-89,-8-1 90,12 2-90,2-1 90,1 1 0,0 0-90,0 0 0,-2 0 0,1 0 90,-1 1-90,1 0 90,-8 0-90,8 1 0,-7 1 0,10-1 0,0 2 0,0 0 0,1 1 90,0 0-90,0 1 90,1 2-90,-1 0 0,0 1 0,1 1 90,1 1 0,0 2 90,1 2-90,1 1 90,-1 3-180,1 3 180,0 2-180,1 2 180,1 2-180,0 1 89,1 2 1,1 0-90,1 2 180,-1 15-90,4-10 0,-1 11 90,5-15-90,2 1 90,0-2 0,3 3 90,1-1-90,2 2 0,2 0 449,15 30-449,-7-24 90,21 32-180,-15-42 180,26 24-270,-22-30 90,24 16 0,-27-28-90,18 7 0,-19-12-3662,24 5 3482,-23-8-191,12 1 11,-19-5-89,0 0-91,-2 0-899,4-1-2339,-5 0 3778,8 1 0,-14-2 0,1 1 0</inkml:trace>
</inkml:ink>
</file>

<file path=ppt/ink/ink1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6:44.931"/>
    </inkml:context>
    <inkml:brush xml:id="br0">
      <inkml:brushProperty name="width" value="0.08571" units="cm"/>
      <inkml:brushProperty name="height" value="0.08571" units="cm"/>
      <inkml:brushProperty name="color" value="#E71224"/>
    </inkml:brush>
  </inkml:definitions>
  <inkml:trace contextRef="#ctx0" brushRef="#br0">1008 35 7173,'-17'-8'809,"-1"2"-809,5 2 90,-1 0 0,3 2-90,-2 0 90,-2 0-90,-1 0 0,-1 0 0,-2 1 0,-1 0 90,-1 0-90,-1 1 0,-1 0 0,-1 1 0,-1 0 0,0 0 0,1 1 90,-1 0-90,1 2 0,0-1-3392,0 1 3392,1 0 0,0 1 0,1 1 0,0 0 0,1 1 0,1 1-90,-7 5 90,7-2 0,-6 4 0,10-3 3302,0 0-3392,1 1 90,1 1-90,1 0 90,0 1 0,1 1-90,1 0 90,0 1 0,1 1 0,-4 10 0,4-5 90,-3 9-90,4-8 0,-1 2 0,1 0 0,0 2 90,-1 0-90,1 0 0,0 1 90,0 0-90,0 0 90,-4 13-90,2-9 0,-2 9 0,3-12 0,1-1 0,1 0 90,-1-1-90,1-2 90,1 0-180,1-2 180,0-1-90,1-1-90,1-1 90,-1 6 90,3-7-90,0 3 90,2-8 0,1-1-90,0-1 0,2 0-90,1-2-90,2 1 0,0-1-90,2-1 1,1 0-1,1-1-270,2-1 90,0-1 450,2 0 0,3 0 0,2 0 0</inkml:trace>
</inkml:ink>
</file>

<file path=ppt/ink/ink1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6:45.197"/>
    </inkml:context>
    <inkml:brush xml:id="br0">
      <inkml:brushProperty name="width" value="0.08571" units="cm"/>
      <inkml:brushProperty name="height" value="0.08571" units="cm"/>
      <inkml:brushProperty name="color" value="#E71224"/>
    </inkml:brush>
  </inkml:definitions>
  <inkml:trace contextRef="#ctx0" brushRef="#br0">0 1 6004,'34'5'1079,"22"3"-809,-13-1 0,18 2-1,-17-2-558,0 0 649,2 0 0,0 1 90,1 0-91,3 0-89,0 1-564,5 0 564,-3 0-180,3 1-90,-5-2 90,0 1-180,-1-1 0,0 0 90,-1-1-90,0 0 0,0 0 0,0 0 0,0-1 90,1 1-90,-1-1 90,2 0 0,-1-1 0,1 0-90,-1 0 90,1-1 0,0-1 0,1 0 0,22-1 0,-16-1 0,18 1 0,-22-1 248,0-1-248,25 2 0,-19 0-464,18 0 464,-25 1 0,-2-1 90,-1 1-180,-3 0 0,-4 0-180,-2 0 0,-5 0 256,-2-1-345,-3 1 399,-3 0-849,-4-1 809,-2 0 0,-3-1 0,-7 0 0,-4-1 0</inkml:trace>
</inkml:ink>
</file>

<file path=ppt/ink/ink1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8:35.319"/>
    </inkml:context>
    <inkml:brush xml:id="br0">
      <inkml:brushProperty name="width" value="0.08571" units="cm"/>
      <inkml:brushProperty name="height" value="0.08571" units="cm"/>
      <inkml:brushProperty name="color" value="#E71224"/>
    </inkml:brush>
  </inkml:definitions>
  <inkml:trace contextRef="#ctx0" brushRef="#br0">1 28 11940,'14'-18'3868,"-3"9"-9259,-4 17 5661,-2 6 1319,-1 5-1229,2 9 589,-2-4-859,3 12 0,-1-9-270,3 18-269,-1-11-181,2 13-539,-2-15-181,0 1-1078,0 0-1170,0 0 3598,-1 0 0,1 0 0,0-1 0</inkml:trace>
</inkml:ink>
</file>

<file path=ppt/ink/ink1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8:35.804"/>
    </inkml:context>
    <inkml:brush xml:id="br0">
      <inkml:brushProperty name="width" value="0.08571" units="cm"/>
      <inkml:brushProperty name="height" value="0.08571" units="cm"/>
      <inkml:brushProperty name="color" value="#E71224"/>
    </inkml:brush>
  </inkml:definitions>
  <inkml:trace contextRef="#ctx0" brushRef="#br0">0 0 14819,'6'20'179,"0"-1"-269,-2-5-359,-1 1-271,0 2-89,0 1-451,-1 1-629,-2 1-539,-1 1 2428,-2 1 0,-4 3 0,-1 1 0</inkml:trace>
</inkml:ink>
</file>

<file path=ppt/ink/ink1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5:52.601"/>
    </inkml:context>
    <inkml:brush xml:id="br0">
      <inkml:brushProperty name="width" value="0.08571" units="cm"/>
      <inkml:brushProperty name="height" value="0.08571" units="cm"/>
      <inkml:brushProperty name="color" value="#E71224"/>
    </inkml:brush>
  </inkml:definitions>
  <inkml:trace contextRef="#ctx0" brushRef="#br0">954 254 8882,'1'-25'2518,"-1"2"-2158,-5 5-270,0 4 180,-1 1-180,2 5 90,-2-1-180,0 1 180,-2-1-270,0 1 270,-2 0-270,0 0 180,-8-2 0,3 3-180,-6-2 180,4 4-90,-12-2-90,5 3 180,-21-1-90,15 5 90,-24 2-90,20 1 90,-27 6-90,26-1 90,-12 4-90,16-1 90,-13 8-90,11-3 89,-21 16-89,24-11 90,-18 19 0,21-14-90,-12 17 90,18-16 90,-10 19-180,15-18 90,-9 22 0,13-19 90,-6 21-90,10-20 270,-3 20-270,7-21-3302,0 8 3302,3-10-1,1 0 1,1 1 90,3 16 0,1-10-90,1 11 90,0-14-90,0-1 0,1 1 180,5 12-180,-2-10 90,5 12 0,-3-15 359,14 27-269,-7-21 3482,18 26-3572,-17-36 0,5 5 0,-5-12 269,12 6-179,-6-8-90,21 11 0,-4-11 0,1 0-180,0-6 180,2-4 0,-10-4-90,12-1 0,-15-3 0,1-3-1,-1-1 1,1-2 0,1-2-90,0-2 90,1-4 0,14-11 0,-12 3-3392,10-10 3302,-16 3 180,1-4-570,-1-4 480,0-6 0,-1-2 0,-3-2 0,-3-2-90,-3 2 0,-4 0-69,-2 1 69,-3-1 0,-3-1 0,-3-2-90,-3 0 180,-3-1-180,-9-29-950,-2 16 950,-8-21-449,-14-2 89,4 22-180,-13-16-179,7 28 940,-24-14-3279,-12 6 719,-2 4-2244,-2 15 4673,21 20 0,3 6 0,0 2 0</inkml:trace>
</inkml:ink>
</file>

<file path=ppt/ink/ink1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5:53.697"/>
    </inkml:context>
    <inkml:brush xml:id="br0">
      <inkml:brushProperty name="width" value="0.08571" units="cm"/>
      <inkml:brushProperty name="height" value="0.08571" units="cm"/>
      <inkml:brushProperty name="color" value="#E71224"/>
    </inkml:brush>
  </inkml:definitions>
  <inkml:trace contextRef="#ctx0" brushRef="#br0">584 193 9871,'3'-24'2609,"-1"2"-2159,-3 7-270,-1 2-1,-1 1 1,-2 3-180,-4 2 90,-5 5-90,0 3 90,-3 2 0,0 2-90,0 3 90,-5 2 0,-1 2 0,-4 3 0,-1 3 0,-3 2 0,1 2 0,0 2 0,1 1 90,0 1 0,2 2-629,1 0 539,1 1 90,2 0 0,1 2 0,2 0-17,1 1 17,3-1 0,2 0 0,2 0-90,1-1 90,3 1 0,1 0 0,1 1 0,3-2 0,1 0-1,2-1 1,2 1 0,2 1 90,3 1-2939,2 1 2939,3-1-90,3 1 121,10 10-121,-3-12-90,7 6 90,-6-14-90,-2-3 90,3-1 0,0-3-1,0-1 1,2-1 0,0-2-180,0-1 180,2-3 0,9-1-90,-7-3 90,6-2-90,-8-5 3447,-1-2-3357,2-4 195,0-1-286,0-4 271,12-11 0,-9 2-3572,7-9 3482,-14 6-2269,-2-1 2179,-3-3-355,-1-2 265,-3-1 90,-3-2-90,-2 1-53,-2-17 53,-5 12-90,-2-13 90,-4 13 0,-2-2 1842,-3-2-1842,-2 1-180,-2-1 90,-3 1 2844,-2 0-3114,-2 1-90,-3-2-719,-16-18 359,5 13 60,-9-9-330,11 21-269,1 5-77,-2 2-643,-2 2-989,0 2-1890,-2 3 4858,-1 2 0,-2 3 0,1 2 0</inkml:trace>
</inkml:ink>
</file>

<file path=ppt/ink/ink1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9:20.215"/>
    </inkml:context>
    <inkml:brush xml:id="br0">
      <inkml:brushProperty name="width" value="0.08571" units="cm"/>
      <inkml:brushProperty name="height" value="0.08571" units="cm"/>
      <inkml:brushProperty name="color" value="#E71224"/>
    </inkml:brush>
  </inkml:definitions>
  <inkml:trace contextRef="#ctx0" brushRef="#br0">1993 525 7533,'-10'-19'1349,"-6"-9"-1169,7 13-5481,-11-15 5481,9 14 1122,-10-12-1122,6 11 832,-5-7-922,3 7 0,-1 0-90,-2-1 90,-4-1-90,-1 0 90,-4-1-90,-17-8 0,9 7 0,-15-6 0,12 9 90,-5-2-90,-2 2 0,-2 0-90,-3 1 180,5 3-90,-5 1 0,-18-2 2622,16 5-2622,-16-1 180,21 6-180,0 3 90,-1 2 0,1 2 563,-1 2-473,-24 9-90,15 0-1934,-18 7 1844,23-1 179,-20 12-19,19-5 20,-30 21-180,41-18 295,-9 10-295,20-11 90,-7 15-90,10-8 90,-15 27 0,22-24 0,-4 14-90,12-14 90,-2 21 0,7-13 269,-2 52-179,10-45-788,2 28 698,6-34 0,8 21 0,1-12-574,0-7 0,3 0 484,7 12 90,12 19 16,-9-26-16,17 24 0,-9-19 45,4 1 0,2-1-171,4 2 81,-10-14 0,1-2 626,5 2-581,-1-7 0,2 0 0,14 11-90,-12-13 0,0-2 90,7 0-90,3-3 0,1-2 180,30 9-90,-18-12-751,21 7 751,-25-16 0,0 0 0,1-3-90,1-1 90,0-3-90,0-2 90,0-1-90,0-3 0,-4-3-635,26-2 635,-21-4 0,21-3 0,-24-1 0,-1-3-199,-1-2 199,26-10 90,6-7-45,-36 8 0,2-2 45,-2-2 0,-3-1 90,31-17 344,-12 0-344,-27 11-90,-3 1 420,-3-2-330,-5 2-90,-3 1 90,-5 0 2496,-2 0-2586,-3-1 90,-3-1-180,-2 0 706,-3-2-526,0-14-180,-6 11 90,0-12-90,-7 14 0,-1-2 90,-4-22-180,-2 13 839,-5-18-749,0 20 0,-13-23 0,3 14 0,-12-18 0,3 21 0,-4 0 384,-3 1-384,-5 0-728,-3 2 728,-4 1-180,-26-17 90,16 17-90,-20-11-629,-2 7 269,19 16-89,-18-7-181,26 19-899,-18 0-2359,17 8 1909,-11 1-630,22 9 2810,-1 4 0,2 1 0,-2 3 0</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34.725"/>
    </inkml:context>
    <inkml:brush xml:id="br0">
      <inkml:brushProperty name="width" value="0.1" units="cm"/>
      <inkml:brushProperty name="height" value="0.1" units="cm"/>
    </inkml:brush>
  </inkml:definitions>
  <inkml:trace contextRef="#ctx0" brushRef="#br0">7 11 528 0 0,'6'-8'3776'0'0,"-6"7"-3554"0"0,1 1 0 0 0,0 0 0 0 0,-1 0 0 0 0,1 0 1 0 0,-1-1-1 0 0,1 1 0 0 0,-1 0 0 0 0,1 0 0 0 0,0 0 0 0 0,-1 0 0 0 0,1 0 0 0 0,-1 0 0 0 0,2 0 1 0 0,-2 2-27 0 0,1-1 0 0 0,0 1 1 0 0,-1 0-1 0 0,0 0 0 0 0,1 0 0 0 0,-1 0 1 0 0,0-1-1 0 0,0 1 0 0 0,0 0 1 0 0,0 3-1 0 0,-7 198 2393 0 0,-9-68-9212 0 0,14-120 3488 0 0</inkml:trace>
</inkml:ink>
</file>

<file path=ppt/ink/ink1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5:57.307"/>
    </inkml:context>
    <inkml:brush xml:id="br0">
      <inkml:brushProperty name="width" value="0.08571" units="cm"/>
      <inkml:brushProperty name="height" value="0.08571" units="cm"/>
    </inkml:brush>
  </inkml:definitions>
  <inkml:trace contextRef="#ctx0" brushRef="#br0">43 946 8252,'-16'-13'2339,"2"1"-1709,7 4-451,1-1-89,8 1-90,3 2 90,9 3-90,2 2 0,5 2 0,6 0 0,7 3-3392,6 0 3392,6 2 0,3 1-335,6 1 335,5 1 0,6 0 0,2 0 0,0 1 0,1-1 0,0 1 0,-2-1 0,-1 0 0,-2-1 0,-5 0 0,-5-1 0,-5-1 0,12 0 0,-17-2-47,7 1 47,-22-4 0,-5 0 90,-1 0 3069,-4-1-3159,-1 0 631,-2-1-631,-2 0 164,-1 1-164,2-2 0,-1 0 0,2 0 0,-3-1-90,0 1 0,-1 0 90,1 1 0,-1 1 90,0 0-90,3 3 0,-3 0 0,4 1 0,-2-1 0,3 0 0,12 2 0,-4-1 0,11 2 0,22 3-90,-19-2 90,27 3 0,-29-5 0,22 4 0,-13-2 0,14 2 0,-17-2 0,21 2-610,-14-3 520,16 3 90,2-1 0,-15-2 0,17 1 0,-21-2 0,1-1 0,0 0 0,2 1 0,0-1 0,0 0-90,2 0-3010,-1 1 3010,0-1-458,22 3 548,-18-1-90,16 1 90,-23-2-241,-1 0 331,1 0-90,-1 0 0,1 0-90,0 0 90,1 1 0,1 0 0,1 0 0,28 3 0,-20-2-225,20 2 225,-27-3 0,0 0 2437,0 1-2527,-1-1 90,0 1 0,1-1-90,-2 0 90,1 0 0,23 1-90,-19-1 90,39 1 0,-42-3-882,14 0 882,-25-2-90,-3-1 391,-2 0-301,-1 0 0,0 0 0,-1-1 0,1 1-90,-1-2 90,0 1 0,1-1 0,0 0 659,0-1-659,0-1-90,0 1 180,-1-2-180,2-1 180,1 0-180,-2-1 90,-1-1 0,-3 0 0,-1-1 0,-1 0 388,0-2-478,-2 0 2092,-1-2-2002,-1 0 0,0-2-90,-1-2 90,13-11 0,-9 5-3392,9-8 3392,-12 9-161,-1-2 161,10-11 0,-8 8 0,5-6 0,-11 10 0,-3 1 0,0 0 0,-1-1 0,5-10 90,-6 8 0,4-8 90,-7 9-180,-3 2 3536,1 0-3536,-3 1 197,1-1-197,-2 1 89,0-1-89,-1 0 0,0 1 0,-2 1 90,0 0-90,-1 2 0,-1 0 0,0 0-90,-2-6 90,-2 5 0,-1-5 0,-3 6 0,-2-1 90,-5-1-180,-2-1 180,-3-1-90,-4-1 0,-3 1 0,-4-2 0,-16-9 0,-8-1 90,0 0-90,0 4 0,15 10 0,0 2 0,-1-1 0,0 2 90,0 0-180,-1 2 180,1 0-180,0 2 90,0 1 0,0 0 0,0 2-90,3 1 90,-1 0-179,2 2 89,-3 0-90,0 0 90,-2 2-90,-2-1 0,-13 1 0,10 1-180,-11 1 270,17 1 0,0 0 90,0 2-90,0 0 0,1 0 0,-1 0 0,1 0 90,1 0-90,0 0 90,0 1 0,2-1-90,-1-1 90,-12 0 0,9 1 0,-10-2 0,13 0-90,-1 0 90,1-1 0,-1 0 0,0 0 0,0 0 0,0 0 0,-14 0 0,12 0 0,-9 0-90,16 2 361,2-1-271,0 1-90,1 0 90,0 0-90,1 0 0,1 1 90,0-1 0,1 1-90,0-1 0,0 1-90,0-1 0,1 1-90,-12-1 0,9 0 90,-9-1-89,11 1 89,0-1-90,-1 1 0,0-1-90,1 0 90,-1 0 270,0 0 0,-3-1 0,-1 0 0</inkml:trace>
</inkml:ink>
</file>

<file path=ppt/ink/ink1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1:58:45.176"/>
    </inkml:context>
    <inkml:brush xml:id="br0">
      <inkml:brushProperty name="width" value="0.05" units="cm"/>
      <inkml:brushProperty name="height" value="0.05" units="cm"/>
      <inkml:brushProperty name="color" value="#E71224"/>
    </inkml:brush>
  </inkml:definitions>
  <inkml:trace contextRef="#ctx0" brushRef="#br0">1 90 24575,'0'-5'0,"0"-3"0,0 2 0,0-4 0,0 0 0,0-4 0,0-3 0,0 8 0,0-1 0</inkml:trace>
</inkml:ink>
</file>

<file path=ppt/ink/ink1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1:58:46.202"/>
    </inkml:context>
    <inkml:brush xml:id="br0">
      <inkml:brushProperty name="width" value="0.05" units="cm"/>
      <inkml:brushProperty name="height" value="0.05" units="cm"/>
      <inkml:brushProperty name="color" value="#E71224"/>
    </inkml:brush>
  </inkml:definitions>
  <inkml:trace contextRef="#ctx0" brushRef="#br0">24 75 24575,'0'-13'0,"0"4"0,0-2 0,0 2 0,0-1 0,1 2 0,1 2 0,3 1 0,5 3 0,3 1 0,3 1 0,1 0 0,1 0 0,0 0 0,3 0 0,-5 0 0,3 0 0,-3 0 0,6 0 0,-3 0 0,2 0 0,-5 0 0,1 0 0,1 3 0,-2 3 0,1 4 0,-2 3 0,-2 0 0,-3 2 0,0 1 0,-1 0 0,-1-1 0,0 2 0,-2 1 0,-1 1 0,-1-1 0,0-1 0,-2-2 0,-2 1 0,0-2 0,0 0 0,0-1 0,0 0 0,0 0 0,-2-1 0,-3 1 0,-4 0 0,-3 0 0,-2 0 0,-4 1 0,6-6 0,-5 3 0,7-4 0,-2 1 0,-3 0 0,0-3 0,0-2 0,-1-1 0,0-2 0,-2 0 0,-1 0 0,0 0 0,0 0 0,-1-1 0,-1-1 0,2-2 0,0 0 0,0 0 0,2 1 0,1 0 0,3 1 0,3 0 0,2 0 0,2 0 0,3 0 0,2 1 0</inkml:trace>
</inkml:ink>
</file>

<file path=ppt/ink/ink1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1:58:47.468"/>
    </inkml:context>
    <inkml:brush xml:id="br0">
      <inkml:brushProperty name="width" value="0.05" units="cm"/>
      <inkml:brushProperty name="height" value="0.05" units="cm"/>
      <inkml:brushProperty name="color" value="#E71224"/>
    </inkml:brush>
  </inkml:definitions>
  <inkml:trace contextRef="#ctx0" brushRef="#br0">53 8 24575,'-10'-3'0,"0"1"0,3 1 0,0 1 0,2 0 0,0 0 0,1 0 0,1-1 0,2 0 0,0 7 0,1 0 0,0 8 0,0 1 0,0 1 0,0 0 0,0-1 0,0-2 0,0-2 0,0 0 0,1-2 0,3-1 0,2-2 0,3-2 0,2-1 0,1 0 0,3 1 0,-1-1 0,3 1 0,-5-4 0,4 0 0,-1 0 0,0 0 0,-1 0 0,-1 0 0,-2 0 0,-2 0 0,-2 0 0,-1 0 0,1 0 0,-2 0 0,0-1 0,-1-1 0,-1-2 0,1-3 0,-1-1 0,1-1 0,0 0 0,1 1 0,0 2 0,1 0 0,0 1 0,-1 1 0,1 3 0,1 0 0,1 1 0,0 0 0,-1 0 0,-1 0 0,0 1 0,0 3 0,0 4 0,1 6 0,-3-4 0,1 5 0,-5-5 0,0 3 0,0-1 0,0-1 0,0-2 0,0 0 0,0-1 0,0 0 0,0 0 0,0-2 0,0-1 0,0 0 0,0-1 0,0-2 0,0-1 0</inkml:trace>
</inkml:ink>
</file>

<file path=ppt/ink/ink1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7:09.358"/>
    </inkml:context>
    <inkml:brush xml:id="br0">
      <inkml:brushProperty name="width" value="0.08571" units="cm"/>
      <inkml:brushProperty name="height" value="0.08571" units="cm"/>
      <inkml:brushProperty name="color" value="#E71224"/>
    </inkml:brush>
  </inkml:definitions>
  <inkml:trace contextRef="#ctx0" brushRef="#br0">75 30 9062,'-18'-3'2968,"2"0"-2248,3 1-181,1 1-359,-2 0 0,13 1-180,10 1 90,8 0-90,19-1 0,-8 0 0,12-1 90,-1 1-90,4-1 0,6 1 90,3-1-90,2 1 0,3-1-544,7 0 544,2 1-90,5 0 0,0 0-89,-5 0-91,-2 0-90,-5 0-90,-2 0-89,-2 0-1,-4 0-180,-2-1 91,-6 0-721,-2 0 1350,9-3 0,-11 1 0,9-3 0</inkml:trace>
</inkml:ink>
</file>

<file path=ppt/ink/ink1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7:09.706"/>
    </inkml:context>
    <inkml:brush xml:id="br0">
      <inkml:brushProperty name="width" value="0.08571" units="cm"/>
      <inkml:brushProperty name="height" value="0.08571" units="cm"/>
      <inkml:brushProperty name="color" value="#E71224"/>
    </inkml:brush>
  </inkml:definitions>
  <inkml:trace contextRef="#ctx0" brushRef="#br0">1 0 10861,'23'2'1619,"-3"0"-1259,-2-1-180,0 0 89,5 1-5389,25 1 5300,-5 1-12,50 3 12,-27 0-90,27 2 0,-22-1 0,1 0 896,2 0-986,0 1 90,-1-1-907,-1 0 817,-1 0 90,-3 0-90,-2-1 0,-6 0 0,-4-1 0,-6-1-90,-4 0 0,-4-2 90,-5 0-90,-7-2 2258,-3 1-2258,-5-1 1480,-3-1-1660,-2-1-421,-3 0-5066,0-2 6146,-7-3 0,-1 2 0,-6-1 1</inkml:trace>
</inkml:ink>
</file>

<file path=ppt/ink/ink1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7:19.571"/>
    </inkml:context>
    <inkml:brush xml:id="br0">
      <inkml:brushProperty name="width" value="0.08571" units="cm"/>
      <inkml:brushProperty name="height" value="0.08571" units="cm"/>
      <inkml:brushProperty name="color" value="#E71224"/>
    </inkml:brush>
  </inkml:definitions>
  <inkml:trace contextRef="#ctx0" brushRef="#br0">130 146 8072,'3'-17'2159,"-3"10"-1799,1 24-90,-3 0-180,0 10 0,2-12 0,-2 1 179,1 2-179,0 0 0,0 0 0,0 0-90,-1-1 90,1 0 180,0-1 0,-1-1-180,1-1 90,-1 0 0,1 0 0,-2-2 89,1 1 1,0 0-90,-1 1-90,0 1-90,0 0 90,0 1-90,1 1 0,-1 0 0,0 1 0,0 0 0,1 0 0,0 0 90,0 2 0,0 0 0,0 0-90,0 0 0,1-1 0,-1 0 90,0-2-90,0 0 90,1 1-90,-1 0 90,0 1-90,0 0 90,0 0-90,0 0 90,0 0-90,-1-2 0,1 0 90,0 1-90,1 0 0,-1 1 90,0-1-90,0 1 0,0 0 0,0-1 90,1 2-90,-1-2 0,0 0 89,0 1-89,1-2 0,0 2 0,0-2 0,-1 1 90,1 0 0,-1-1 0,0 0-90,1-1 90,-1 0-90,1 1 0,0-1 0,0 0 0,0 1 0,0-1 0,0 0 0,1 0 0,-1 0 0,1 0 0,-1-1 0,0-1 0,0 0 0,1-2 0,-1 2 0,0-1 90,0 0-90,1 0 90,2-3-90,4-2 0,3-3 0,4-2 0,-2-1 0,2 0 0,-2 0 0,2 0 0,1 0 0,0 1 0,3-2 0,1 1 0,2-1 0,-4 1 0,1-2 0,-1 1 0,-2-1 0,8 1 0,-4-1 90,0-1-180,0 1 180,-7 0-180,1-1 180,0 1-180,0-1 180,1 1-180,-1-1 180,0 0-180,1 1 180,0-1-180,0 0 180,1 0-180,0 0 180,0 0-180,0 0 180,1 1-180,1-1 180,-1 0-90,0 0 0,-1 1 0,-1-1 0,2 1 0,-1 0 0,0 0-3392,1 0 3392,-1 0-90,0 0 90,6 1 90,-5-1-90,5 1 0,-6-1 0,0 0 3392,0 0-3392,0 0 0,1 1 0,1-1 0,-2 0 0,10 1-90,-7-1 180,6 0-180,-7 0 180,-1 0-90,0 0 0,8 0 0,-6 0 0,7-1 0,-8 1 0,0 0 0,0 0 0,-1-1 0,0 1 0,0-1 0,0 1 0,0-1 0,0 1 0,0-1 0,0 0 0,-1 1 0,-1-1 0,1 1 0,0-1 0,-1 0 0,-1 0 0,0 0 0,5 1 0,0-1 0,3 0 0,-1-1 0,-2 1 90,-2 0-90,1 0 0,-1-1-90,-1 0 90,0 1 0,-1 0 90,0-1-90,-1 1-90,-1-1 180,2 0-180,-1 0 180,2 1-180,-1 0 90,-1 0 270,1 0 1259,-1 0-809,1 0-540,-3-3-1,-3-3-179,-4-3 90,1-1-90,-2-2 0,1-1 0,0-2 0,1-1 0,-1-3 0,0 4 0,-1-3 0,0 6 0,0-3 0,-1 5 0,0-1 0,0 1 0,0-2 0,0 1 0,-1 0 0,1-1 0,0 0 0,-1-1 0,1 0 0,-1 0 0,1-2 0,-1 1 0,1-3-90,-1 1 90,1-1 0,-1 1 0,0-2 0,0 0 0,-1 0 0,1 0 0,0 0 0,0-1 0,-1 0 0,0 1-89,0 0 89,0-1 0,0 2-90,-1-1 90,0-7-90,0 7 90,0-6 0,0 8 0,1 1 0,-1 0 0,1 1 0,-1 1 0,0-7-90,1 6 0,-1-5 90,1 6-90,0 0 90,0 0 0,0 0-90,0 0 90,0 0 0,1 0-90,-1-6 90,0 5 0,0-5 0,1 6 0,0 1 0,-1 0 0,1 0 0,0 1 0,0-6 0,-1 0 0,0-5 0,0 2 0,0 0 0,0 2 0,0 1 0,0 1 0,0 0 0,-1 0 0,1 1 0,0-1 0,0 1 0,0 1 0,-1 0 0,0 1 0,0 0 0,0 2 0,1 1 0,-1-2 0,0 0 0,0-1 0,0 1 0,0-1 0,0 2-90,0 0 90,0 0 0,-1 0-90,1 1 90,-5 4 0,0 3 0,-5 6 0,1 1 0,-1-1 0,0 1 0,1-1 0,0 0 0,0 0 0,-1 0 0,-1 0 0,0 0 0,0 0 0,0 1 0,-1-1 0,-1 0 0,0 0 0,-2 1 0,1-1 0,-1 1 0,2-1 0,1 0 0,-1 0 0,1 0 0,0 0 0,-8 0 0,5 0 0,-7 0 90,4-1-90,0 1 0,-1-1 0,0 0 0,-1 0 0,1 0 0,2-1 0,0 1 0,2-1 0,-1 1 0,0-1 0,-1 0 0,0 0 0,0 1 0,-1-1 0,1 1 0,-1 0 0,0-1 0,-1 1 0,2 0 0,-1 0 0,2 0 0,0 0 0,-1-1 0,0 1 0,-2-1-90,-1 0 90,0 0 0,0 0 0,0 0 0,0-1 0,0 1 0,1-1 0,2 0 0,0 0 0,2 1 0,1-1 0,0 0 0,0 1 0,1 0 0,0 0 0,-1 0 0,2 0 90,-1 0-90,1 0 0,1 0 90,1 0-90,-2 1 90,1-1 0,-1 0 0,1 0 90,1-1-90,0 0-9921,1 0 9567,9 1 1,-2 0 0,9 2 0</inkml:trace>
</inkml:ink>
</file>

<file path=ppt/ink/ink1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7:22.795"/>
    </inkml:context>
    <inkml:brush xml:id="br0">
      <inkml:brushProperty name="width" value="0.08571" units="cm"/>
      <inkml:brushProperty name="height" value="0.08571" units="cm"/>
      <inkml:brushProperty name="color" value="#E71224"/>
    </inkml:brush>
  </inkml:definitions>
  <inkml:trace contextRef="#ctx0" brushRef="#br0">989 0 9691,'-3'27'630,"0"6"-540,1-14 0,0 7 180,1-11-90,0 10-90,-1-5 90,0 7-90,1-8-1,0 0 1,0 1 0,-1 1 0,0-1 0,1 1 0,-1 0-90,1 1 90,-1-1-90,1 1 90,-1-1-90,1 0 90,-1 0-90,1 0 90,-1-1 0,1 1 0,-1-1 0,1 0 0,-1 0-90,0 0 90,0-2-90,0 1 0,0-2 90,-1 0-90,0 0 0,0-1 90,0 0-90,-1-1 90,1-1-90,-1-1 90,0 0-90,0-2 90,-1 0 89,-2 3-89,1-3-90,-2 1 90,1-4-90,-1-2 90,0 1-90,-1-2 0,0 0 90,-1 0-90,-1-1 0,0-1 0,-2-1 0,-7 2 0,-3-2 90,-1 1-90,1-2 0,7 0 0,0 0 0,0 0 0,-1 0 0,1-1 0,0 1 0,-1 0 0,0 0 0,-7 0 0,5 0 0,-5 0 0,7 0 90,1-1-90,-1 1 0,1 0 0,0 0 0,0 0 0,0 0 90,0 0 0,0 0-90,0 0 90,2 0 0,-1 0-90,1-1 90,0 1-90,-1-1 90,1 1 0,0-1 0,-1 0-90,2 1 90,-1-1-90,0 0 90,1 0-90,0 0 90,-5 0-1,4 0-89,-8 0 180,7 0-90,-3-1 90,4 1 0,-1-1 0,1 1-450,0-1-4407,2-1 4677,9-2 0,1 1 0,5-2 0</inkml:trace>
</inkml:ink>
</file>

<file path=ppt/ink/ink1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7:25.867"/>
    </inkml:context>
    <inkml:brush xml:id="br0">
      <inkml:brushProperty name="width" value="0.08571" units="cm"/>
      <inkml:brushProperty name="height" value="0.08571" units="cm"/>
      <inkml:brushProperty name="color" value="#E71224"/>
    </inkml:brush>
  </inkml:definitions>
  <inkml:trace contextRef="#ctx0" brushRef="#br0">431 58 7263,'-23'-8'1259,"1"1"-989,5 2-90,0-1 90,1 0-180,-1 1 0,1-1-90,0 2 0,0 0 0,1 1 0,0 0 0,-1 2 0,1 2 0,0 1 0,1 3 0,0 2 0,4 0 90,-1 4 0,5-3-90,-3 6 89,4-4-89,-1 3 180,2-3-180,1 1 90,0 1-90,0 0 180,0 1-180,0 1 0,1 0 0,0 0 90,1 1 0,-1 1 0,1 0 0,0 1 0,0 0 0,1 1 90,-1 0 0,1 0-180,0 0 180,1 1-90,0 0 89,-1 1-89,1-1 90,0 2-180,0-1 90,0 1-90,0-1 90,0 1-90,-1 0 90,1 0-90,-1 0 0,0 0 90,-1 9-90,-1-7 0,0 7 0,1-10 90,-2 1-180,1-1 180,-1 0-180,0-1 180,0 0-90,1 0 90,-1 0-90,0-1 180,0 1-90,0-1 0,1-1-90,-1 1 90,1-1 0,-2 6-90,2-5 90,-2 5-90,1-8 90,1 0-90,-1-1 90,1-1-90,-1 0 0,0 0 89,1-1-89,-1 1 0,1-2 180,-1 1 0,-1 4-90,2-3 0,-2 2 0,2-1-90,-1 1 90,1 2-90,0 0 0,0-2 0,2 0 0,0 0 0,0 0 0,1 0 0,-1 1 0,1-1 0,-1 1 0,0 0 0,0-1 0,0 1 0,0-1 0,-1-1 0,2 1 0,0-1 0,1 0 90,3-4-90,1-2-90,3-4 90,3-1-180,2-2 0,3-1 90,3-1 90,-4 0-90,0 0 0,-5 0 90,1 1 0,0-1-90,0 1 90,0-1-89,1 1 89,-1-1-90,1 1 180,0 0-180,0-1 90,0 1 0,8 0-90,-4 0 180,6 0-180,-6 0 90,0 1 0,1-1 0,0 0 0,0 1 0,10 0 0,-6-1 0,7 2 0,-9-1 0,0-1 0,2 2 0,0-1 0,1 1 0,1-1 0,-1 0 0,1 0 0,-2 0 0,2-1 0,-2 1 0,1-1 0,-2 0 0,0 0 0,2 0 0,-1-1 0,12-1 90,-9 0-90,8-1 0,-12 1 0,-1 0-3302,0-1 3302,-1 1 0,7-3 0,-6 1 0,5-2 0,-8 2 89,-1-1-89,0 0 3392,-1 0-3302,-1-1-90,6-1 90,-6 0 0,4-1-90,-7 2 90,4-3-90,-4 3 90,2-3-90,-5 3 0,0 0 90,0 0-90,0 0 0,0 0 0,-1-1 0,1 1 0,-1-1 90,-1 0-90,1 1 0,0-1 0,-1-1-180,1 0 180,1-4 0,-1 2-90,1-4 180,-3 4-180,0 0 90,-1-1 90,1 0-90,-1-1 0,0 1 0,0-2 90,0 0-90,-1-2 0,0 0 0,0-1 0,0 0 0,0-1 0,-1-1 0,0 1 0,0-2 0,1-1 0,-1-1 0,0-1 0,1-2 0,0-1 0,-1 0 0,0-1 0,1 0 0,-1 0 0,0 1 0,0-11 90,0 10-90,0-7 90,-2 12 0,1 0-90,-1 1-90,0 0 90,0 0 0,0 0 0,-1 1 0,0-1 0,0 1 90,-1-8-90,0 7 90,-1-6-90,1 8 90,-1 1-90,1 0 0,-1 1 0,1 0 0,-3-5 0,2 5 90,-2-4-90,0 2 0,1 5 0,-1-4 90,1 7-90,-1-3 0,0 1 0,0-2 0,0 3 0,0 0-720,1 1-2518,0 0 3238,-3 4 0,5 2 0,-3 3 0</inkml:trace>
</inkml:ink>
</file>

<file path=ppt/ink/ink1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7:27.637"/>
    </inkml:context>
    <inkml:brush xml:id="br0">
      <inkml:brushProperty name="width" value="0.08571" units="cm"/>
      <inkml:brushProperty name="height" value="0.08571" units="cm"/>
      <inkml:brushProperty name="color" value="#E71224"/>
    </inkml:brush>
  </inkml:definitions>
  <inkml:trace contextRef="#ctx0" brushRef="#br0">1 27 8252,'22'-12'450,"-4"2"-360,6 8 0,-8 1-90,8 0 90,12 1-90,-13-1 0,23 2 0,-25 0 0,6 1 0,-9-1 0,-1 0 90,-1 0-180,-2 0 90,0 1 0,-2-1 90,0 0-90,3 0 90,-1 1 90,2-1 0,-3 0-1,1-1-179,-1 1 0,2-1 0,-3-1-89,1 2-1,-1 0 449,0 3-269,-3 2 0,-2 3-90,-2 1 180,-2 1-90,1 2 0,-1 1 0,0 1-90,0 3 90,-1-1 90,1 2 180,0 9-270,-2-7 0,2 6-90,-3-9 89,1 1 1,-1-1-90,1 0 90,-1 0 0,-1 0-90,1-1 180,0-2 0,-1 0-90,1-1 0,-1 0-90,0-2 90,1 1 0,-1 0 540,0 0-1,0-1-539,-3-3 0,-2-2 0,-4-3-90,-6-3 90,-3 1-90,-4 0 0,5-1-180,-5 1-90,9-1-269,-4 0-91,6-1-2158,1 1 2788,-5 0 0,-3 1 0,-5-1 0</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35.112"/>
    </inkml:context>
    <inkml:brush xml:id="br0">
      <inkml:brushProperty name="width" value="0.1" units="cm"/>
      <inkml:brushProperty name="height" value="0.1" units="cm"/>
    </inkml:brush>
  </inkml:definitions>
  <inkml:trace contextRef="#ctx0" brushRef="#br0">1 5 580 0 0,'4'-5'5649'0'0,"-1"17"-5027"0"0,0 0 0 0 0,-1-1 0 0 0,1 24 0 0 0,1 11 55 0 0,2 7-559 0 0,-2 0 1 0 0,-4 75-1 0 0,-2-46-3604 0 0,5-63 891 0 0</inkml:trace>
</inkml:ink>
</file>

<file path=ppt/ink/ink1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7:28.387"/>
    </inkml:context>
    <inkml:brush xml:id="br0">
      <inkml:brushProperty name="width" value="0.08571" units="cm"/>
      <inkml:brushProperty name="height" value="0.08571" units="cm"/>
      <inkml:brushProperty name="color" value="#E71224"/>
    </inkml:brush>
  </inkml:definitions>
  <inkml:trace contextRef="#ctx0" brushRef="#br0">0 0 9242,'25'4'1259,"-1"-1"-899,-6-2 90,4 1-181,5 1 1,2 0 0,4 1 0,4 0 0,19 4 0,25 5-180,-14-2-3482,6 3 3482,-38-7-90,-1-1 89,-3 0-178,0 1-1,-2-2-270,-3 1 0,-2-2-270,-3 0 3303,-1 0-4292,-3-1-360,-1-1 1979,-2-1 0,-7 0 0,-2-1 0</inkml:trace>
</inkml:ink>
</file>

<file path=ppt/ink/ink1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7:29.766"/>
    </inkml:context>
    <inkml:brush xml:id="br0">
      <inkml:brushProperty name="width" value="0.08571" units="cm"/>
      <inkml:brushProperty name="height" value="0.08571" units="cm"/>
      <inkml:brushProperty name="color" value="#E71224"/>
    </inkml:brush>
  </inkml:definitions>
  <inkml:trace contextRef="#ctx0" brushRef="#br0">480 1 11131,'5'16'629,"-2"1"-539,-4-2 0,-2 2-4251,1 1 4251,-1-2 769,0 2-859,0-6 90,0 3-90,0-5 90,-1 4 90,0 0 3392,-3 3-3392,1-1 0,0-3 89,-1-1-179,1-2 90,-2-2-180,-1-1 90,-2-1-90,-2-1 0,-1-1 0,-2-1 0,-2 0 90,3-1-90,-1 0 0,5-1 90,-6 1 0,-2 0 0,1-1-90,0 1 0,7-1 90,-1 0-90,1 0 0,-1 1 90,1-1-90,-4 0 0,2 1 0,-7-1 0,5 1 0,-4 0-90,2-1-450,1 0-1169,2 0-2788,0-1 4497,3-2 0,3 1 0,3-1 0</inkml:trace>
</inkml:ink>
</file>

<file path=ppt/ink/ink1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7:30.849"/>
    </inkml:context>
    <inkml:brush xml:id="br0">
      <inkml:brushProperty name="width" value="0.08571" units="cm"/>
      <inkml:brushProperty name="height" value="0.08571" units="cm"/>
      <inkml:brushProperty name="color" value="#E71224"/>
    </inkml:brush>
  </inkml:definitions>
  <inkml:trace contextRef="#ctx0" brushRef="#br0">0 61 11131,'9'19'1619,"-3"-3"-1259,-4 0-1,0-2-179,0 1 90,0 1-90,0 0 90,1 0 90,0 7-270,0-5-1,1 3 1,-1-8 90,-1-2 450,1 4 359,0-2-449,0 1-360,1-10-90,1-8-90,-1-8 0,1-6 90,-2-1-90,2-1 0,0-4 0,0-2-90,1-1 90,0 0 0,0 2 90,0 2-90,-1 3 90,0 1-90,-1 3-90,-1 3 90,1 0 0,-1 1 0,1 10 0,0 5 0,-1 7 0,0 6 0,0-1 90,0 1-90,1 0 0,0 3 0,2-1 0,-1 2 90,1-1-90,1-2 0,-1 1 0,1-4 0,-1 1 90,2-2-90,-1-2 90,2-1-90,1-1 0,1-3-90,1-2 90,1-2 0,1-3-90,3-1 0,1-4 90,3-3 0,1-2 0,1-2 180,8-8 0,-10 6 89,6-5-89,-13 9 0,0 0 0,-3 2-90,-1 1-90,-1 1 90,-1 1 0,1-1-90,1 6 90,-2 3-90,-1 9 90,-4 6-90,-1-1 90,0 3-90,-1-5-90,1 2-90,0 1-540,1 7 91,-1-5-91,1 6-89,-1-9-361,1-1-89,-1-1-1349,0-1-1350,2-1 3958,-1-2 0,-1-4 0,0-2 0</inkml:trace>
</inkml:ink>
</file>

<file path=ppt/ink/ink1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7:31.015"/>
    </inkml:context>
    <inkml:brush xml:id="br0">
      <inkml:brushProperty name="width" value="0.08571" units="cm"/>
      <inkml:brushProperty name="height" value="0.08571" units="cm"/>
      <inkml:brushProperty name="color" value="#E71224"/>
    </inkml:brush>
  </inkml:definitions>
  <inkml:trace contextRef="#ctx0" brushRef="#br0">0 91 10231,'10'-14'3328,"-1"1"-2698,-3 6-90,0-1-91,1 1-179,2-1-90,2 2-270,1 0-90,1 1-90,2 0-89,1 1-91,1 1-90,0 0-89,-1 2-181,0 1-90,-3 1-898,-1 1 1798,-1 1 0,-6-1 0,-1 0 0</inkml:trace>
</inkml:ink>
</file>

<file path=ppt/ink/ink1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7:31.440"/>
    </inkml:context>
    <inkml:brush xml:id="br0">
      <inkml:brushProperty name="width" value="0.08571" units="cm"/>
      <inkml:brushProperty name="height" value="0.08571" units="cm"/>
      <inkml:brushProperty name="color" value="#E71224"/>
    </inkml:brush>
  </inkml:definitions>
  <inkml:trace contextRef="#ctx0" brushRef="#br0">1 177 9152,'10'13'1349,"-1"-4"-1259,8-7 0,-1-1-90,2-1 0,3-2-180,1 1 90,3-2-180,1-1 0,1-2-179,1-1-1,1-1 0,-1-2 90,1 0 180,-2-2 1,0 0 179,-2 0 179,-2 0 1,-2 0 180,-2 0 0,-2 2 1079,8-7-989,-9 7 269,8-6-269,-14 9-180,4-1-90,-4 2 0,3 2-180,-3 5 0,-3 6 0,-5 4-90,-7 4 180,-1-4-90,-2 0 0,3-2 0,-1-1 0,-1 5 0,2-3 90,0 4-90,2 0 0,2-2 0,2 4 0,1-5 0,2 1 0,0 0 0,2 1 0,-1 0 0,1-1 0,0-1 0,-1 0 90,-1-1 270,0-1 179,0 4 1,-3-2-180,-5 2-180,-6-4-90,-2-4 89,-4-2-89,4-3-90,-2 0-90,-1-1 0,0 0-269,-1 0-181,1-1-180,0 0-359,2 0-990,1 1 2069,2-1 0,4 1 0,1 0 0</inkml:trace>
</inkml:ink>
</file>

<file path=ppt/ink/ink1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7:31.847"/>
    </inkml:context>
    <inkml:brush xml:id="br0">
      <inkml:brushProperty name="width" value="0.08571" units="cm"/>
      <inkml:brushProperty name="height" value="0.08571" units="cm"/>
      <inkml:brushProperty name="color" value="#E71224"/>
    </inkml:brush>
  </inkml:definitions>
  <inkml:trace contextRef="#ctx0" brushRef="#br0">28 21 10231,'-22'-4'5037,"16"-1"-4677,29 0-90,15 1 0,18 2-2574,3 1 2574,7 2-180,9 0 558,3 2-558,2 0-979,1 1 574,-25-2 1,1 0-316,28 3-495,-19-2 1,-3 0-1304,4 1 2428,24 0 0,-48-2 0,7 0 0</inkml:trace>
</inkml:ink>
</file>

<file path=ppt/ink/ink1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7:32.075"/>
    </inkml:context>
    <inkml:brush xml:id="br0">
      <inkml:brushProperty name="width" value="0.08571" units="cm"/>
      <inkml:brushProperty name="height" value="0.08571" units="cm"/>
      <inkml:brushProperty name="color" value="#E71224"/>
    </inkml:brush>
  </inkml:definitions>
  <inkml:trace contextRef="#ctx0" brushRef="#br0">0 1 12480,'13'17'2968,"5"-2"-2068,13-6-181,9 1-1080,13 1 1171,7 0-271,8 1 91,5-1-1,-5-2 1,3 0-405,-12-2 0,-1-1-865,12 2 0,-3-2 730,20 2 0,-38-5 548,-6 0-728,-3-1-89,-7 0-91,-3-1-180,-5 0 415,-3 0-3203,3 0 3637,-6 0 1,-14-2-1,-10 0 1</inkml:trace>
</inkml:ink>
</file>

<file path=ppt/ink/ink1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7:33.437"/>
    </inkml:context>
    <inkml:brush xml:id="br0">
      <inkml:brushProperty name="width" value="0.08571" units="cm"/>
      <inkml:brushProperty name="height" value="0.08571" units="cm"/>
      <inkml:brushProperty name="color" value="#E71224"/>
    </inkml:brush>
  </inkml:definitions>
  <inkml:trace contextRef="#ctx0" brushRef="#br0">1 23 9512,'17'-7'1439,"3"0"-1259,-6 4 0,5 1 89,-4 0 1,3 1-3482,2 1 3392,3 0-379,2 1 379,4 1-90,2 0 90,6 2-90,2 0-1,4 2 1,2 1-323,1-1 323,1 2 0,1 0-90,0 0 90,1 0-90,-1-1 0,0 1 90,-2-1-90,-1 0 0,-1-2 0,-4 1 3035,-2-2-3035,-3-1 503,-2 0-503,-3-1 0,-2-1 0,-4 0 450,-3 0-450,-2-1-343,3 0-1007,-7-1-3057,5-2 4407,-11-2 0,-2 2 0,-4 0 0</inkml:trace>
</inkml:ink>
</file>

<file path=ppt/ink/ink1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7:57.847"/>
    </inkml:context>
    <inkml:brush xml:id="br0">
      <inkml:brushProperty name="width" value="0.08571" units="cm"/>
      <inkml:brushProperty name="height" value="0.08571" units="cm"/>
      <inkml:brushProperty name="color" value="#E71224"/>
    </inkml:brush>
  </inkml:definitions>
  <inkml:trace contextRef="#ctx0" brushRef="#br0">1 1 10951,'12'5'3688,"-6"-2"-3419,38 4 91,6-1-180,-6-1-5750,18 2 5660,-13-3-111,21 2 1,3 0 110,11 0-90,-6 0 0,-2-1 90,-4 0-773,-1-1 773,1 0-90,-2-2-181,-4 1 181,-3-2 0,-6-1 90,-2 0 1459,-2 1-1459,14-1-90,-18-1 0,9 0 1479,-25 0-1479,-3 0 3098,-3-1-3188,-3 1 0,-3-1 695,-2 0-875,-2 1 14,-3-1-913,-1 0-360,0-2-2069,-4-1 3598,-6-3 0,-11-1 0,-7-1 0</inkml:trace>
</inkml:ink>
</file>

<file path=ppt/ink/ink1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7:58.216"/>
    </inkml:context>
    <inkml:brush xml:id="br0">
      <inkml:brushProperty name="width" value="0.08571" units="cm"/>
      <inkml:brushProperty name="height" value="0.08571" units="cm"/>
      <inkml:brushProperty name="color" value="#E71224"/>
    </inkml:brush>
  </inkml:definitions>
  <inkml:trace contextRef="#ctx0" brushRef="#br0">71 0 7713,'-17'4'3508,"2"-1"-2789,2 0 271,1 0 1438,-1 1-1978,13 2 0,2-1-90,16 1 89,6-3-179,6 1 0,8 0 0,4 1 0,7 1-1,2 1-336,5 0 247,3 1 0,4 1 0,-1-1 0,1 1-588,-5-2 588,-2 1-1,-4-1 1,-1-1-90,-1 1-3025,-3-2 3025,-2 0-818,-5-1 818,-4 0 0,-5-1-90,-3-1 2,-5-1-2,-2 1 432,-4-1-612,-1 0 2341,3 0-3600,-3-3 329,1-1-7705,-6-3 8068,-6-4 0,-2 6 0,-4-2 1</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35.524"/>
    </inkml:context>
    <inkml:brush xml:id="br0">
      <inkml:brushProperty name="width" value="0.1" units="cm"/>
      <inkml:brushProperty name="height" value="0.1" units="cm"/>
    </inkml:brush>
  </inkml:definitions>
  <inkml:trace contextRef="#ctx0" brushRef="#br0">405 14 276 0 0,'3'-14'3189'0'0,"-8"19"-1029"0"0,-9 22-448 0 0,10-14-1429 0 0,2 1 1 0 0,0 1 0 0 0,0-1 0 0 0,1 0-1 0 0,1 0 1 0 0,1 0 0 0 0,0 1 0 0 0,5 26-1 0 0,6 10 0 0 0,19 50 0 0 0,-30-97-271 0 0,19 57 112 0 0,32 90-2569 0 0,-49-138-1545 0 0</inkml:trace>
  <inkml:trace contextRef="#ctx0" brushRef="#br0" timeOffset="1">109 400 1036 0 0,'-3'1'229'0'0,"-11"2"678"0"0,0 0 1 0 0,-20 9 0 0 0,31-11-755 0 0,0 0-1 0 0,0 1 1 0 0,1-1 0 0 0,-1 1 0 0 0,0-1 0 0 0,1 1 0 0 0,-1 0 0 0 0,1 0 0 0 0,0 0 0 0 0,0 0 0 0 0,-1 0 0 0 0,1 1 0 0 0,1-1 0 0 0,-1 1 0 0 0,0-1 0 0 0,1 1-1 0 0,-1 0 1 0 0,-1 3 0 0 0,3-5-86 0 0,0 1-1 0 0,0-1 0 0 0,0 0 0 0 0,0 1 0 0 0,0-1 1 0 0,0 1-1 0 0,1-1 0 0 0,-1 0 0 0 0,0 1 1 0 0,1-1-1 0 0,-1 0 0 0 0,1 1 0 0 0,-1-1 0 0 0,1 0 1 0 0,0 0-1 0 0,0 1 0 0 0,-1-1 0 0 0,1 0 1 0 0,0 0-1 0 0,0 0 0 0 0,0 0 0 0 0,0 0 0 0 0,0 0 1 0 0,0 0-1 0 0,0-1 0 0 0,1 1 0 0 0,-1 0 1 0 0,0 0-1 0 0,2 0 0 0 0,6 3 123 0 0,-1 0 0 0 0,1 0 0 0 0,10 2 0 0 0,-13-4-82 0 0,32 9 72 0 0,0-3-1 0 0,1-1 1 0 0,0-1-1 0 0,1-3 1 0 0,-1-1 0 0 0,1-1-1 0 0,-1-3 1 0 0,1-1-1 0 0,-1-2 1 0 0,46-12 0 0 0,-61 11-123 0 0,1-2 0 0 0,-1 0 0 0 0,-1-1-1 0 0,29-17 1 0 0,-39 19-49 0 0,-2 0 0 0 0,1-1-1 0 0,-1 0 1 0 0,-1-1-1 0 0,1 0 1 0 0,-1-1-1 0 0,-1 0 1 0 0,0 0 0 0 0,11-18-1 0 0,-18 25-118 0 0,0 1-1 0 0,-1-1 1 0 0,1 0-1 0 0,-1 0 1 0 0,0 0 0 0 0,0 0-1 0 0,0 0 1 0 0,0 0-1 0 0,0 0 1 0 0,-1 0 0 0 0,1 0-1 0 0,-1 0 1 0 0,0-1-1 0 0,0 1 1 0 0,0 0 0 0 0,-1-5-1 0 0,0 7 21 0 0,1 1 0 0 0,0-1 0 0 0,-1 1 0 0 0,1-1 0 0 0,-1 1 0 0 0,1-1 0 0 0,-1 1 0 0 0,1-1 0 0 0,-1 1 0 0 0,1-1 0 0 0,-1 1 0 0 0,1-1 0 0 0,-1 1 0 0 0,0 0 0 0 0,1 0 0 0 0,-1-1 0 0 0,0 1 0 0 0,1 0 0 0 0,-1 0 0 0 0,0-1 0 0 0,1 1 0 0 0,-1 0 0 0 0,0 0 0 0 0,1 0-1 0 0,-1 0 1 0 0,0 0 0 0 0,1 0 0 0 0,-1 0 0 0 0,0 1 0 0 0,-1-1 0 0 0,-20 5-2675 0 0,8 1 649 0 0</inkml:trace>
</inkml:ink>
</file>

<file path=ppt/ink/ink1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7:59.914"/>
    </inkml:context>
    <inkml:brush xml:id="br0">
      <inkml:brushProperty name="width" value="0.08571" units="cm"/>
      <inkml:brushProperty name="height" value="0.08571" units="cm"/>
      <inkml:brushProperty name="color" value="#E71224"/>
    </inkml:brush>
  </inkml:definitions>
  <inkml:trace contextRef="#ctx0" brushRef="#br0">688 196 9062,'0'-22'1169,"-1"3"-1079,-3 5 0,-1 4 0,0-1 0,-1 3-3302,0 0 3302,-1 0 90,-7-4-90,1 3 0,-5-3 0,3 3-90,-2 1 89,-2 0 1,0 0 3392,-2 1-3302,0 1-90,-1 1-90,-1 0 90,-1 1-90,1 2 180,-2 1-180,1 3 90,0 1-90,-2 2 90,1 3-90,-2 2 0,0 5 0,0 2 0,0 5 0,0 2 0,2 4 90,2 2-180,2 3 180,1 1-90,4 3 90,2 2-90,3 1 0,3 1 0,3-1 90,2-1-180,4-1 180,2 3-90,4-1 0,9 21-519,0-16 609,9 13-1,-3-21 1,4 2 0,5-2 0,4-1 90,3-2-90,3-4 0,-1-5 270,22 5-180,-14-10 0,15 2-90,-18-10 90,1-3-1,-1-3 1,-2-3 0,0-3 0,-3-3 0,2-3 0,-2-4 90,-1-4 90,13-15-631,-14 3 451,8-12 0,-18 6 0,-3-3 0,-3-1 0,-4-2-90,-4-1 0,-3-2 0,-5 2 0,-3-1-90,-9-18-90,-2 14-90,-8-16-90,0 21-90,-2 0-90,-3 3 1,-1 1-181,-1 3-90,-1 2-1169,-9-6-269,9 11-811,-5-2 2969,12 14 0,1 2 0,0 2 0</inkml:trace>
</inkml:ink>
</file>

<file path=ppt/ink/ink1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8:00.696"/>
    </inkml:context>
    <inkml:brush xml:id="br0">
      <inkml:brushProperty name="width" value="0.08571" units="cm"/>
      <inkml:brushProperty name="height" value="0.08571" units="cm"/>
      <inkml:brushProperty name="color" value="#E71224"/>
    </inkml:brush>
  </inkml:definitions>
  <inkml:trace contextRef="#ctx0" brushRef="#br0">630 36 8612,'-22'-14'1619,"-1"2"-899,3 6-181,-3 3 181,-4 3-180,-3 4-1,-4 4-89,-2 5-3392,-4 7 3302,-1 5-1,-2 6-89,1 5 90,-14 23-824,15-10 644,-8 18-90,21-17 90,4 1-90,5-1 2581,5 0-2581,4-4 90,5 1-171,2-3 171,4 0-90,3-2 89,4 0 1,2-3 904,3-1-365,13 10-359,-3-14-203,12 8 203,-6-17-1,5-3 1,0-2-90,4-3 886,21 1-796,9-7-270,0-3-393,-2-9 393,-20-6 0,-1-2 0,-1-4 0,-2-3-1,0-3-89,-1-3 294,-3-2-204,-1-4 0,-6-2 0,-3-1-90,-3-3 0,-4-2-180,-1-22 1,-8 11-362,-3-13 91,-9 14-90,-4 0 1,-4-7-271,-5-3-89,-4-1 481,-3 0-572,-2 2-425,-2 4-2543,-13-12-552,9 20 4510,-10-8 0,12 23 0,-1 3 0</inkml:trace>
</inkml:ink>
</file>

<file path=ppt/ink/ink1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8:02.656"/>
    </inkml:context>
    <inkml:brush xml:id="br0">
      <inkml:brushProperty name="width" value="0.08571" units="cm"/>
      <inkml:brushProperty name="height" value="0.08571" units="cm"/>
      <inkml:brushProperty name="color" value="#E71224"/>
    </inkml:brush>
  </inkml:definitions>
  <inkml:trace contextRef="#ctx0" brushRef="#br0">0 509 9871,'5'19'1170,"0"-3"-900,-1-2-181,3 0 1,-1-3 90,2-1-90,4 0 0,-3-3-180,5 3 180,-3-5 0,1 1-90,0-2 90,0-1-90,0 0 90,0-2-180,0 0 180,7-2-90,-5-1 0,5-2 90,-6 0-180,0-1 180,-1-1-90,1 0 0,-2-1 0,0 0 0,0-1 0,-1 0 180,0-1-180,-1 1 90,0-1 0,-2 0 90,0 1-90,0 1 0,-2 0 0,3-2 0,-1 1-90,0-1 0,1 2-90,0 5 90,0 4 90,1 5-90,1 4-90,-3-3 180,3 1-90,-3-4 0,6 3 0,-3-4 0,4 2 89,-3-2-178,0-2 178,1-1-89,0-2 0,1 0 0,1-2 90,6-4-180,-4-1 90,4-2 0,-6-1 90,-1 0-90,0-2 0,-1-1-90,3-6 180,-5 4-90,3-5 0,-6 8 90,0 0 0,0 0-90,-2 2 90,0 0-90,-1 1 0,0 0 0,1-2 0,-1 1 0,1-2 0,0 1-90,0 3 180,3 1-90,1 2 0,3 3 0,2 0 0,-4 0 0,2-1 0,-3 0 0,0-1 90,5-2-90,-4 1 90,3-2 90,-5 3 0,0-1 0,2-1-180,-2-1 90,2-2-90,-2 0 90,-1 1-90,-1-1 0,-1 0 0,0-2 0,0 0 0,-1-2-90,0 1-90,0 0-270,0-3-359,0 1-541,-1-2-1168,-1 1 2518,-2 3 0,0 5 0,-2 3 0</inkml:trace>
</inkml:ink>
</file>

<file path=ppt/ink/ink1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5T10:18:41.464"/>
    </inkml:context>
    <inkml:brush xml:id="br0">
      <inkml:brushProperty name="width" value="0.1" units="cm"/>
      <inkml:brushProperty name="height" value="0.1" units="cm"/>
    </inkml:brush>
  </inkml:definitions>
  <inkml:trace contextRef="#ctx0" brushRef="#br0">15 110 328 0 0,'-4'-16'2137'0'0,"0"-1"-1"0"0,2 1 1 0 0,0 0-1 0 0,0-27 1 0 0,2 42-1594 0 0,1 1-463 0 0,0 1 1 0 0,0-1 0 0 0,0 1-1 0 0,1-1 1 0 0,-1 1-1 0 0,0 0 1 0 0,0 0 0 0 0,0 0-1 0 0,0-1 1 0 0,0 1 0 0 0,0 0-1 0 0,0 0 1 0 0,-1 0-1 0 0,1 1 1 0 0,0-1 0 0 0,0 0-1 0 0,-1 0 1 0 0,2 3 0 0 0,11 24 762 0 0,-12-24-761 0 0,15 44 483 0 0,-2 2 1 0 0,-2-1-1 0 0,5 56 0 0 0,-14-87-503 0 0,14 136 200 0 0,-13-104-1622 0 0,-4-47 908 0 0,0 1 0 0 0,1-1 0 0 0,-1 0-1 0 0,1 0 1 0 0,0 0 0 0 0,0 0 0 0 0,0 0 0 0 0,0 0-1 0 0,3 4 1 0 0,10-5-4842 0 0</inkml:trace>
</inkml:ink>
</file>

<file path=ppt/ink/ink1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5T10:18:41.824"/>
    </inkml:context>
    <inkml:brush xml:id="br0">
      <inkml:brushProperty name="width" value="0.1" units="cm"/>
      <inkml:brushProperty name="height" value="0.1" units="cm"/>
    </inkml:brush>
  </inkml:definitions>
  <inkml:trace contextRef="#ctx0" brushRef="#br0">220 12 660 0 0,'23'-11'3040'0'0,"-21"11"-2294"0"0,-1 0-684 0 0,-1 0 1 0 0,1 0 0 0 0,0 0-1 0 0,-1 0 1 0 0,1 1-1 0 0,-1-1 1 0 0,1 0 0 0 0,-1 0-1 0 0,1 0 1 0 0,-1 1-1 0 0,1-1 1 0 0,-1 0 0 0 0,1 1-1 0 0,-1-1 1 0 0,1 0 0 0 0,-1 1-1 0 0,1-1 1 0 0,-1 1-1 0 0,0-1 1 0 0,1 0 0 0 0,-1 1-1 0 0,1-1 1 0 0,-1 1-1 0 0,0-1 1 0 0,0 1 0 0 0,1-1-1 0 0,-1 1 1 0 0,0 0 0 0 0,0 0-1 0 0,1 1 118 0 0,-1 0 0 0 0,0 0 0 0 0,0 0-1 0 0,0 0 1 0 0,-1 1 0 0 0,1-1 0 0 0,0 0 0 0 0,-2 4-1 0 0,-19 43 1840 0 0,19-46-1932 0 0,-24 46 596 0 0,-1-2-1 0 0,-3-1 0 0 0,-54 65 1 0 0,60-90-2103 0 0,23-20 1168 0 0,0-1-1 0 0,0 1 1 0 0,0 0-1 0 0,0-1 1 0 0,0 1-1 0 0,-1-1 1 0 0,1 1-1 0 0,0-1 1 0 0,0 1-1 0 0,0-1 1 0 0,0 0-1 0 0,-1 0 0 0 0,1 1 1 0 0,0-1-1 0 0,0 0 1 0 0,-1 0-1 0 0,1 0 1 0 0,0 0-1 0 0,0-1 1 0 0,0 1-1 0 0,-1 0 1 0 0,1 0-1 0 0,0-1 1 0 0,-1 0-1 0 0,-9-6-2388 0 0</inkml:trace>
</inkml:ink>
</file>

<file path=ppt/ink/ink19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5T10:18:42.153"/>
    </inkml:context>
    <inkml:brush xml:id="br0">
      <inkml:brushProperty name="width" value="0.1" units="cm"/>
      <inkml:brushProperty name="height" value="0.1" units="cm"/>
    </inkml:brush>
  </inkml:definitions>
  <inkml:trace contextRef="#ctx0" brushRef="#br0">0 33 1264 0 0,'1'-1'155'0'0,"-1"0"0"0"0,1 1 1 0 0,-1-1-1 0 0,1 1 0 0 0,-1-1 0 0 0,1 1 0 0 0,0-1 0 0 0,-1 1 1 0 0,1 0-1 0 0,0-1 0 0 0,-1 1 0 0 0,1 0 0 0 0,0 0 0 0 0,0-1 1 0 0,-1 1-1 0 0,1 0 0 0 0,0 0 0 0 0,0 0 0 0 0,-1 0 0 0 0,1 0 1 0 0,0 0-1 0 0,0 0 0 0 0,-1 0 0 0 0,1 0 0 0 0,0 0 0 0 0,0 0 1 0 0,-1 1-1 0 0,1-1 0 0 0,0 0 0 0 0,-1 0 0 0 0,1 1 0 0 0,0-1 1 0 0,-1 1-1 0 0,1-1 0 0 0,0 0 0 0 0,-1 1 0 0 0,1-1 0 0 0,-1 1 1 0 0,1-1-1 0 0,-1 1 0 0 0,1 0 0 0 0,-1-1 0 0 0,1 1 0 0 0,0 1 1 0 0,25 36 2549 0 0,-20-28-2075 0 0,105 151 3384 0 0,-32-56-7372 0 0,-77-103 2510 0 0,0 1 0 0 0,0-1 0 0 0,1 1 0 0 0,-1-1 0 0 0,1 0 0 0 0,0 0 0 0 0,5 3 0 0 0</inkml:trace>
  <inkml:trace contextRef="#ctx0" brushRef="#br0" timeOffset="1">512 1 1728 0 0,'1'-1'218'0'0,"0"1"1"0"0,1 0-1 0 0,-1 1 0 0 0,0-1 0 0 0,1 0 0 0 0,-1 0 1 0 0,0 1-1 0 0,1-1 0 0 0,-1 0 0 0 0,0 1 0 0 0,0-1 1 0 0,1 1-1 0 0,-1 0 0 0 0,0-1 0 0 0,0 1 0 0 0,0 0 1 0 0,0 0-1 0 0,0 0 0 0 0,0-1 0 0 0,0 1 1 0 0,0 0-1 0 0,0 1 0 0 0,0-1 0 0 0,-1 0 0 0 0,1 0 1 0 0,0 0-1 0 0,-1 0 0 0 0,1 1 0 0 0,-1-1 0 0 0,1 0 1 0 0,-1 0-1 0 0,0 1 0 0 0,1 1 0 0 0,2 8 928 0 0,0 1 0 0 0,3 21 0 0 0,-5-22-504 0 0,23 164 3300 0 0,-19-60-9648 0 0</inkml:trace>
</inkml:ink>
</file>

<file path=ppt/ink/ink1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5T10:18:47.339"/>
    </inkml:context>
    <inkml:brush xml:id="br0">
      <inkml:brushProperty name="width" value="0.1" units="cm"/>
      <inkml:brushProperty name="height" value="0.1" units="cm"/>
    </inkml:brush>
  </inkml:definitions>
  <inkml:trace contextRef="#ctx0" brushRef="#br0">2 322 596 0 0,'-1'-20'946'0'0,"0"0"0"0"0,1 0 0 0 0,2 0-1 0 0,0 0 1 0 0,1 0 0 0 0,8-30 0 0 0,-8 41-831 0 0,0 1 1 0 0,0-1-1 0 0,1 1 0 0 0,1 0 1 0 0,-1 0-1 0 0,1 1 1 0 0,1-1-1 0 0,-1 1 0 0 0,1 0 1 0 0,0 0-1 0 0,1 1 0 0 0,0 0 1 0 0,0 0-1 0 0,0 0 0 0 0,1 1 1 0 0,13-7-1 0 0,-12 8-78 0 0,0 0-1 0 0,0 0 1 0 0,0 1 0 0 0,1 1-1 0 0,-1-1 1 0 0,1 1 0 0 0,0 1-1 0 0,0 0 1 0 0,-1 0 0 0 0,12 2-1 0 0,-14-1-329 0 0,-1 1 0 0 0,1 0 0 0 0,-1 0 1 0 0,0 0-1 0 0,0 1 0 0 0,1 0 0 0 0,-1 0 0 0 0,-1 1 0 0 0,1 0 0 0 0,0 0 0 0 0,-1 0 0 0 0,1 1 0 0 0,-1 0 0 0 0,0 0 1 0 0,0 0-1 0 0,6 6 0 0 0,-2 5-1905 0 0</inkml:trace>
</inkml:ink>
</file>

<file path=ppt/ink/ink1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5T10:18:50.155"/>
    </inkml:context>
    <inkml:brush xml:id="br0">
      <inkml:brushProperty name="width" value="0.1" units="cm"/>
      <inkml:brushProperty name="height" value="0.1" units="cm"/>
    </inkml:brush>
  </inkml:definitions>
  <inkml:trace contextRef="#ctx0" brushRef="#br0">1 6 864 0 0,'4'-6'2616'0'0,"47"176"3759"0"0,-32-85-4949 0 0,8 96 0 0 0,-26-172-1611 0 0,10 108 907 0 0,-9-79-2916 0 0,-1-1-3414 0 0</inkml:trace>
</inkml:ink>
</file>

<file path=ppt/ink/ink1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5T10:18:50.505"/>
    </inkml:context>
    <inkml:brush xml:id="br0">
      <inkml:brushProperty name="width" value="0.1" units="cm"/>
      <inkml:brushProperty name="height" value="0.1" units="cm"/>
    </inkml:brush>
  </inkml:definitions>
  <inkml:trace contextRef="#ctx0" brushRef="#br0">22 87 728 0 0,'-2'-1'1904'0'0,"1"1"-1715"0"0,0-1 79 0 0,0 1 1 0 0,0-1 0 0 0,-1 0 0 0 0,1 0-1 0 0,0 1 1 0 0,0-1 0 0 0,0 0-1 0 0,0 0 1 0 0,0 0 0 0 0,0 0-1 0 0,0 0 1 0 0,0 0 0 0 0,0 0 0 0 0,1 0-1 0 0,-1-1 1 0 0,0 1 0 0 0,1 0-1 0 0,-1 0 1 0 0,0-3 0 0 0,1 3-219 0 0,1 0 1 0 0,-1 1 0 0 0,0-1-1 0 0,0 0 1 0 0,1 0-1 0 0,-1 1 1 0 0,1-1 0 0 0,-1 0-1 0 0,1 0 1 0 0,-1 1-1 0 0,1-1 1 0 0,-1 0-1 0 0,1 1 1 0 0,0-1 0 0 0,-1 1-1 0 0,1-1 1 0 0,0 1-1 0 0,-1-1 1 0 0,1 1 0 0 0,0-1-1 0 0,0 1 1 0 0,0 0-1 0 0,1-1 1 0 0,19-7 297 0 0,24-2 171 0 0,89-9 0 0 0,48 11-2673 0 0,-88 5-2707 0 0,-77 2 3485 0 0</inkml:trace>
</inkml:ink>
</file>

<file path=ppt/ink/ink1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5T10:18:50.836"/>
    </inkml:context>
    <inkml:brush xml:id="br0">
      <inkml:brushProperty name="width" value="0.1" units="cm"/>
      <inkml:brushProperty name="height" value="0.1" units="cm"/>
    </inkml:brush>
  </inkml:definitions>
  <inkml:trace contextRef="#ctx0" brushRef="#br0">44 194 304 0 0,'29'-14'8115'0'0,"-27"15"-7948"0"0,-1 0 0 0 0,0 0 0 0 0,0 0-1 0 0,0 0 1 0 0,0 0 0 0 0,0 0 0 0 0,0 0 0 0 0,0 0 0 0 0,0 1 0 0 0,-1-1 0 0 0,1 0 0 0 0,0 1 0 0 0,-1-1 0 0 0,1 1 0 0 0,-1-1 0 0 0,1 0 0 0 0,-1 1-1 0 0,0-1 1 0 0,0 3 0 0 0,3 37 827 0 0,-3-25-476 0 0,2 93-691 0 0,-2-72-6290 0 0</inkml:trace>
  <inkml:trace contextRef="#ctx0" brushRef="#br0" timeOffset="1">43 96 1116 0 0,'-19'-32'6991'0'0,"-4"-8"-2920"0"0,23 38-4313 0 0,1-3-451 0 0,-1 4 603 0 0,0 1 0 0 0,0-1 0 0 0,0 1 0 0 0,0 0 0 0 0,0-1 0 0 0,0 1 0 0 0,0 0 0 0 0,0-1 0 0 0,0 1 0 0 0,0-1 0 0 0,0 1 0 0 0,1 0 0 0 0,-1-1 0 0 0,0 1 0 0 0,0 0 0 0 0,0-1 1 0 0,1 1-1 0 0,-1 0 0 0 0,0 0 0 0 0,0-1 0 0 0,1 1 0 0 0,-1 0 0 0 0,0 0 0 0 0,1-1 0 0 0,-1 1 0 0 0,0 0 0 0 0,1 0 0 0 0,-1 0 0 0 0,0-1 0 0 0,1 1 0 0 0,-1 0 0 0 0,1 0 0 0 0,-1 0 0 0 0,0 0 0 0 0,1 0 0 0 0,-1 0 0 0 0,1 0 0 0 0,9-3-2324 0 0,0-1-592 0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17.367"/>
    </inkml:context>
    <inkml:brush xml:id="br0">
      <inkml:brushProperty name="width" value="0.1" units="cm"/>
      <inkml:brushProperty name="height" value="0.1" units="cm"/>
    </inkml:brush>
  </inkml:definitions>
  <inkml:trace contextRef="#ctx0" brushRef="#br0">26 91 432 0 0,'-1'-2'352'0'0,"-1"0"-1"0"0,1 0 0 0 0,0-1 1 0 0,0 1-1 0 0,0 0 1 0 0,0 0-1 0 0,0-1 1 0 0,1 1-1 0 0,-1-1 1 0 0,1 1-1 0 0,-1-1 1 0 0,1 1-1 0 0,0 0 1 0 0,0-1-1 0 0,0 1 1 0 0,0-1-1 0 0,1-3 1 0 0,1 4-294 0 0,-1-1 0 0 0,0 1-1 0 0,1 0 1 0 0,0 0 0 0 0,-1 0 0 0 0,1 1 0 0 0,0-1 0 0 0,0 0 0 0 0,0 1 0 0 0,0-1 0 0 0,0 1 0 0 0,0-1 0 0 0,0 1 0 0 0,1 0 0 0 0,-1 0 0 0 0,0 0-1 0 0,4 0 1 0 0,2-3 25 0 0,1 2 1 0 0,-1-1-1 0 0,1 1 0 0 0,0 0 0 0 0,0 1 0 0 0,0 0 0 0 0,0 1 0 0 0,12 0 0 0 0,-17 0-40 0 0,0 0-1 0 0,-1 1 0 0 0,1 0 0 0 0,0 0 1 0 0,0 0-1 0 0,-1 0 0 0 0,1 0 1 0 0,-1 1-1 0 0,1-1 0 0 0,-1 1 1 0 0,1 0-1 0 0,-1 0 0 0 0,0 0 0 0 0,0 1 1 0 0,0-1-1 0 0,0 1 0 0 0,-1 0 1 0 0,1 0-1 0 0,-1 0 0 0 0,1 0 1 0 0,-1 0-1 0 0,2 4 0 0 0,2 6 111 0 0,-1 1-1 0 0,0 0 1 0 0,-1 1 0 0 0,0-1-1 0 0,-1 1 1 0 0,2 27 0 0 0,-5 95 645 0 0,-1-85-547 0 0,4 91 298 0 0,6 1 1 0 0,6-1-1 0 0,56 234 0 0 0,-58-324-335 0 0,-2 1-1 0 0,-3 0 0 0 0,-2 0 1 0 0,-2 105-1 0 0,-5-150-186 0 0,0 1-1 0 0,-1-1 1 0 0,1 1-1 0 0,-2-1 1 0 0,1 0 0 0 0,-2 0-1 0 0,1 0 1 0 0,-1-1 0 0 0,0 1-1 0 0,-6 8 1 0 0,6-12-23 0 0,0 0-1 0 0,0 0 1 0 0,-1 0 0 0 0,0 0 0 0 0,0-1 0 0 0,0 0 0 0 0,0 0-1 0 0,0 0 1 0 0,-1-1 0 0 0,0 0 0 0 0,0 0 0 0 0,0 0 0 0 0,0-1-1 0 0,0 0 1 0 0,-9 2 0 0 0,-3-1-431 0 0,-1 0 0 0 0,1-1 0 0 0,-1-1 0 0 0,0-1 0 0 0,-34-5 0 0 0,25 1-2740 0 0,-39-11 1 0 0,45 8-793 0 0</inkml:trace>
</inkml:ink>
</file>

<file path=ppt/ink/ink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37.577"/>
    </inkml:context>
    <inkml:brush xml:id="br0">
      <inkml:brushProperty name="width" value="0.1" units="cm"/>
      <inkml:brushProperty name="height" value="0.1" units="cm"/>
    </inkml:brush>
  </inkml:definitions>
  <inkml:trace contextRef="#ctx0" brushRef="#br0">258 67 720 0 0,'-40'-64'6837'0'0,"40"63"-6715"0"0,-9 0 29 0 0,8 1-142 0 0,-1 0-1 0 0,1 0 1 0 0,0 0 0 0 0,0 0-1 0 0,0 0 1 0 0,-1 0 0 0 0,1 0 0 0 0,0 0-1 0 0,0 0 1 0 0,-1 1 0 0 0,1-1-1 0 0,0 1 1 0 0,0-1 0 0 0,0 1 0 0 0,0-1-1 0 0,0 1 1 0 0,0 0 0 0 0,-2 0-1 0 0,-6 7 0 0 0,0 0 0 0 0,1 1-1 0 0,-1 0 1 0 0,2 0-1 0 0,-1 0 1 0 0,1 1-1 0 0,1 0 1 0 0,0 1-1 0 0,0-1 1 0 0,1 1 0 0 0,0 0-1 0 0,-4 17 1 0 0,-3 16 136 0 0,-12 86 0 0 0,19-101-75 0 0,-23 385 938 0 0,22-235-639 0 0,3-125-269 0 0,-10 315 368 0 0,14-256 60 0 0,19 141 0 0 0,-19-246-454 0 0,0 1 0 0 0,1-1 1 0 0,0 0-1 0 0,0 0 0 0 0,1 0 0 0 0,6 13 1 0 0,-7-18-54 0 0,-1-1 1 0 0,1 1-1 0 0,0-1 0 0 0,0 0 1 0 0,0 1-1 0 0,0-1 1 0 0,1 0-1 0 0,-1 0 1 0 0,1-1-1 0 0,-1 1 1 0 0,1 0-1 0 0,0-1 1 0 0,-1 1-1 0 0,1-1 1 0 0,0 0-1 0 0,0 0 1 0 0,0 0-1 0 0,0 0 1 0 0,0-1-1 0 0,0 1 1 0 0,4-1-1 0 0,8 1-200 0 0,-1-2 1 0 0,0 0-1 0 0,0 0 0 0 0,0-1 1 0 0,0-1-1 0 0,0 0 0 0 0,18-8 1 0 0,92-42-2581 0 0,-115 49 2518 0 0,70-37-3040 0 0,-40 16 998 0 0</inkml:trace>
</inkml:ink>
</file>

<file path=ppt/ink/ink2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5T10:18:51.182"/>
    </inkml:context>
    <inkml:brush xml:id="br0">
      <inkml:brushProperty name="width" value="0.1" units="cm"/>
      <inkml:brushProperty name="height" value="0.1" units="cm"/>
    </inkml:brush>
  </inkml:definitions>
  <inkml:trace contextRef="#ctx0" brushRef="#br0">1 0 1540 0 0,'15'0'3937'0'0,"-11"3"-3542"0"0,-1-1 0 0 0,0 1 0 0 0,0 0 0 0 0,0 0 0 0 0,0 0 0 0 0,0 0 0 0 0,-1 0 1 0 0,1 1-1 0 0,-1-1 0 0 0,0 1 0 0 0,0 0 0 0 0,0 0 0 0 0,0 0 0 0 0,-1 0 0 0 0,2 8 1 0 0,3 10 1084 0 0,4 38 0 0 0,-8-48-1081 0 0,22 256 3709 0 0,-26-89-7099 0 0,1-160 1418 0 0,0 5-1413 0 0,0-8-2556 0 0</inkml:trace>
  <inkml:trace contextRef="#ctx0" brushRef="#br0" timeOffset="1">362 134 2412 0 0,'2'-4'720'0'0,"13"-16"4888"0"0,-15 20-5529 0 0,1 0 1 0 0,-1-1 0 0 0,1 1-1 0 0,-1 0 1 0 0,1 0 0 0 0,-1 0-1 0 0,1-1 1 0 0,-1 1-1 0 0,1 0 1 0 0,-1 0 0 0 0,1 0-1 0 0,-1 0 1 0 0,1 0 0 0 0,0 0-1 0 0,-1 0 1 0 0,1 0 0 0 0,-1 1-1 0 0,1-1 1 0 0,-1 0 0 0 0,1 0-1 0 0,-1 0 1 0 0,1 0 0 0 0,-1 1-1 0 0,1-1 1 0 0,-1 0-1 0 0,1 1 1 0 0,-1-1 0 0 0,1 0-1 0 0,-1 1 1 0 0,0-1 0 0 0,1 0-1 0 0,-1 1 1 0 0,0-1 0 0 0,1 1-1 0 0,-1-1 1 0 0,0 1 0 0 0,1-1-1 0 0,-1 1 1 0 0,0-1 0 0 0,0 1-1 0 0,0-1 1 0 0,1 2-1 0 0,7 14 584 0 0,0 0-1 0 0,0 0 0 0 0,-2 1 0 0 0,5 18 0 0 0,14 74 77 0 0,-19-82-547 0 0,-1 1-986 0 0,3 45 0 0 0,-7-57-1831 0 0,-1 1-1 0 0,-3 16 0 0 0,0-22-1911 0 0</inkml:trace>
</inkml:ink>
</file>

<file path=ppt/ink/ink2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5T10:18:52.035"/>
    </inkml:context>
    <inkml:brush xml:id="br0">
      <inkml:brushProperty name="width" value="0.1" units="cm"/>
      <inkml:brushProperty name="height" value="0.1" units="cm"/>
    </inkml:brush>
  </inkml:definitions>
  <inkml:trace contextRef="#ctx0" brushRef="#br0">0 291 408 0 0,'9'-17'4020'0'0,"0"11"-3674"0"0,1 1 0 0 0,-1 0 0 0 0,1 1 0 0 0,0 0 0 0 0,0 0 0 0 0,0 1 0 0 0,12-2 0 0 0,83-9 262 0 0,-39 6-315 0 0,-27 2-209 0 0,65-12 1503 0 0,-90 15-1109 0 0,0-1 0 0 0,0-1 1 0 0,0 0-1 0 0,-1-1 0 0 0,14-7 1 0 0,-26 11-464 0 0,1 1 1 0 0,-1 0 0 0 0,1 0-1 0 0,-1 0 1 0 0,1 0 0 0 0,0 0-1 0 0,0 0 1 0 0,0 1-1 0 0,-1-1 1 0 0,1 0 0 0 0,0 1-1 0 0,0-1 1 0 0,0 1-1 0 0,0 0 1 0 0,0 0 0 0 0,0 0-1 0 0,0 0 1 0 0,0 0 0 0 0,0 0-1 0 0,0 0 1 0 0,0 1-1 0 0,-1-1 1 0 0,1 1 0 0 0,0-1-1 0 0,3 2 1 0 0,-4-1 56 0 0,2-2-83 0 0,0 0 0 0 0,0 0 0 0 0,-1 0 0 0 0,1-1 0 0 0,-1 1-1 0 0,1-1 1 0 0,-1 1 0 0 0,1-1 0 0 0,-1 0 0 0 0,0 0 0 0 0,0 0 0 0 0,0 0 0 0 0,0 0 0 0 0,0-1 0 0 0,0 1 0 0 0,-1-1 0 0 0,1 1 0 0 0,-1-1 0 0 0,0 1 0 0 0,1-1-1 0 0,-1 0 1 0 0,-1 0 0 0 0,1 0 0 0 0,0 1 0 0 0,-1-1 0 0 0,1 0 0 0 0,-1 0 0 0 0,0 0 0 0 0,0 0 0 0 0,0 0 0 0 0,0 0 0 0 0,0 0 0 0 0,-1 0 0 0 0,-1-4 0 0 0,2 6 10 0 0,-1 0 1 0 0,0-1-1 0 0,0 1 1 0 0,0 0 0 0 0,0 0-1 0 0,0 0 1 0 0,0 0 0 0 0,0 0-1 0 0,0 0 1 0 0,0 0 0 0 0,0 1-1 0 0,0-1 1 0 0,-1 0 0 0 0,1 1-1 0 0,0-1 1 0 0,-1 1 0 0 0,1-1-1 0 0,0 1 1 0 0,-1-1 0 0 0,1 1-1 0 0,0 0 1 0 0,-1 0 0 0 0,1 0-1 0 0,-1 0 1 0 0,1 0 0 0 0,0 0-1 0 0,-1 0 1 0 0,1 0 0 0 0,-2 1-1 0 0,-3 0 56 0 0,0 0 0 0 0,-1 0 0 0 0,1 1 0 0 0,-10 4 0 0 0,9-3 56 0 0,0 1 0 0 0,0 0 1 0 0,1 0-1 0 0,-1 0 1 0 0,1 1-1 0 0,0 0 1 0 0,0 0-1 0 0,0 0 1 0 0,1 1-1 0 0,0 0 1 0 0,-8 12-1 0 0,10-13-59 0 0,1-1 1 0 0,0 1-1 0 0,0-1 0 0 0,0 1 0 0 0,1 0 0 0 0,0-1 1 0 0,0 1-1 0 0,0 0 0 0 0,0 0 0 0 0,1 0 0 0 0,-1 0 1 0 0,1 0-1 0 0,1 0 0 0 0,-1 0 0 0 0,1 0 0 0 0,-1-1 0 0 0,1 1 1 0 0,1 0-1 0 0,2 8 0 0 0,-1-7-92 0 0,-1 0 0 0 0,1-1 0 0 0,1 1 1 0 0,-1 0-1 0 0,1-1 0 0 0,0 0 0 0 0,0 0 0 0 0,0 0 0 0 0,1 0 0 0 0,0-1 0 0 0,0 0 1 0 0,0 0-1 0 0,0 0 0 0 0,1 0 0 0 0,6 3 0 0 0,-7-5-105 0 0,-1-1 0 0 0,1 1 0 0 0,-1-1 1 0 0,1 0-1 0 0,0 0 0 0 0,0 0 0 0 0,0 0 0 0 0,-1-1 0 0 0,1 0 0 0 0,0 0 0 0 0,0-1 1 0 0,0 1-1 0 0,0-1 0 0 0,-1 0 0 0 0,1 0 0 0 0,0 0 0 0 0,-1-1 0 0 0,1 0 0 0 0,-1 0 1 0 0,9-5-1 0 0,8-7-213 0 0,0-1 0 0 0,26-26 0 0 0,12-10 874 0 0,-57 50-497 0 0,-1 0 0 0 0,0 0 0 0 0,0 0 0 0 0,1 0-1 0 0,-1 0 1 0 0,1 1 0 0 0,-1-1 0 0 0,0 0 0 0 0,1 1-1 0 0,0-1 1 0 0,-1 1 0 0 0,1 0 0 0 0,-1-1 0 0 0,1 1-1 0 0,-1 0 1 0 0,1 0 0 0 0,0 0 0 0 0,-1 0 0 0 0,1 0 0 0 0,0 0-1 0 0,-1 0 1 0 0,1 1 0 0 0,-1-1 0 0 0,1 1 0 0 0,-1-1-1 0 0,1 1 1 0 0,-1-1 0 0 0,1 1 0 0 0,-1 0 0 0 0,0 0-1 0 0,1 0 1 0 0,-1 0 0 0 0,0 0 0 0 0,1 0 0 0 0,-1 0-1 0 0,0 0 1 0 0,0 0 0 0 0,0 1 0 0 0,0-1 0 0 0,0 0 0 0 0,1 4-1 0 0,0-1 38 0 0,1 1 0 0 0,-1-1 0 0 0,0 1 0 0 0,0 0 0 0 0,-1 0 0 0 0,0 0 0 0 0,1 0 0 0 0,-2 0 0 0 0,1 0 0 0 0,-1 0 0 0 0,1 1 0 0 0,-2 5 0 0 0,1-4 38 0 0,-1 0 0 0 0,0 0 0 0 0,0 0 0 0 0,-1-1 0 0 0,0 1 0 0 0,0-1 0 0 0,0 1 0 0 0,-1-1 0 0 0,0 0 0 0 0,0 0 0 0 0,-1 0 0 0 0,0 0 0 0 0,-7 8 0 0 0,10-13 251 0 0,1-1-338 0 0,-1 0 1 0 0,1 0 0 0 0,0 1-1 0 0,-1-1 1 0 0,1 0 0 0 0,0 0-1 0 0,-1 0 1 0 0,1 0 0 0 0,0-1-1 0 0,-1 1 1 0 0,1 0 0 0 0,0 0-1 0 0,-1 0 1 0 0,1 0 0 0 0,0 0-1 0 0,0 0 1 0 0,-1 0 0 0 0,1-1-1 0 0,0 1 1 0 0,-1 0 0 0 0,1 0-1 0 0,0 0 1 0 0,0-1 0 0 0,0 1-1 0 0,-1 0 1 0 0,1 0 0 0 0,0-1-1 0 0,0 1 1 0 0,0 0 0 0 0,-1 0-1 0 0,1-1 1 0 0,0 1 0 0 0,0 0 0 0 0,0-1-1 0 0,0 1 1 0 0,0 0 0 0 0,0-1-1 0 0,5-14 95 0 0,19-15-79 0 0,-22 27 1 0 0,122-126-3 0 0,-17 20-62 0 0,-92 92 44 0 0,-8 10-42 0 0,0 0 0 0 0,0-1 0 0 0,-1 0 0 0 0,9-15 0 0 0,-14 21 19 0 0,-1 2 3 0 0,-1 0 19 0 0,0-1 0 0 0,1 1 0 0 0,-1 0 0 0 0,1 0-1 0 0,-1 0 1 0 0,1 0 0 0 0,-1 0 0 0 0,0 0-1 0 0,1 0 1 0 0,-1 1 0 0 0,1-1 0 0 0,-1 0-1 0 0,0 0 1 0 0,1 0 0 0 0,-1 1 0 0 0,1-1 0 0 0,-1 0-1 0 0,1 0 1 0 0,-1 1 0 0 0,1-1 0 0 0,-1 1-1 0 0,1-1 1 0 0,0 0 0 0 0,-1 1 0 0 0,1-1 0 0 0,-1 1-1 0 0,-6 19 86 0 0,6-14 6 0 0,1 0 0 0 0,-1 0 0 0 0,1-1 0 0 0,1 1 0 0 0,0 7 0 0 0,5 4 200 0 0,1 0 1 0 0,0 0-1 0 0,1-1 1 0 0,1 0-1 0 0,1-1 1 0 0,0 0-1 0 0,14 17 1 0 0,10 15 143 0 0,-34-47-468 0 0,0 1 0 0 0,0-1 0 0 0,0 1 0 0 0,0-1 0 0 0,0 1 0 0 0,0-1 0 0 0,0 1-1 0 0,0-1 1 0 0,0 1 0 0 0,0-1 0 0 0,0 1 0 0 0,0-1 0 0 0,0 1 0 0 0,0-1 0 0 0,-1 1 0 0 0,1-1 0 0 0,0 1 0 0 0,0-1 0 0 0,-1 0 0 0 0,1 1 0 0 0,0-1 0 0 0,-1 1 0 0 0,1-1 0 0 0,0 0 0 0 0,-1 1 0 0 0,1-1 0 0 0,-1 0 0 0 0,1 1 0 0 0,0-1 0 0 0,-1 0 0 0 0,1 0 0 0 0,-1 1 0 0 0,1-1 0 0 0,-1 0 0 0 0,1 0 0 0 0,-1 0 0 0 0,0 0 0 0 0,-21 8-1461 0 0,-91 16-7629 0 0,83-18 5333 0 0</inkml:trace>
</inkml:ink>
</file>

<file path=ppt/ink/ink2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5T10:18:53.049"/>
    </inkml:context>
    <inkml:brush xml:id="br0">
      <inkml:brushProperty name="width" value="0.1" units="cm"/>
      <inkml:brushProperty name="height" value="0.1" units="cm"/>
    </inkml:brush>
  </inkml:definitions>
  <inkml:trace contextRef="#ctx0" brushRef="#br0">96 35 984 0 0,'-9'8'513'0'0,"0"0"0"0"0,1 0 1 0 0,0 1-1 0 0,0 0 0 0 0,1 1 0 0 0,0-1 0 0 0,1 1 0 0 0,0 1 0 0 0,0-1 1 0 0,1 1-1 0 0,-5 17 0 0 0,8-23-360 0 0,1 0 0 0 0,0 0 0 0 0,0 1 1 0 0,0-1-1 0 0,1 0 0 0 0,-1 0 0 0 0,1 0 0 0 0,1 1 0 0 0,-1-1 1 0 0,1 0-1 0 0,0 0 0 0 0,0 0 0 0 0,0 0 0 0 0,1 0 0 0 0,0 0 1 0 0,0 0-1 0 0,0 0 0 0 0,0-1 0 0 0,1 1 0 0 0,0-1 0 0 0,0 1 1 0 0,0-1-1 0 0,0 0 0 0 0,1 0 0 0 0,-1-1 0 0 0,1 1 0 0 0,0-1 1 0 0,5 4-1 0 0,-5-4-72 0 0,1 0-1 0 0,-1 0 1 0 0,1 0 0 0 0,-1-1 0 0 0,1 0 0 0 0,0 0 0 0 0,0 0 0 0 0,0 0 0 0 0,0-1-1 0 0,0 1 1 0 0,1-1 0 0 0,-1-1 0 0 0,0 1 0 0 0,0-1 0 0 0,1 0 0 0 0,-1 0-1 0 0,0-1 1 0 0,1 1 0 0 0,-1-1 0 0 0,0 0 0 0 0,0-1 0 0 0,0 1 0 0 0,0-1 0 0 0,0 0-1 0 0,0 0 1 0 0,0-1 0 0 0,-1 1 0 0 0,1-1 0 0 0,-1 0 0 0 0,1 0 0 0 0,-1-1-1 0 0,0 1 1 0 0,-1-1 0 0 0,1 0 0 0 0,-1 0 0 0 0,1 0 0 0 0,2-5 0 0 0,-3 3-52 0 0,1 0 0 0 0,-1-1 1 0 0,-1 1-1 0 0,1 0 1 0 0,-1-1-1 0 0,-1 1 0 0 0,1-1 1 0 0,-1 0-1 0 0,0 1 0 0 0,0-1 1 0 0,-1 0-1 0 0,0 0 1 0 0,0 0-1 0 0,-1 1 0 0 0,0-1 1 0 0,0 0-1 0 0,0 0 0 0 0,-1 1 1 0 0,0-1-1 0 0,-4-8 1 0 0,2 6-487 0 0,-1 0 0 0 0,0 0 0 0 0,-1 0 0 0 0,0 1 0 0 0,0 0 0 0 0,-1 0 0 0 0,0 0 0 0 0,0 1 0 0 0,-1 0 0 0 0,0 1 0 0 0,0-1 0 0 0,-17-8 0 0 0,7 3-3621 0 0,10 8 1227 0 0</inkml:trace>
</inkml:ink>
</file>

<file path=ppt/ink/ink2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5T10:18:53.572"/>
    </inkml:context>
    <inkml:brush xml:id="br0">
      <inkml:brushProperty name="width" value="0.1" units="cm"/>
      <inkml:brushProperty name="height" value="0.1" units="cm"/>
    </inkml:brush>
  </inkml:definitions>
  <inkml:trace contextRef="#ctx0" brushRef="#br0">1 131 1336 0 0,'114'192'12762'0'0,"-113"-191"-12611"0"0,-1 0 0 0 0,0 0 0 0 0,1-1 1 0 0,-1 1-1 0 0,1 0 0 0 0,0 0 0 0 0,-1 0 0 0 0,1-1 0 0 0,0 1 0 0 0,-1 0 1 0 0,1-1-1 0 0,0 1 0 0 0,0-1 0 0 0,-1 1 0 0 0,1-1 0 0 0,0 1 0 0 0,0-1 1 0 0,0 0-1 0 0,0 1 0 0 0,0-1 0 0 0,0 0 0 0 0,-1 1 0 0 0,1-1 1 0 0,0 0-1 0 0,0 0 0 0 0,0 0 0 0 0,2 0 0 0 0,-2-1-62 0 0,1 1-1 0 0,0-1 1 0 0,-1 0-1 0 0,1 0 1 0 0,-1 0-1 0 0,1 0 1 0 0,-1 0 0 0 0,1 0-1 0 0,-1 0 1 0 0,1 0-1 0 0,-1-1 1 0 0,0 1-1 0 0,2-3 1 0 0,3-4 1 0 0,0-1 1 0 0,-1-1-1 0 0,8-17 1 0 0,37-98-58 0 0,-20 40-4146 0 0,-29 83 3914 0 0,-1 1 1 0 0,1 0-1 0 0,-1-1 0 0 0,1 1 1 0 0,0 0-1 0 0,-1 0 0 0 0,1-1 1 0 0,0 1-1 0 0,0 0 0 0 0,0 0 0 0 0,0 0 1 0 0,0 0-1 0 0,0 0 0 0 0,0 0 1 0 0,1 0-1 0 0,-1 0 0 0 0,0 1 0 0 0,0-1 1 0 0,1 0-1 0 0,-1 1 0 0 0,0-1 1 0 0,1 1-1 0 0,-1-1 0 0 0,1 1 1 0 0,-1 0-1 0 0,0-1 0 0 0,1 1 0 0 0,-1 0 1 0 0,1 0-1 0 0,-1 0 0 0 0,1 0 1 0 0,-1 0-1 0 0,1 1 0 0 0,2 0 1 0 0,5 1-241 0 0,1 1 0 0 0,-1 1 0 0 0,0 0 1 0 0,13 6-1 0 0,4 3-145 0 0,-16-10 390 0 0,9 5 259 0 0,0-2 1 0 0,1-1 0 0 0,0 0 0 0 0,22 2 0 0 0,-37-7 11 0 0,0 1 0 0 0,0-1 0 0 0,0 0 0 0 0,0 0 0 0 0,0-1 0 0 0,0 0 0 0 0,-1 0 0 0 0,1 0 0 0 0,0 0 0 0 0,0-1 0 0 0,0 1 0 0 0,-1-1 0 0 0,1-1 0 0 0,-1 1 0 0 0,0-1 0 0 0,1 1 0 0 0,-1-1-1 0 0,0 0 1 0 0,-1-1 0 0 0,1 1 0 0 0,0-1 0 0 0,3-4 0 0 0,-6 6-37 0 0,0 1-1 0 0,0 0 0 0 0,0-1 0 0 0,0 1 0 0 0,0-1 0 0 0,0 1 0 0 0,0-1 0 0 0,-1 0 0 0 0,1 1 0 0 0,-1-1 1 0 0,1 0-1 0 0,-1 1 0 0 0,0-1 0 0 0,1 0 0 0 0,-1 0 0 0 0,0 1 0 0 0,-1-4 0 0 0,1 4-7 0 0,0 0 0 0 0,-1 0 1 0 0,1-1-1 0 0,-1 1 0 0 0,1 0 0 0 0,-1 0 0 0 0,0 0 0 0 0,0 0 0 0 0,1 0 0 0 0,-1 0 1 0 0,0 1-1 0 0,0-1 0 0 0,0 0 0 0 0,0 0 0 0 0,0 1 0 0 0,0-1 0 0 0,0 0 0 0 0,0 1 1 0 0,-1-1-1 0 0,-3-1 98 0 0,0 0 0 0 0,0 1 0 0 0,0 0 1 0 0,1 0-1 0 0,-1 0 0 0 0,0 1 0 0 0,0 0 1 0 0,0-1-1 0 0,0 2 0 0 0,-7 0 0 0 0,4 1 7 0 0,0-1-1 0 0,1 2 1 0 0,-1-1-1 0 0,1 1 0 0 0,0 0 1 0 0,0 1-1 0 0,0 0 1 0 0,0 0-1 0 0,1 0 1 0 0,-1 1-1 0 0,1 0 0 0 0,0 0 1 0 0,1 1-1 0 0,-1-1 1 0 0,-5 9-1 0 0,9-11-104 0 0,-1 0-1 0 0,1 1 1 0 0,0 0-1 0 0,0-1 1 0 0,0 1 0 0 0,1 0-1 0 0,-1 0 1 0 0,1 0-1 0 0,0 0 1 0 0,0 0-1 0 0,1 0 1 0 0,-1 0 0 0 0,1 0-1 0 0,0 0 1 0 0,0 1-1 0 0,0-1 1 0 0,0 0-1 0 0,1 0 1 0 0,0 0 0 0 0,0 0-1 0 0,0 0 1 0 0,0 0-1 0 0,1 0 1 0 0,-1 0 0 0 0,1-1-1 0 0,0 1 1 0 0,0 0-1 0 0,0-1 1 0 0,1 1-1 0 0,4 4 1 0 0,-3-3-187 0 0,0-1 0 0 0,0 0 0 0 0,0 0 0 0 0,1 0 0 0 0,-1 0 0 0 0,1-1 0 0 0,0 0 0 0 0,0 0 0 0 0,0 0 0 0 0,0-1 0 0 0,7 3 0 0 0,-8-4-228 0 0,-1 0 0 0 0,1-1 0 0 0,0 1 0 0 0,0-1 0 0 0,0 0 1 0 0,0 0-1 0 0,0 0 0 0 0,0 0 0 0 0,0-1 0 0 0,0 1 0 0 0,0-1 1 0 0,-1 0-1 0 0,1 0 0 0 0,0-1 0 0 0,-1 1 0 0 0,1-1 0 0 0,4-2 0 0 0,8-6-2427 0 0</inkml:trace>
</inkml:ink>
</file>

<file path=ppt/ink/ink2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5T10:18:53.935"/>
    </inkml:context>
    <inkml:brush xml:id="br0">
      <inkml:brushProperty name="width" value="0.1" units="cm"/>
      <inkml:brushProperty name="height" value="0.1" units="cm"/>
    </inkml:brush>
  </inkml:definitions>
  <inkml:trace contextRef="#ctx0" brushRef="#br0">1 41 96 0 0,'6'-4'590'0'0,"0"0"-1"0"0,1 1 1 0 0,-1 0-1 0 0,1 0 1 0 0,0 0-1 0 0,-1 1 1 0 0,10-1-1 0 0,-13 2-393 0 0,0 1-1 0 0,0 0 1 0 0,1 0 0 0 0,-1 0-1 0 0,0 1 1 0 0,0-1 0 0 0,0 1 0 0 0,0-1-1 0 0,0 1 1 0 0,0 0 0 0 0,0 1-1 0 0,0-1 1 0 0,0 0 0 0 0,0 1-1 0 0,0-1 1 0 0,-1 1 0 0 0,1 0-1 0 0,4 4 1 0 0,-2-1-9 0 0,-1 0 0 0 0,0 1 1 0 0,0-1-1 0 0,-1 1 0 0 0,1-1 0 0 0,-1 1 0 0 0,0 0 0 0 0,-1 1 0 0 0,1-1 0 0 0,-1 0 1 0 0,-1 1-1 0 0,1-1 0 0 0,-1 1 0 0 0,1 9 0 0 0,-1-2 47 0 0,-1-1 0 0 0,0 0 0 0 0,0 1 0 0 0,-2-1 0 0 0,0 0 0 0 0,-4 17 0 0 0,5-25 107 0 0,0-1 0 0 0,-1 1 1 0 0,0-1-1 0 0,0 1 1 0 0,0-1-1 0 0,0 0 1 0 0,-5 6-1 0 0,5-9 146 0 0,-2-8 148 0 0,3 6-599 0 0,1 0 0 0 0,-1 0-1 0 0,0-1 1 0 0,1 1 0 0 0,-1 0 0 0 0,1 0-1 0 0,0 0 1 0 0,-1-1 0 0 0,1 1 0 0 0,0 0 0 0 0,0 0-1 0 0,0-1 1 0 0,0 1 0 0 0,0 0 0 0 0,0 0-1 0 0,0-2 1 0 0,2-13 26 0 0,0 0-1 0 0,1 1 0 0 0,1 0 1 0 0,1-1-1 0 0,0 1 1 0 0,1 1-1 0 0,14-27 0 0 0,-13 28-817 0 0,1 0 0 0 0,1 0-1 0 0,0 1 1 0 0,19-19-1 0 0,9 4-6013 0 0</inkml:trace>
</inkml:ink>
</file>

<file path=ppt/ink/ink2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5T10:18:54.587"/>
    </inkml:context>
    <inkml:brush xml:id="br0">
      <inkml:brushProperty name="width" value="0.1" units="cm"/>
      <inkml:brushProperty name="height" value="0.1" units="cm"/>
    </inkml:brush>
  </inkml:definitions>
  <inkml:trace contextRef="#ctx0" brushRef="#br0">28 1 60 0 0,'0'0'3420'0'0,"-5"19"-743"0"0,-7 288 9738 0 0,12-306-12390 0 0,1-1 0 0 0,-1 0 0 0 0,0 0 0 0 0,-1 0-1 0 0,1 0 1 0 0,0 1 0 0 0,0-1 0 0 0,0 0 0 0 0,0 0 0 0 0,0 0 0 0 0,0 0 0 0 0,0 0 0 0 0,0 1 0 0 0,0-1 0 0 0,0 0 0 0 0,0 0 0 0 0,0 0 0 0 0,0 0 0 0 0,0 0 0 0 0,-1 0 0 0 0,1 1 0 0 0,0-1 0 0 0,0 0 0 0 0,0 0 0 0 0,0 0 0 0 0,0 0-1 0 0,0 0 1 0 0,-1 0 0 0 0,1 0 0 0 0,0 0 0 0 0,0 0 0 0 0,0 0 0 0 0,0 0 0 0 0,-1 0 0 0 0,1 0 0 0 0,0 0 0 0 0,0 0 0 0 0,0 0 0 0 0,0 0 0 0 0,0 0 0 0 0,-1 0 0 0 0,1 0 0 0 0,0 0-9 0 0,-1 0 1 0 0,1 0-1 0 0,0-1 1 0 0,-1 1-1 0 0,1 0 1 0 0,0 0-1 0 0,-1-1 1 0 0,1 1-1 0 0,0 0 1 0 0,-1-1 0 0 0,1 1-1 0 0,0 0 1 0 0,0-1-1 0 0,0 1 1 0 0,-1-1-1 0 0,1 1 1 0 0,0 0-1 0 0,0-1 1 0 0,0 1-1 0 0,0-1 1 0 0,0 1-1 0 0,0 0 1 0 0,0-1-1 0 0,0 1 1 0 0,0-1 0 0 0,-1-10-63 0 0,1 1 0 0 0,0 0 0 0 0,1-1 1 0 0,0 1-1 0 0,1 0 0 0 0,0-1 1 0 0,1 1-1 0 0,0 0 0 0 0,0 1 0 0 0,1-1 1 0 0,0 0-1 0 0,1 1 0 0 0,0 0 1 0 0,1 0-1 0 0,0 1 0 0 0,0-1 0 0 0,12-11 1 0 0,-17 19 28 0 0,0 0 1 0 0,0 0-1 0 0,0 0 1 0 0,1 0 0 0 0,-1 0-1 0 0,0 0 1 0 0,1 0-1 0 0,-1 1 1 0 0,1-1-1 0 0,-1 0 1 0 0,1 1-1 0 0,-1-1 1 0 0,1 1-1 0 0,-1 0 1 0 0,1-1 0 0 0,0 1-1 0 0,-1 0 1 0 0,1 0-1 0 0,0 0 1 0 0,-1 0-1 0 0,1 0 1 0 0,2 1-1 0 0,-1 0 3 0 0,-1 0 0 0 0,0 0-1 0 0,1 1 1 0 0,-1-1-1 0 0,0 1 1 0 0,0-1 0 0 0,0 1-1 0 0,0 0 1 0 0,0-1-1 0 0,0 1 1 0 0,-1 0 0 0 0,4 5-1 0 0,-2-2 4 0 0,1 1-1 0 0,-1 0 0 0 0,0 0 0 0 0,0 0 1 0 0,-1 1-1 0 0,0-1 0 0 0,0 1 0 0 0,0-1 1 0 0,1 14-1 0 0,-3-17 36 0 0,0-1-1 0 0,0 0 1 0 0,0 1 0 0 0,-1-1-1 0 0,1 0 1 0 0,0 1-1 0 0,-1-1 1 0 0,0 0 0 0 0,1 1-1 0 0,-1-1 1 0 0,0 0-1 0 0,0 0 1 0 0,-2 2 0 0 0,2-2 234 0 0,-4-4 12 0 0,5 2-262 0 0,-1 0-1 0 0,1 0 1 0 0,0 0 0 0 0,-1 0-1 0 0,1 0 1 0 0,0 0 0 0 0,-1 0-1 0 0,1 0 1 0 0,-1 0 0 0 0,1 0-1 0 0,0 0 1 0 0,-1-1 0 0 0,1 1-1 0 0,0 0 1 0 0,-1 0 0 0 0,1 0-1 0 0,0 0 1 0 0,-1-1 0 0 0,1 1-1 0 0,0 0 1 0 0,-1 0 0 0 0,1-1-1 0 0,0 1 1 0 0,0 0 0 0 0,-1 0-1 0 0,1-1 1 0 0,0 1 0 0 0,-1-1-1 0 0,1-4 25 0 0,0 0-1 0 0,-1 1 0 0 0,2-1 0 0 0,-1 0 0 0 0,0 0 0 0 0,1 0 0 0 0,0 0 0 0 0,0 1 0 0 0,1-1 1 0 0,-1 0-1 0 0,1 1 0 0 0,0-1 0 0 0,0 1 0 0 0,0 0 0 0 0,1-1 0 0 0,0 1 0 0 0,-1 1 1 0 0,1-1-1 0 0,1 0 0 0 0,-1 1 0 0 0,7-6 0 0 0,-3 2-34 0 0,0 1 0 0 0,1 0-1 0 0,0 0 1 0 0,0 1 0 0 0,0 0 0 0 0,1 0 0 0 0,-1 1-1 0 0,1 0 1 0 0,0 0 0 0 0,12-2 0 0 0,-17 5-50 0 0,1 1 0 0 0,-1-1 1 0 0,1 1-1 0 0,-1 0 0 0 0,1 0 0 0 0,-1 0 1 0 0,0 0-1 0 0,1 1 0 0 0,-1 0 0 0 0,1 0 0 0 0,-1 0 1 0 0,0 1-1 0 0,0-1 0 0 0,0 1 0 0 0,0 0 1 0 0,0 0-1 0 0,0 0 0 0 0,0 1 0 0 0,-1-1 1 0 0,1 1-1 0 0,-1 0 0 0 0,0 0 0 0 0,0 0 0 0 0,0 1 1 0 0,0-1-1 0 0,0 1 0 0 0,3 5 0 0 0,-1 0-674 0 0,0 1 0 0 0,-1-1-1 0 0,0 1 1 0 0,0 0 0 0 0,-1 0-1 0 0,-1 0 1 0 0,1 0 0 0 0,-2 1-1 0 0,1-1 1 0 0,-1 16 0 0 0,-1 0-3888 0 0,0-12 812 0 0</inkml:trace>
</inkml:ink>
</file>

<file path=ppt/ink/ink2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5T10:18:55.632"/>
    </inkml:context>
    <inkml:brush xml:id="br0">
      <inkml:brushProperty name="width" value="0.1" units="cm"/>
      <inkml:brushProperty name="height" value="0.1" units="cm"/>
    </inkml:brush>
  </inkml:definitions>
  <inkml:trace contextRef="#ctx0" brushRef="#br0">322 1 448 0 0,'-11'0'591'0'0,"0"-1"0"0"0,0 1 1 0 0,1 1-1 0 0,-1 0 0 0 0,0 0 0 0 0,0 1 1 0 0,0 1-1 0 0,1 0 0 0 0,-1 0 0 0 0,1 1 1 0 0,0 0-1 0 0,0 1 0 0 0,-12 8 0 0 0,5-3-147 0 0,2 0 0 0 0,-1 2 0 0 0,2 0 1 0 0,0 1-1 0 0,0 0 0 0 0,-22 28 0 0 0,32-34-315 0 0,-1 0 1 0 0,1 1 0 0 0,0 0-1 0 0,1 0 1 0 0,-1 0 0 0 0,2 0-1 0 0,-1 1 1 0 0,1-1 0 0 0,0 1-1 0 0,1-1 1 0 0,0 1 0 0 0,0 0-1 0 0,1-1 1 0 0,0 1-1 0 0,1 0 1 0 0,0 0 0 0 0,3 11-1 0 0,-3-14-94 0 0,0 0-1 0 0,1 0 0 0 0,0-1 0 0 0,0 1 0 0 0,1-1 0 0 0,-1 1 0 0 0,1-1 0 0 0,0 0 1 0 0,1 0-1 0 0,-1 0 0 0 0,1 0 0 0 0,0-1 0 0 0,0 1 0 0 0,1-1 0 0 0,-1 0 0 0 0,1-1 1 0 0,0 1-1 0 0,0-1 0 0 0,0 0 0 0 0,0 0 0 0 0,0 0 0 0 0,1-1 0 0 0,-1 0 0 0 0,1 0 1 0 0,11 2-1 0 0,-12-3-102 0 0,0 0 1 0 0,1-1-1 0 0,-1 0 1 0 0,0 0-1 0 0,0 0 0 0 0,0-1 1 0 0,0 0-1 0 0,0 0 1 0 0,0 0-1 0 0,0 0 1 0 0,0-1-1 0 0,-1 0 1 0 0,6-3-1 0 0,-2 1-136 0 0,-1-1 1 0 0,0 0-1 0 0,-1 0 1 0 0,1-1-1 0 0,-1 1 0 0 0,0-1 1 0 0,6-9-1 0 0,4-7-415 0 0,-2-1-1 0 0,0 0 0 0 0,19-46 1 0 0,-11 14 191 0 0,-12 27 641 0 0,18-31 0 0 0,-28 59-197 0 0,0 0 0 0 0,0-1 0 0 0,0 1 0 0 0,0 0 0 0 0,0 0 0 0 0,0-1 0 0 0,1 1 0 0 0,-1 0 0 0 0,0-1 0 0 0,0 1 0 0 0,0 0 0 0 0,0 0 0 0 0,1-1 0 0 0,-1 1 0 0 0,0 0 0 0 0,0 0 1 0 0,1 0-1 0 0,-1 0 0 0 0,0-1 0 0 0,0 1 0 0 0,1 0 0 0 0,-1 0 0 0 0,0 0 0 0 0,1 0 0 0 0,-1 0 0 0 0,0 0 0 0 0,1 0 0 0 0,-1-1 0 0 0,0 1 0 0 0,0 0 0 0 0,1 0 0 0 0,-1 0 0 0 0,0 0 1 0 0,1 0-1 0 0,-1 1 0 0 0,0-1 0 0 0,1 0 0 0 0,7 11 563 0 0,1 17 407 0 0,-1 23 825 0 0,0 79 0 0 0,-2-27 266 0 0,-4-88-428 0 0,2-13-433 0 0,8-19-44 0 0,-2 0-1313 0 0,-5 9-21 0 0,1 0-1 0 0,-1 1 1 0 0,1 0 0 0 0,1 0-1 0 0,-1 0 1 0 0,1 1 0 0 0,0 0-1 0 0,1 0 1 0 0,-1 1 0 0 0,11-6-1 0 0,-15 11-60 0 0,1-1-1 0 0,-1 1 1 0 0,0 0-1 0 0,0 0 1 0 0,1 0-1 0 0,-1 1 1 0 0,0-1-1 0 0,0 1 1 0 0,0 0-1 0 0,1 0 1 0 0,-1 0-1 0 0,0 0 1 0 0,0 0-1 0 0,0 1 1 0 0,3 1-1 0 0,0 0-185 0 0,16 8-1333 0 0,23 17 0 0 0,-30-19 834 0 0,0 1-1 0 0,1-2 1 0 0,29 12-1 0 0,-40-18 808 0 0,1-1 1 0 0,0 1-1 0 0,-1-1 0 0 0,1 0 0 0 0,0-1 0 0 0,0 0 0 0 0,0 0 0 0 0,0 0 0 0 0,0 0 0 0 0,-1-1 0 0 0,1 0 0 0 0,0 0 0 0 0,0-1 0 0 0,-1 0 1 0 0,9-3-1 0 0,-2-1 34 0 0,-1 0 0 0 0,-1-1 0 0 0,1 0 0 0 0,-1 0 0 0 0,-1-1 0 0 0,1-1 0 0 0,12-14 1 0 0,-18 18 174 0 0,1 0 1 0 0,-1 0-1 0 0,0-1 1 0 0,0 1-1 0 0,-1-1 1 0 0,0 0-1 0 0,0 0 1 0 0,0-1-1 0 0,-1 1 1 0 0,0 0-1 0 0,0-1 1 0 0,0 0 0 0 0,-1 1-1 0 0,0-1 1 0 0,0-10-1 0 0,-1 15-54 0 0,0 1 0 0 0,-1-1 0 0 0,1 0 0 0 0,-1 0 0 0 0,1 0 0 0 0,-1 0 0 0 0,0 1 0 0 0,1-1 0 0 0,-1 0 0 0 0,0 1 0 0 0,0-1 0 0 0,0 1 0 0 0,0-1 0 0 0,0 1 0 0 0,-1-1 0 0 0,1 1 0 0 0,0 0 0 0 0,-3-2 0 0 0,0 0 33 0 0,1 1 0 0 0,-1 0 0 0 0,1 1 0 0 0,-1-1 0 0 0,0 1 0 0 0,0 0 0 0 0,0-1 1 0 0,-5 1-1 0 0,-1-1 28 0 0,0 1 0 0 0,0 1 0 0 0,0 0 0 0 0,1 0 0 0 0,-1 1 0 0 0,-14 3 0 0 0,24-4-114 0 0,-4 1 94 0 0,1-1 0 0 0,-1 1 1 0 0,1 0-1 0 0,-1 0 1 0 0,1 0-1 0 0,-1 1 0 0 0,1-1 1 0 0,0 1-1 0 0,0 0 1 0 0,0 0-1 0 0,0 0 0 0 0,0 0 1 0 0,-5 5-1 0 0,8-7-83 0 0,0 0 1 0 0,0 1-1 0 0,0-1 0 0 0,0 0 0 0 0,0 1 0 0 0,0-1 0 0 0,0 0 1 0 0,0 1-1 0 0,0-1 0 0 0,0 0 0 0 0,0 1 0 0 0,0-1 1 0 0,0 0-1 0 0,0 0 0 0 0,0 1 0 0 0,0-1 0 0 0,0 0 1 0 0,0 1-1 0 0,0-1 0 0 0,0 0 0 0 0,1 0 0 0 0,-1 1 1 0 0,0-1-1 0 0,0 0 0 0 0,0 0 0 0 0,1 1 0 0 0,-1-1 1 0 0,0 0-1 0 0,0 0 0 0 0,0 0 0 0 0,1 1 0 0 0,-1-1 1 0 0,0 0-1 0 0,1 0 0 0 0,-1 0 0 0 0,12 6 184 0 0,2-7-152 0 0,0 0-1 0 0,0-1 1 0 0,-1 0 0 0 0,1-1 0 0 0,-1 0-1 0 0,18-8 1 0 0,21-4 79 0 0,-50 15-95 0 0,1 0 15 0 0,-2 0-31 0 0,1 1 0 0 0,0-1 0 0 0,-1 1-1 0 0,1 0 1 0 0,-1-1 0 0 0,1 1 0 0 0,-1 0 0 0 0,1 0 0 0 0,-1 0 0 0 0,0 0 0 0 0,1 0 0 0 0,-1 0-1 0 0,0 1 1 0 0,0-1 0 0 0,0 0 0 0 0,0 0 0 0 0,0 1 0 0 0,0-1 0 0 0,0 1 0 0 0,0-1-1 0 0,0 1 1 0 0,-1-1 0 0 0,1 1 0 0 0,0 3 0 0 0,0-2-10 0 0,2 3 25 0 0,23 47-1266 0 0,-20-43-160 0 0,0-1 1 0 0,0 1-1 0 0,9 9 0 0 0,-1-12-3243 0 0</inkml:trace>
</inkml:ink>
</file>

<file path=ppt/ink/ink2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5T10:18:56.003"/>
    </inkml:context>
    <inkml:brush xml:id="br0">
      <inkml:brushProperty name="width" value="0.1" units="cm"/>
      <inkml:brushProperty name="height" value="0.1" units="cm"/>
    </inkml:brush>
  </inkml:definitions>
  <inkml:trace contextRef="#ctx0" brushRef="#br0">1 23 2084 0 0,'19'-23'6964'0'0,"-9"34"-4557"0"0,-9-9-2256 0 0,0-1-1 0 0,1 0 1 0 0,-1 0-1 0 0,0 1 1 0 0,0-1-1 0 0,0 1 1 0 0,0-1 0 0 0,0 1-1 0 0,0-1 1 0 0,1 3-1 0 0,4 22 982 0 0,-1 0 0 0 0,-1 1 1 0 0,-2-1-1 0 0,0 44 0 0 0,-2-70-1089 0 0,0 0 1 0 0,0-1-1 0 0,1 1 1 0 0,-1 0-1 0 0,0 0 1 0 0,0 0-1 0 0,0 0 1 0 0,1 0-1 0 0,-1-1 1 0 0,0 1 0 0 0,0 0-1 0 0,0 0 1 0 0,1 0-1 0 0,-1 0 1 0 0,0 0-1 0 0,0 0 1 0 0,0 0-1 0 0,1 0 1 0 0,-1 0-1 0 0,0 0 1 0 0,0 0-1 0 0,1 0 1 0 0,-1 0-1 0 0,0 0 1 0 0,0 0 0 0 0,1 0-1 0 0,-1 0 1 0 0,0 0-1 0 0,0 0 1 0 0,0 0-1 0 0,1 0 1 0 0,-1 0-1 0 0,0 0 1 0 0,0 0-1 0 0,0 1 1 0 0,1-1-1 0 0,-1 0 1 0 0,0 0-1 0 0,0 0 1 0 0,0 0-1 0 0,1 0 1 0 0,-1 1 0 0 0,0-1-1 0 0,0 0 1 0 0,0 0-1 0 0,0 0 1 0 0,0 1-1 0 0,0-1 1 0 0,0 0-1 0 0,1 0 1 0 0,-1 1-1 0 0,0-1 1 0 0,0 0-1 0 0,0 0 1 0 0,0 0-1 0 0,0 1 1 0 0,0-1-1 0 0,0 1 1 0 0,15-23-422 0 0,-12 17 515 0 0,8-9-214 0 0,0-1 1 0 0,2 1-1 0 0,24-22 1 0 0,-31 31 47 0 0,0 0 0 0 0,0 1 0 0 0,1 0 0 0 0,0 0 0 0 0,-1 0 1 0 0,2 1-1 0 0,-1 0 0 0 0,0 0 0 0 0,0 0 0 0 0,1 1 0 0 0,10-1 1 0 0,-14 2-62 0 0,0 2 1 0 0,0-1-1 0 0,-1 0 1 0 0,1 1-1 0 0,0 0 1 0 0,0-1-1 0 0,0 2 1 0 0,-1-1-1 0 0,1 0 1 0 0,0 1-1 0 0,-1-1 1 0 0,1 1-1 0 0,-1 0 1 0 0,0 0-1 0 0,0 1 1 0 0,0-1-1 0 0,0 1 1 0 0,0 0-1 0 0,0-1 1 0 0,0 1-1 0 0,-1 0 1 0 0,0 0-1 0 0,4 6 1 0 0,1 3-996 0 0,-1 0 1 0 0,0 0-1 0 0,0 1 1 0 0,-1-1-1 0 0,4 17 1 0 0,-2 0-4637 0 0</inkml:trace>
</inkml:ink>
</file>

<file path=ppt/ink/ink2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5T10:18:56.345"/>
    </inkml:context>
    <inkml:brush xml:id="br0">
      <inkml:brushProperty name="width" value="0.1" units="cm"/>
      <inkml:brushProperty name="height" value="0.1" units="cm"/>
    </inkml:brush>
  </inkml:definitions>
  <inkml:trace contextRef="#ctx0" brushRef="#br0">1 40 1276 0 0,'1'-3'413'0'0,"0"1"0"0"0,0-1 1 0 0,0 1-1 0 0,0-1 0 0 0,0 1 0 0 0,1 0 0 0 0,0-1 1 0 0,-1 1-1 0 0,1 0 0 0 0,0 0 0 0 0,0 0 0 0 0,0 0 1 0 0,0 1-1 0 0,0-1 0 0 0,0 1 0 0 0,1-1 0 0 0,3-1 0 0 0,-5 3-328 0 0,-1 0-1 0 0,1 0 0 0 0,0 0 0 0 0,0 0 0 0 0,0 0 1 0 0,0 0-1 0 0,0 0 0 0 0,0 1 0 0 0,0-1 0 0 0,0 0 1 0 0,0 1-1 0 0,0-1 0 0 0,-1 0 0 0 0,1 1 0 0 0,0-1 0 0 0,0 1 1 0 0,0-1-1 0 0,-1 1 0 0 0,1 0 0 0 0,0-1 0 0 0,-1 1 1 0 0,1 0-1 0 0,0 0 0 0 0,-1-1 0 0 0,1 1 0 0 0,-1 0 1 0 0,1 1-1 0 0,11 22 1181 0 0,-7-3-481 0 0,-1-1 0 0 0,0 1 0 0 0,-1 0 0 0 0,-2 0 0 0 0,-1 34 0 0 0,0-41 1531 0 0,7-31-1775 0 0,-2 3-537 0 0,1 2-1 0 0,1-1 1 0 0,0 1 0 0 0,0-1-1 0 0,1 2 1 0 0,1-1 0 0 0,0 2-1 0 0,1-1 1 0 0,0 1 0 0 0,0 0 0 0 0,17-10-1 0 0,-25 18-9 0 0,0 0-1 0 0,1 1 1 0 0,-1-1 0 0 0,1 1-1 0 0,-1 0 1 0 0,1 0 0 0 0,0 0-1 0 0,0 0 1 0 0,0 0 0 0 0,-1 0-1 0 0,1 1 1 0 0,0 0 0 0 0,0-1-1 0 0,0 1 1 0 0,0 0 0 0 0,0 0-1 0 0,4 1 1 0 0,-3 1-17 0 0,0-1 1 0 0,0 0-1 0 0,0 1 0 0 0,-1 0 1 0 0,1 0-1 0 0,0 0 0 0 0,-1 1 1 0 0,1-1-1 0 0,-1 1 0 0 0,0 0 1 0 0,5 5-1 0 0,4 6-803 0 0,-1 1 0 0 0,14 22-1 0 0,-18-25-457 0 0,0-1 0 0 0,0 0-1 0 0,1-1 1 0 0,0 0 0 0 0,1 0-1 0 0,16 13 1 0 0,-14-17-2222 0 0,1-2 1386 0 0</inkml:trace>
</inkml:ink>
</file>

<file path=ppt/ink/ink2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5T10:18:56.738"/>
    </inkml:context>
    <inkml:brush xml:id="br0">
      <inkml:brushProperty name="width" value="0.1" units="cm"/>
      <inkml:brushProperty name="height" value="0.1" units="cm"/>
    </inkml:brush>
  </inkml:definitions>
  <inkml:trace contextRef="#ctx0" brushRef="#br0">0 411 896 0 0,'46'-65'6914'0'0,"30"-45"-2660"0"0,-75 110-4232 0 0,-1-1-1 0 0,1 1 1 0 0,-1-1 0 0 0,1 0 0 0 0,-1 1 0 0 0,1-1 0 0 0,-1 0 0 0 0,0 1-1 0 0,1-1 1 0 0,-1 0 0 0 0,0 0 0 0 0,0 1 0 0 0,0-1 0 0 0,1 0 0 0 0,-1 0 0 0 0,0 0-1 0 0,0 1 1 0 0,0-1 0 0 0,0 0 0 0 0,0 0 0 0 0,0 0 0 0 0,-1-1 0 0 0,1 2-13 0 0,-1-1 0 0 0,1 1 0 0 0,-1 0 0 0 0,1-1 0 0 0,-1 1 0 0 0,1 0 0 0 0,-1-1 0 0 0,0 1 0 0 0,1 0 0 0 0,-1 0 0 0 0,1-1 0 0 0,-1 1 0 0 0,0 0 0 0 0,1 0 0 0 0,-1 0 0 0 0,1 0 1 0 0,-1 0-1 0 0,0 0 0 0 0,1 0 0 0 0,-1 0 0 0 0,0 0 0 0 0,-4 1 11 0 0,1-1 1 0 0,0 1-1 0 0,0 0 1 0 0,0 0-1 0 0,0 0 1 0 0,1 1-1 0 0,-6 2 1 0 0,4-1 91 0 0,0 1 1 0 0,1-1 0 0 0,0 1-1 0 0,0-1 1 0 0,0 1-1 0 0,0 1 1 0 0,1-1 0 0 0,0 0-1 0 0,0 1 1 0 0,0 0-1 0 0,0-1 1 0 0,1 1 0 0 0,-1 0-1 0 0,-2 11 1 0 0,4-13-60 0 0,1-1 0 0 0,-1 1 0 0 0,1-1 1 0 0,0 1-1 0 0,0 0 0 0 0,0-1 0 0 0,0 1 1 0 0,0 0-1 0 0,0-1 0 0 0,1 1 0 0 0,-1-1 1 0 0,1 1-1 0 0,0 0 0 0 0,0-1 0 0 0,0 0 1 0 0,0 1-1 0 0,0-1 0 0 0,1 0 0 0 0,-1 1 0 0 0,1-1 1 0 0,-1 0-1 0 0,1 0 0 0 0,0 0 0 0 0,0 0 1 0 0,0 0-1 0 0,0-1 0 0 0,0 1 0 0 0,0-1 1 0 0,0 1-1 0 0,0-1 0 0 0,1 0 0 0 0,3 2 0 0 0,0 0-9 0 0,0-1 0 0 0,0 0 0 0 0,0 0 0 0 0,0-1 0 0 0,1 1-1 0 0,-1-1 1 0 0,0-1 0 0 0,1 1 0 0 0,-1-1 0 0 0,0 0-1 0 0,1-1 1 0 0,-1 1 0 0 0,1-1 0 0 0,5-2 0 0 0,-3 0-50 0 0,0 0 0 0 0,0-1 1 0 0,-1 0-1 0 0,0 0 0 0 0,0-1 1 0 0,0 0-1 0 0,0 0 0 0 0,12-13 1 0 0,-7 6-49 0 0,0-2 0 0 0,-2 0 1 0 0,0 0-1 0 0,0-1 0 0 0,-1-1 1 0 0,-1 1-1 0 0,-1-1 0 0 0,0-1 1 0 0,7-24-1 0 0,-14 38 50 0 0,4-13 84 0 0,0 0 1 0 0,2-26-1 0 0,-6 39-63 0 0,0-1-1 0 0,-1 1 1 0 0,0-1 0 0 0,0 1-1 0 0,0-1 1 0 0,0 1-1 0 0,-1-1 1 0 0,1 1 0 0 0,-1 0-1 0 0,0-1 1 0 0,0 1-1 0 0,0 0 1 0 0,0-1 0 0 0,-1 1-1 0 0,1 0 1 0 0,-1 0-1 0 0,0 0 1 0 0,0 0 0 0 0,-3-3-1 0 0,3 5-5 0 0,1-1 0 0 0,-1 1 0 0 0,0 0 0 0 0,0 0-1 0 0,0 0 1 0 0,0 1 0 0 0,-1-1 0 0 0,1 0 0 0 0,0 1 0 0 0,0-1 0 0 0,0 1-1 0 0,0 0 1 0 0,-1 0 0 0 0,1 0 0 0 0,0 0 0 0 0,0 0 0 0 0,0 0 0 0 0,-1 1-1 0 0,1-1 1 0 0,-2 1 0 0 0,1 0 29 0 0,-1 0 0 0 0,1 0 0 0 0,-1 1 0 0 0,1-1 0 0 0,0 1 1 0 0,0 0-1 0 0,0-1 0 0 0,0 1 0 0 0,0 1 0 0 0,0-1 0 0 0,0 0 0 0 0,-2 4 0 0 0,2-2 6 0 0,0-1-1 0 0,1 1 1 0 0,0 0-1 0 0,-1 0 1 0 0,1 1-1 0 0,1-1 1 0 0,-1 0 0 0 0,1 1-1 0 0,-1-1 1 0 0,1 1-1 0 0,1-1 1 0 0,-1 1-1 0 0,0 4 1 0 0,1-1 39 0 0,1 0 0 0 0,0 0 0 0 0,0-1 0 0 0,0 1 0 0 0,1 0 0 0 0,0-1 0 0 0,4 8 0 0 0,3 7 95 0 0,1-2 1 0 0,2 0 0 0 0,0 0 0 0 0,18 22-1 0 0,52 54-566 0 0,-21-37-3637 0 0,-45-47-2515 0 0</inkml:trace>
</inkml:ink>
</file>

<file path=ppt/ink/ink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38.232"/>
    </inkml:context>
    <inkml:brush xml:id="br0">
      <inkml:brushProperty name="width" value="0.1" units="cm"/>
      <inkml:brushProperty name="height" value="0.1" units="cm"/>
    </inkml:brush>
  </inkml:definitions>
  <inkml:trace contextRef="#ctx0" brushRef="#br0">18 115 348 0 0,'-1'-3'202'0'0,"1"0"0"0"0,0 0 0 0 0,0 1 0 0 0,0-1 0 0 0,0 0 1 0 0,1 0-1 0 0,-1 0 0 0 0,1 1 0 0 0,-1-1 0 0 0,1 0 0 0 0,0 1 0 0 0,0-1 0 0 0,1 0 0 0 0,-1 1 0 0 0,0-1 0 0 0,1 1 0 0 0,2-4 1 0 0,0 2-67 0 0,0 0 1 0 0,0 0 0 0 0,1 1-1 0 0,-1-1 1 0 0,1 1 0 0 0,0 0-1 0 0,-1 0 1 0 0,9-3 0 0 0,3 0-61 0 0,1 1 1 0 0,0 0-1 0 0,1 1 1 0 0,27-3 0 0 0,-43 6-53 0 0,1 1 1 0 0,-1 0-1 0 0,1 0 1 0 0,-1 0-1 0 0,1 0 1 0 0,-1 0 0 0 0,1 0-1 0 0,-1 1 1 0 0,0-1-1 0 0,1 1 1 0 0,-1 0-1 0 0,0-1 1 0 0,1 1-1 0 0,-1 0 1 0 0,0 0 0 0 0,0 1-1 0 0,0-1 1 0 0,0 0-1 0 0,0 1 1 0 0,0-1-1 0 0,0 1 1 0 0,-1 0 0 0 0,1 0-1 0 0,0-1 1 0 0,-1 1-1 0 0,1 0 1 0 0,-1 0-1 0 0,0 0 1 0 0,0 1 0 0 0,0-1-1 0 0,0 0 1 0 0,0 0-1 0 0,0 1 1 0 0,0 2-1 0 0,2 7 209 0 0,-1 1-1 0 0,-1-1 0 0 0,0 1 0 0 0,-1 0 0 0 0,-1 15 1 0 0,1-15-207 0 0,-4 97 677 0 0,6 1 0 0 0,19 138 0 0 0,3-109-341 0 0,23 172-47 0 0,-41-252-275 0 0,-3 0-1 0 0,-3 1 1 0 0,-8 69-1 0 0,7-123 42 0 0,0 0 1 0 0,0-1-1 0 0,0 1 0 0 0,-1 0 0 0 0,0-1 0 0 0,-1 1 1 0 0,1-1-1 0 0,-1 0 0 0 0,-1 0 0 0 0,1 0 0 0 0,-5 7 0 0 0,4-10-15 0 0,1 1-1 0 0,-1-1 0 0 0,0 1 0 0 0,0-1 0 0 0,0 0 1 0 0,-1-1-1 0 0,1 1 0 0 0,-1-1 0 0 0,1 0 1 0 0,-1 0-1 0 0,0 0 0 0 0,0 0 0 0 0,0-1 0 0 0,0 0 1 0 0,-7 1-1 0 0,-5 0-6 0 0,-1-2 1 0 0,1 1-1 0 0,0-2 0 0 0,-1 0 1 0 0,1-1-1 0 0,-22-6 0 0 0,26 5-655 0 0,0-1-1 0 0,1 0 1 0 0,0-1-1 0 0,-1-1 0 0 0,-12-7 1 0 0,24 12 304 0 0,0 0 0 0 0,0 1 1 0 0,0-1-1 0 0,0 0 1 0 0,0 0-1 0 0,0 0 0 0 0,0 0 1 0 0,0-1-1 0 0,0 1 1 0 0,0 0-1 0 0,0 0 0 0 0,1 0 1 0 0,-2-3-1 0 0,0-3-2897 0 0</inkml:trace>
</inkml:ink>
</file>

<file path=ppt/ink/ink2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5T10:19:16.304"/>
    </inkml:context>
    <inkml:brush xml:id="br0">
      <inkml:brushProperty name="width" value="0.1" units="cm"/>
      <inkml:brushProperty name="height" value="0.1" units="cm"/>
    </inkml:brush>
  </inkml:definitions>
  <inkml:trace contextRef="#ctx0" brushRef="#br0">1 112 172 0 0,'0'-15'1814'0'0,"2"-1"0"0"0,0 1 1 0 0,0 0-1 0 0,2 0 0 0 0,6-19 0 0 0,-9 33-1447 0 0,17 10-187 0 0,-15-3-157 0 0,0 0 0 0 0,0 0-1 0 0,0 0 1 0 0,-1 0 0 0 0,0 1 0 0 0,0-1 0 0 0,-1 1 0 0 0,1-1 0 0 0,-1 8 0 0 0,2 65 52 0 0,-3-67-49 0 0,-1 40 243 0 0,4 79 501 0 0,-2-118-664 0 0,0 0-1 0 0,2-1 1 0 0,0 1 0 0 0,0-1-1 0 0,1 0 1 0 0,0 0-1 0 0,12 22 1 0 0,-10-26-72 0 0,0 0 0 0 0,0-1 0 0 0,1 0 1 0 0,-1 0-1 0 0,2 0 0 0 0,-1-1 0 0 0,1 0 0 0 0,-1-1 0 0 0,2 0 0 0 0,-1 0 1 0 0,0 0-1 0 0,1-1 0 0 0,0-1 0 0 0,0 1 0 0 0,0-1 0 0 0,14 2 1 0 0,-5-1-18 0 0,1-2 1 0 0,-1 1 0 0 0,1-2 0 0 0,-1-1 0 0 0,1 0 0 0 0,0-1 0 0 0,29-6 0 0 0,-37 4-57 0 0,0 0 1 0 0,0 0-1 0 0,-1-2 0 0 0,1 1 1 0 0,-1-1-1 0 0,0-1 0 0 0,0 0 1 0 0,0 0-1 0 0,-1-1 0 0 0,0 0 1 0 0,0-1-1 0 0,-1 1 0 0 0,14-19 0 0 0,-9 10 271 0 0,-2-1-1 0 0,0-1 0 0 0,-1 0 1 0 0,-1 0-1 0 0,0-1 0 0 0,11-38 0 0 0,-19 52-131 0 0,1-1 0 0 0,0 1 0 0 0,0 0 0 0 0,1 0 0 0 0,-1 0-1 0 0,4-4 1 0 0,-5 8-69 0 0,-1 23 49 0 0,-1 6-51 0 0,1 1 1 0 0,4 27 0 0 0,0 19-1934 0 0,-4-60 1073 0 0,-1 26-2046 0 0,-3-14-2282 0 0,1-18 1816 0 0</inkml:trace>
</inkml:ink>
</file>

<file path=ppt/ink/ink2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5T10:19:16.647"/>
    </inkml:context>
    <inkml:brush xml:id="br0">
      <inkml:brushProperty name="width" value="0.1" units="cm"/>
      <inkml:brushProperty name="height" value="0.1" units="cm"/>
    </inkml:brush>
  </inkml:definitions>
  <inkml:trace contextRef="#ctx0" brushRef="#br0">17 37 1084 0 0,'-3'-10'836'0'0,"-1"1"296"0"0,-2-1-868 0 0,3 3-860 0 0</inkml:trace>
</inkml:ink>
</file>

<file path=ppt/ink/ink2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5T10:19:16.978"/>
    </inkml:context>
    <inkml:brush xml:id="br0">
      <inkml:brushProperty name="width" value="0.1" units="cm"/>
      <inkml:brushProperty name="height" value="0.1" units="cm"/>
    </inkml:brush>
  </inkml:definitions>
  <inkml:trace contextRef="#ctx0" brushRef="#br0">1 0 756 0 0,'6'15'1250'0'0,"-1"0"-1"0"0,0 1 1 0 0,-1-1 0 0 0,-1 1-1 0 0,3 28 1 0 0,-3 81 4927 0 0,-3-86-1958 0 0,0-43-4178 0 0,0 0 1 0 0,0 0 0 0 0,1 0-1 0 0,0 0 1 0 0,-1 0-1 0 0,1 0 1 0 0,1 1 0 0 0,-1-1-1 0 0,0 0 1 0 0,1 1-1 0 0,0-1 1 0 0,2-3 0 0 0,29-40-104 0 0,-31 45 76 0 0,7-10-40 0 0,1 0 1 0 0,0 1-1 0 0,1 1 0 0 0,0-1 0 0 0,0 2 0 0 0,2-1 1 0 0,-1 2-1 0 0,21-12 0 0 0,-28 18 23 0 0,0 0 1 0 0,0 0-1 0 0,0 0 1 0 0,0 1-1 0 0,0-1 0 0 0,1 1 1 0 0,-1 0-1 0 0,1 1 1 0 0,-1-1-1 0 0,0 1 1 0 0,1 0-1 0 0,-1 1 0 0 0,1-1 1 0 0,-1 1-1 0 0,0 0 1 0 0,1 1-1 0 0,-1-1 0 0 0,0 1 1 0 0,0 0-1 0 0,0 0 1 0 0,0 0-1 0 0,0 1 0 0 0,-1 0 1 0 0,1 0-1 0 0,-1 0 1 0 0,8 7-1 0 0,-5-3-105 0 0,1 1 0 0 0,-2 0 0 0 0,1 0 1 0 0,-1 1-1 0 0,0 0 0 0 0,0 0 0 0 0,3 9 0 0 0,3 9-3499 0 0,9 35 0 0 0,-12-46-1130 0 0</inkml:trace>
</inkml:ink>
</file>

<file path=ppt/ink/ink2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5T10:19:17.412"/>
    </inkml:context>
    <inkml:brush xml:id="br0">
      <inkml:brushProperty name="width" value="0.1" units="cm"/>
      <inkml:brushProperty name="height" value="0.1" units="cm"/>
    </inkml:brush>
  </inkml:definitions>
  <inkml:trace contextRef="#ctx0" brushRef="#br0">145 177 888 0 0,'10'-8'4228'0'0,"41"-13"-246"0"0,-32 13-3173 0 0,28-13 0 0 0,-42 18-734 0 0,0 0 1 0 0,-1 0 0 0 0,1-1 0 0 0,0 1 0 0 0,-1-1-1 0 0,0 0 1 0 0,0 0 0 0 0,0-1 0 0 0,6-8 0 0 0,-9 12-69 0 0,-1 0-1 0 0,1 0 1 0 0,-1 0 0 0 0,1 1 0 0 0,-1-1 0 0 0,0 0-1 0 0,1 0 1 0 0,-1 0 0 0 0,0 0 0 0 0,0 0-1 0 0,1 0 1 0 0,-1 0 0 0 0,0 0 0 0 0,0 0 0 0 0,0 0-1 0 0,0 0 1 0 0,0 0 0 0 0,-1 0 0 0 0,1 0 0 0 0,0 0-1 0 0,0 0 1 0 0,0 0 0 0 0,-1 0 0 0 0,0-1 0 0 0,0 1-3 0 0,0-1 1 0 0,0 1-1 0 0,-1 0 1 0 0,1 0-1 0 0,0 0 0 0 0,-1 0 1 0 0,1 0-1 0 0,-1 0 1 0 0,1 0-1 0 0,-1 0 1 0 0,1 0-1 0 0,-4 0 1 0 0,-2-1 8 0 0,0 0 1 0 0,0 1-1 0 0,0 0 1 0 0,0 0 0 0 0,-11 0-1 0 0,2 2 110 0 0,0 1 1 0 0,0 0-1 0 0,0 2 0 0 0,1-1 0 0 0,-1 2 1 0 0,-19 8-1 0 0,26-10-23 0 0,0 2 0 0 0,0-1 0 0 0,1 1 0 0 0,0 0 0 0 0,-1 1 0 0 0,2 0 0 0 0,-1 0-1 0 0,1 1 1 0 0,0 0 0 0 0,0 0 0 0 0,-8 13 0 0 0,13-17-63 0 0,0 0-1 0 0,0 0 0 0 0,0 0 0 0 0,1 1 1 0 0,-1-1-1 0 0,1 0 0 0 0,0 1 1 0 0,0 0-1 0 0,0-1 0 0 0,1 1 0 0 0,-1-1 1 0 0,1 1-1 0 0,0 0 0 0 0,0-1 0 0 0,0 1 1 0 0,0 0-1 0 0,1-1 0 0 0,-1 1 1 0 0,1 0-1 0 0,0-1 0 0 0,0 1 0 0 0,1-1 1 0 0,-1 1-1 0 0,1-1 0 0 0,1 4 1 0 0,2-1-47 0 0,-1-1 1 0 0,1 1 0 0 0,-1-1 0 0 0,2 0 0 0 0,-1 0 0 0 0,0-1-1 0 0,1 1 1 0 0,0-1 0 0 0,0-1 0 0 0,0 1 0 0 0,0-1 0 0 0,9 3-1 0 0,-3-1-335 0 0,-1-1 1 0 0,1-1-1 0 0,0 0 0 0 0,0-1 0 0 0,0 0 0 0 0,0-1 0 0 0,1 0 0 0 0,-1-1 0 0 0,23-2 0 0 0,-18-1-230 0 0,0-1-1 0 0,0 0 0 0 0,-1-1 1 0 0,0-1-1 0 0,0 0 0 0 0,20-11 1 0 0,-6-1-187 0 0,0-1 0 0 0,33-28 1 0 0,46-48 2546 0 0,-90 78-805 0 0,-3 2 555 0 0,22-27-1 0 0,-38 42-1525 0 0,0 0-1 0 0,0 0 1 0 0,1-1-1 0 0,-1 1 1 0 0,0 0-1 0 0,0 0 1 0 0,0 0-1 0 0,1-1 1 0 0,-1 1-1 0 0,0 0 1 0 0,0 0 0 0 0,0-1-1 0 0,0 1 1 0 0,0 0-1 0 0,0-1 1 0 0,1 1-1 0 0,-1 0 1 0 0,0 0-1 0 0,0-1 1 0 0,0 1-1 0 0,0 0 1 0 0,0-1-1 0 0,0 1 1 0 0,0 0-1 0 0,0 0 1 0 0,0-1-1 0 0,0 1 1 0 0,0 0-1 0 0,-1-1 1 0 0,1 1-1 0 0,0 0 1 0 0,0 0-1 0 0,0-1 1 0 0,0 1-1 0 0,0 0 1 0 0,-1-1-1 0 0,-11-2 58 0 0,-13 6-60 0 0,12 1-6 0 0,1 0 0 0 0,-1 0 0 0 0,1 2 1 0 0,1-1-1 0 0,-21 14 0 0 0,25-14 11 0 0,1 0 1 0 0,-1 0-1 0 0,1 1 0 0 0,0 0 0 0 0,0 0 1 0 0,1 0-1 0 0,0 1 0 0 0,0-1 1 0 0,0 1-1 0 0,-3 9 0 0 0,7-15-4 0 0,0 0 0 0 0,1 0-1 0 0,-1 0 1 0 0,1 0-1 0 0,-1 0 1 0 0,1 0-1 0 0,0 0 1 0 0,-1 0 0 0 0,1 0-1 0 0,0 0 1 0 0,0 0-1 0 0,0 0 1 0 0,0 0-1 0 0,0 0 1 0 0,0 0 0 0 0,0 1-1 0 0,0-1 1 0 0,0 0-1 0 0,0 0 1 0 0,0 0-1 0 0,1 0 1 0 0,-1 0 0 0 0,1 0-1 0 0,-1 0 1 0 0,0 0-1 0 0,1 0 1 0 0,0 0-1 0 0,-1-1 1 0 0,1 1 0 0 0,-1 0-1 0 0,1 0 1 0 0,0 0-1 0 0,0-1 1 0 0,0 1 0 0 0,-1 0-1 0 0,1-1 1 0 0,0 1-1 0 0,0 0 1 0 0,0-1-1 0 0,0 1 1 0 0,0-1 0 0 0,0 0-1 0 0,0 1 1 0 0,0-1-1 0 0,0 0 1 0 0,0 0-1 0 0,2 1 1 0 0,1-1 3 0 0,1 1 0 0 0,-1-1-1 0 0,1 0 1 0 0,-1 0 0 0 0,1 0 0 0 0,-1 0 0 0 0,1-1-1 0 0,-1 0 1 0 0,1 0 0 0 0,4-2 0 0 0,-2 0 56 0 0,0-1 0 0 0,-1 0 0 0 0,1-1 1 0 0,-1 1-1 0 0,10-11 0 0 0,-9 9 218 0 0,-1 0-1 0 0,1 1 0 0 0,11-7 1 0 0,-16 11-243 0 0,11 5 73 0 0,0 11 163 0 0,0-1 0 0 0,0 2-1 0 0,18 30 1 0 0,-4-6-2089 0 0,2-3-5061 0 0</inkml:trace>
</inkml:ink>
</file>

<file path=ppt/ink/ink2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5T10:19:17.786"/>
    </inkml:context>
    <inkml:brush xml:id="br0">
      <inkml:brushProperty name="width" value="0.1" units="cm"/>
      <inkml:brushProperty name="height" value="0.1" units="cm"/>
    </inkml:brush>
  </inkml:definitions>
  <inkml:trace contextRef="#ctx0" brushRef="#br0">1 37 120 0 0,'2'0'1722'0'0,"2"1"-1385"0"0,-1 0 1 0 0,1 0-1 0 0,-1 1 0 0 0,1-1 1 0 0,-1 1-1 0 0,0 0 0 0 0,0-1 1 0 0,0 1-1 0 0,0 1 0 0 0,0-1 0 0 0,0 0 1 0 0,-1 1-1 0 0,1 0 0 0 0,-1-1 1 0 0,1 1-1 0 0,-1 0 0 0 0,0 0 1 0 0,0 0-1 0 0,-1 1 0 0 0,3 4 0 0 0,1 6 1108 0 0,0 0-1 0 0,-1 1 1 0 0,5 29 2350 0 0,-6-45-3385 0 0,5-3-262 0 0,-1 0 1 0 0,1-1-1 0 0,-1 0 0 0 0,0 0 0 0 0,0 0 1 0 0,11-13-1 0 0,10-6-32 0 0,-6 7-333 0 0,2 1 0 0 0,37-21 0 0 0,-3 14-2470 0 0,-47 20 1095 0 0,0 0 0 0 0,0 1 1 0 0,16-1-1 0 0,-7 4-4917 0 0</inkml:trace>
</inkml:ink>
</file>

<file path=ppt/ink/ink2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5T10:19:18.458"/>
    </inkml:context>
    <inkml:brush xml:id="br0">
      <inkml:brushProperty name="width" value="0.1" units="cm"/>
      <inkml:brushProperty name="height" value="0.1" units="cm"/>
    </inkml:brush>
  </inkml:definitions>
  <inkml:trace contextRef="#ctx0" brushRef="#br0">276 6 512 0 0,'-2'-1'1440'0'0,"-1"0"-1140"0"0,-1 0 0 0 0,1 0 0 0 0,-1 0 1 0 0,1 1-1 0 0,-1-1 0 0 0,1 1 1 0 0,-1 0-1 0 0,1 0 0 0 0,-1 0 1 0 0,1 1-1 0 0,-1-1 0 0 0,1 1 1 0 0,-1 0-1 0 0,1 0 0 0 0,-1 0 1 0 0,1 1-1 0 0,-5 2 0 0 0,-12 5 624 0 0,-29 19-1 0 0,44-25-695 0 0,-7 5 37 0 0,1-1 0 0 0,0 2 0 0 0,1-1 0 0 0,0 2 0 0 0,0-1 1 0 0,1 1-1 0 0,0 1 0 0 0,0-1 0 0 0,1 1 0 0 0,-10 20 1 0 0,15-26-172 0 0,1 1 0 0 0,0-1 0 0 0,0 1-1 0 0,0-1 1 0 0,1 1 0 0 0,-1 0 0 0 0,1-1 0 0 0,1 1 0 0 0,-1 0 0 0 0,1 0 0 0 0,0 0 0 0 0,0 0 0 0 0,1-1 0 0 0,0 1 0 0 0,0 0 0 0 0,0 0 0 0 0,1-1 0 0 0,0 1 0 0 0,0-1 0 0 0,0 1 0 0 0,1-1 0 0 0,-1 0 0 0 0,1 0 0 0 0,0 0 0 0 0,1 0 0 0 0,-1-1 0 0 0,6 6 0 0 0,0-1 16 0 0,1 0 0 0 0,0 0 0 0 0,1-1 0 0 0,0-1-1 0 0,0 0 1 0 0,1 0 0 0 0,-1-1 0 0 0,1 0 0 0 0,1-1 0 0 0,-1-1 0 0 0,1 0-1 0 0,0-1 1 0 0,0 0 0 0 0,0 0 0 0 0,0-2 0 0 0,0 0 0 0 0,19 0 0 0 0,-18-2-94 0 0,-1 0 0 0 0,0 0 1 0 0,0-1-1 0 0,0-1 0 0 0,-1 0 0 0 0,1-1 1 0 0,-1 0-1 0 0,0-1 0 0 0,0-1 1 0 0,0 1-1 0 0,0-2 0 0 0,-1 0 0 0 0,0 0 1 0 0,-1-1-1 0 0,0 0 0 0 0,0-1 1 0 0,15-16-1 0 0,-19 17-45 0 0,0 0-1 0 0,-1 0 1 0 0,1-1 0 0 0,-2 0-1 0 0,7-14 1 0 0,-10 22 23 0 0,-1 0 0 0 0,1-1-1 0 0,-1 1 1 0 0,1-1 0 0 0,-1 1 0 0 0,1 0-1 0 0,-1-1 1 0 0,0 1 0 0 0,0-1-1 0 0,0 1 1 0 0,0-1 0 0 0,0 1 0 0 0,0-1-1 0 0,0 1 1 0 0,0 0 0 0 0,0-1 0 0 0,-1 1-1 0 0,1-1 1 0 0,-1 1 0 0 0,1 0 0 0 0,-1-1-1 0 0,0 1 1 0 0,1 0 0 0 0,-1-1 0 0 0,0 1-1 0 0,0 0 1 0 0,0 0 0 0 0,0 0 0 0 0,0 0-1 0 0,0 0 1 0 0,0 0 0 0 0,0 0 0 0 0,0 0-1 0 0,0 0 1 0 0,-1 1 0 0 0,1-1 0 0 0,0 0-1 0 0,-1 1 1 0 0,1-1 0 0 0,0 1 0 0 0,-1-1-1 0 0,1 1 1 0 0,-1 0 0 0 0,1-1 0 0 0,-1 1-1 0 0,1 0 1 0 0,-3 0 0 0 0,-3 0-8 0 0,1 1 0 0 0,-1-1 0 0 0,1 1 0 0 0,-1 0 1 0 0,1 0-1 0 0,0 1 0 0 0,-1 0 0 0 0,1 0 0 0 0,0 1 0 0 0,0-1 0 0 0,-8 6 0 0 0,11-6 22 0 0,0 0 0 0 0,-1 1 0 0 0,1-1 0 0 0,0 1 0 0 0,1-1 0 0 0,-1 1 0 0 0,0 0 0 0 0,1 0 0 0 0,-4 5 0 0 0,6-6 11 0 0,-1-1 0 0 0,0 1 0 0 0,0 0 0 0 0,0 0 0 0 0,1 0 0 0 0,-1 0 0 0 0,1 0 0 0 0,0 0 0 0 0,-1 0 0 0 0,1 0 0 0 0,0 0 0 0 0,0 0 0 0 0,0 0 0 0 0,1 0 0 0 0,-1 0 0 0 0,0 0 0 0 0,1 0 0 0 0,0 3 0 0 0,1-2 2 0 0,-1 0 0 0 0,1 0 0 0 0,0-1 0 0 0,0 1 0 0 0,0-1 0 0 0,0 1 0 0 0,1-1 0 0 0,-1 0 0 0 0,0 0 0 0 0,1 0 0 0 0,0 0 0 0 0,-1 0 0 0 0,1-1 1 0 0,0 1-1 0 0,0-1 0 0 0,0 0 0 0 0,0 0 0 0 0,0 0 0 0 0,0 0 0 0 0,0 0 0 0 0,6 0 0 0 0,-1 0 1 0 0,-1 0 1 0 0,0-1-1 0 0,1 1 0 0 0,-1-2 1 0 0,1 1-1 0 0,-1-1 0 0 0,0 0 1 0 0,12-3-1 0 0,-16 2-38 0 0,1 1 1 0 0,-1 0-1 0 0,1-1 0 0 0,-1 1 1 0 0,0-1-1 0 0,0 0 0 0 0,0 0 1 0 0,0-1-1 0 0,0 1 0 0 0,0 0 1 0 0,0-1-1 0 0,-1 0 1 0 0,1 0-1 0 0,-1 0 0 0 0,0 0 1 0 0,0 0-1 0 0,3-6 0 0 0,-4 6-174 0 0,0 1 0 0 0,-1 0-1 0 0,1-1 1 0 0,-1 1 0 0 0,0-1-1 0 0,0 1 1 0 0,0-1 0 0 0,0 1-1 0 0,0-1 1 0 0,0 0 0 0 0,-1 1 0 0 0,1 0-1 0 0,-1-1 1 0 0,0 1 0 0 0,0-1-1 0 0,0 1 1 0 0,0 0 0 0 0,0 0-1 0 0,0-1 1 0 0,0 1 0 0 0,-1 0-1 0 0,1 0 1 0 0,-1 0 0 0 0,0 0-1 0 0,0 1 1 0 0,1-1 0 0 0,-3-1-1 0 0,-11-12-5744 0 0</inkml:trace>
</inkml:ink>
</file>

<file path=ppt/ink/ink2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5T10:19:18.901"/>
    </inkml:context>
    <inkml:brush xml:id="br0">
      <inkml:brushProperty name="width" value="0.1" units="cm"/>
      <inkml:brushProperty name="height" value="0.1" units="cm"/>
    </inkml:brush>
  </inkml:definitions>
  <inkml:trace contextRef="#ctx0" brushRef="#br0">0 0 380 0 0,'8'4'824'0'0,"-1"1"1"0"0,0 0-1 0 0,0 0 1 0 0,0 0-1 0 0,-1 1 1 0 0,0 0-1 0 0,0 0 1 0 0,0 0-1 0 0,-1 1 0 0 0,10 14 1 0 0,-5-4 86 0 0,-1 1 0 0 0,0 0 0 0 0,10 30 0 0 0,9 40 5543 0 0,-27-90-6260 0 0,19-30 63 0 0,-16 25-272 0 0,0 0 1 0 0,0 0 0 0 0,1 0 0 0 0,0 0 0 0 0,0 1-1 0 0,0-1 1 0 0,1 1 0 0 0,0 1 0 0 0,0-1-1 0 0,0 1 1 0 0,1 0 0 0 0,0 1 0 0 0,14-8-1 0 0,-15 10-8 0 0,0 0-1 0 0,0 0 0 0 0,0 1 1 0 0,0 0-1 0 0,0 0 0 0 0,0 1 1 0 0,0-1-1 0 0,1 1 0 0 0,-1 1 1 0 0,0-1-1 0 0,0 1 0 0 0,0 0 1 0 0,9 3-1 0 0,2 2-46 0 0,0 0 1 0 0,0 2 0 0 0,17 10-1 0 0,-28-15 60 0 0,-5-2 113 0 0,17-15 348 0 0,-10 7-416 0 0,-1 0 0 0 0,1 1-1 0 0,0 0 1 0 0,0 0 0 0 0,1 1 0 0 0,-1 0-1 0 0,1 0 1 0 0,1 1 0 0 0,-1 1-1 0 0,0-1 1 0 0,1 1 0 0 0,0 1 0 0 0,19-3-1 0 0,-21 4-75 0 0,-1 1 0 0 0,1-1-1 0 0,-1 2 1 0 0,0-1-1 0 0,1 1 1 0 0,-1 0 0 0 0,1 0-1 0 0,12 6 1 0 0,-15-6-62 0 0,-1 1 1 0 0,1 1-1 0 0,-1-1 0 0 0,0 1 1 0 0,0-1-1 0 0,0 1 1 0 0,0 1-1 0 0,0-1 0 0 0,-1 0 1 0 0,1 1-1 0 0,-1 0 0 0 0,0 0 1 0 0,0 0-1 0 0,3 5 1 0 0,-4-5-296 0 0,0 1 0 0 0,0-1 0 0 0,-1 0 1 0 0,1 1-1 0 0,-1-1 0 0 0,0 1 0 0 0,0 0 1 0 0,-1-1-1 0 0,1 9 0 0 0,-6 23-6453 0 0,1-23 1776 0 0</inkml:trace>
</inkml:ink>
</file>

<file path=ppt/ink/ink2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5T10:19:19.724"/>
    </inkml:context>
    <inkml:brush xml:id="br0">
      <inkml:brushProperty name="width" value="0.1" units="cm"/>
      <inkml:brushProperty name="height" value="0.1" units="cm"/>
    </inkml:brush>
  </inkml:definitions>
  <inkml:trace contextRef="#ctx0" brushRef="#br0">20 14 1080 0 0,'0'-13'3602'0'0,"3"31"-629"0"0,-2 33-275 0 0,-7 71 0 0 0,0 5-304 0 0,6-100-1788 0 0,0 0 585 0 0,0 0 1 0 0,-8 52 0 0 0,6-73-308 0 0,0-8-305 0 0,6-11-455 0 0,1 6-176 0 0,1 1 0 0 0,0 0 0 0 0,1 0 1 0 0,-1 0-1 0 0,1 0 0 0 0,0 1 0 0 0,0 1 1 0 0,1-1-1 0 0,9-4 0 0 0,4 0-215 0 0,-1 1 0 0 0,32-8 0 0 0,-35 12 15 0 0,0 0 1 0 0,0 1-1 0 0,34-1 1 0 0,-44 4 168 0 0,1 0 0 0 0,0 1 0 0 0,-1 0 0 0 0,1 0 0 0 0,-1 1 0 0 0,0 0 0 0 0,1 0 0 0 0,-1 0 0 0 0,0 1 0 0 0,0 1 0 0 0,9 5 0 0 0,-14-9 76 0 0,-1 1 1 0 0,0 0 0 0 0,0-1-1 0 0,0 1 1 0 0,0 0 0 0 0,0 0 0 0 0,0 0-1 0 0,-1 0 1 0 0,1 0 0 0 0,0 0-1 0 0,0 0 1 0 0,-1 0 0 0 0,1 0-1 0 0,0 0 1 0 0,-1 0 0 0 0,1 0 0 0 0,-1 1-1 0 0,0-1 1 0 0,1 0 0 0 0,-1 0-1 0 0,0 0 1 0 0,0 1 0 0 0,1 0 0 0 0,-2 0 5 0 0,1 0 0 0 0,-1 0 0 0 0,1-1 0 0 0,-1 1 1 0 0,0 0-1 0 0,1-1 0 0 0,-1 1 0 0 0,0-1 1 0 0,0 1-1 0 0,0-1 0 0 0,0 1 0 0 0,0-1 1 0 0,-1 0-1 0 0,-1 2 0 0 0,-3 2 15 0 0,0 0 0 0 0,-1 0 0 0 0,1-1-1 0 0,-1 0 1 0 0,0 0 0 0 0,-8 2 0 0 0,-8 2-33 0 0,0-2 0 0 0,0-1 0 0 0,0 0 0 0 0,0-2 0 0 0,-41 1 0 0 0,-10-8-2838 0 0,73 4 2721 0 0,1 0 0 0 0,-1 0 0 0 0,1 0 0 0 0,-1 0 0 0 0,0 0-1 0 0,1 0 1 0 0,-1 0 0 0 0,1 0 0 0 0,-1 0 0 0 0,0 0 0 0 0,1 0 0 0 0,-1 0 0 0 0,1-1 0 0 0,-1 1 0 0 0,1 0 0 0 0,-1 0 0 0 0,1-1 0 0 0,-1 1 0 0 0,1-1 0 0 0,-1 1 0 0 0,1 0 0 0 0,-1-1 0 0 0,1 1 0 0 0,-1-1 0 0 0,1 1 0 0 0,0-1 0 0 0,-1 1 0 0 0,1-1 0 0 0,0 1 0 0 0,0-1 0 0 0,-1 1 0 0 0,1-1 0 0 0,0 1 0 0 0,0-1 0 0 0,0 1 0 0 0,0-1-1 0 0,-1 0 1 0 0,1 1 0 0 0,0-1 0 0 0,0 1 0 0 0,0-1 0 0 0,0 0 0 0 0,0 1 0 0 0,1-1 0 0 0,-1 1 0 0 0,0-1 0 0 0,0 0 0 0 0,0 1 0 0 0,0-1 0 0 0,1 1 0 0 0,-1-1 0 0 0,0 1 0 0 0,1-1 0 0 0,-1 1 0 0 0,0-1 0 0 0,1 1 0 0 0,-1-1 0 0 0,0 1 0 0 0,1 0 0 0 0,-1-1 0 0 0,1 1 0 0 0,-1-1 0 0 0,2 1 0 0 0,8-10-3609 0 0</inkml:trace>
</inkml:ink>
</file>

<file path=ppt/ink/ink2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5T10:19:20.050"/>
    </inkml:context>
    <inkml:brush xml:id="br0">
      <inkml:brushProperty name="width" value="0.1" units="cm"/>
      <inkml:brushProperty name="height" value="0.1" units="cm"/>
    </inkml:brush>
  </inkml:definitions>
  <inkml:trace contextRef="#ctx0" brushRef="#br0">1 1 896 0 0,'4'0'1463'0'0,"-1"0"-1095"0"0,1 1 1 0 0,-1-1-1 0 0,1 1 1 0 0,-1 0-1 0 0,0-1 0 0 0,1 2 1 0 0,-1-1-1 0 0,0 0 1 0 0,0 1-1 0 0,0-1 0 0 0,0 1 1 0 0,0 0-1 0 0,0 0 1 0 0,0 0-1 0 0,3 3 0 0 0,-2 0-81 0 0,0 0-1 0 0,0 0 0 0 0,-1 0 0 0 0,0 1 0 0 0,0-1 0 0 0,0 1 1 0 0,0 0-1 0 0,2 8 0 0 0,14 55-468 0 0,-9-22-5683 0 0,-10-39 3487 0 0</inkml:trace>
</inkml:ink>
</file>

<file path=ppt/ink/ink2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5T10:19:20.800"/>
    </inkml:context>
    <inkml:brush xml:id="br0">
      <inkml:brushProperty name="width" value="0.1" units="cm"/>
      <inkml:brushProperty name="height" value="0.1" units="cm"/>
    </inkml:brush>
  </inkml:definitions>
  <inkml:trace contextRef="#ctx0" brushRef="#br0">12 188 16 0 0,'-2'-4'470'0'0,"1"0"1"0"0,-1-1-1 0 0,0 1 1 0 0,1 0-1 0 0,0 0 1 0 0,0-1-1 0 0,0 1 1 0 0,1-1-1 0 0,-1 1 1 0 0,1-8-1 0 0,0 10-429 0 0,1 1-1 0 0,-1-1 1 0 0,1 0-1 0 0,-1 0 0 0 0,1 1 1 0 0,0-1-1 0 0,0 0 1 0 0,0 1-1 0 0,-1-1 0 0 0,1 0 1 0 0,1 1-1 0 0,-1 0 0 0 0,0-1 1 0 0,0 1-1 0 0,1 0 1 0 0,-1-1-1 0 0,0 1 0 0 0,1 0 1 0 0,-1 0-1 0 0,1 0 1 0 0,0 0-1 0 0,-1 0 0 0 0,1 1 1 0 0,0-1-1 0 0,-1 0 0 0 0,1 1 1 0 0,0-1-1 0 0,2 1 1 0 0,3-2-14 0 0,0 1 0 0 0,1 1 0 0 0,-1-1 0 0 0,0 1 0 0 0,1 0 0 0 0,-1 1 0 0 0,0 0 0 0 0,0 0 0 0 0,0 1 1 0 0,1-1-1 0 0,-2 1 0 0 0,1 1 0 0 0,0 0 0 0 0,0 0 0 0 0,-1 0 0 0 0,1 1 0 0 0,-1-1 0 0 0,0 2 0 0 0,0-1 0 0 0,-1 1 1 0 0,8 6-1 0 0,-3-1 340 0 0,-1 0 1 0 0,0 1 0 0 0,-1 0-1 0 0,0 1 1 0 0,0-1 0 0 0,-2 1-1 0 0,1 1 1 0 0,-1-1 0 0 0,-1 1-1 0 0,5 18 1 0 0,5 44 2373 0 0,-9-40 2825 0 0,4-65-4964 0 0,-7 23-679 0 0,2 0-1 0 0,-1 1 0 0 0,1 0 0 0 0,0-1 0 0 0,0 2 0 0 0,0-1 0 0 0,1 1 1 0 0,0 0-1 0 0,0 0 0 0 0,0 0 0 0 0,1 1 0 0 0,0 0 0 0 0,0 0 0 0 0,0 1 1 0 0,0 0-1 0 0,0 0 0 0 0,1 1 0 0 0,-1-1 0 0 0,1 2 0 0 0,-1-1 0 0 0,1 1 0 0 0,0 0 1 0 0,0 1-1 0 0,0 0 0 0 0,-1 0 0 0 0,1 1 0 0 0,0 0 0 0 0,0 0 0 0 0,-1 0 1 0 0,1 1-1 0 0,-1 1 0 0 0,10 3 0 0 0,3 5-777 0 0,-1 0-1 0 0,0 2 1 0 0,17 15-1 0 0,-24-18 479 0 0,0-1 0 0 0,1 0 0 0 0,0 0 0 0 0,1-1 0 0 0,-1-1-1 0 0,1 0 1 0 0,1-1 0 0 0,21 7 0 0 0,-23-11 332 0 0,0-1 1 0 0,-1 0-1 0 0,1 0 0 0 0,0-2 0 0 0,0 1 1 0 0,0-2-1 0 0,-1 0 0 0 0,1 0 1 0 0,0-1-1 0 0,-1-1 0 0 0,0 0 0 0 0,0 0 1 0 0,0-1-1 0 0,0-1 0 0 0,-1 0 0 0 0,0-1 1 0 0,0 0-1 0 0,-1 0 0 0 0,0-1 1 0 0,0-1-1 0 0,-1 0 0 0 0,0 0 0 0 0,0 0 1 0 0,-1-1-1 0 0,0-1 0 0 0,-1 1 1 0 0,7-15-1 0 0,-13 23 68 0 0,0 0 1 0 0,0 1-1 0 0,0-1 1 0 0,-1 0-1 0 0,1 0 1 0 0,-1 1-1 0 0,1-1 1 0 0,-1 0-1 0 0,1 0 1 0 0,-1 0-1 0 0,0 0 1 0 0,0 1-1 0 0,0-1 1 0 0,0 0-1 0 0,-1 0 1 0 0,1 0-1 0 0,0 0 0 0 0,-1 0 1 0 0,0-2-1 0 0,0 2 18 0 0,0 1 0 0 0,0 0 0 0 0,0-1 0 0 0,-1 1 0 0 0,1 0 0 0 0,0 0 0 0 0,-1 0 0 0 0,1 0 0 0 0,0 0 0 0 0,-1 0 0 0 0,1 0 0 0 0,-1 0 0 0 0,1 1 0 0 0,-1-1 0 0 0,0 1 0 0 0,1-1 0 0 0,-3 0-1 0 0,-3 0 91 0 0,0 1 0 0 0,0-1 0 0 0,0 1-1 0 0,0 0 1 0 0,0 1 0 0 0,0-1-1 0 0,0 2 1 0 0,-14 3 0 0 0,11-2 27 0 0,0 1 1 0 0,1 0 0 0 0,-1 1 0 0 0,-14 9-1 0 0,21-11-97 0 0,-1-1 0 0 0,1 1 0 0 0,-1 0 0 0 0,1 0 0 0 0,0 0 0 0 0,0 0 0 0 0,0 1 0 0 0,1-1 0 0 0,-1 1 0 0 0,1-1 0 0 0,0 1-1 0 0,0 0 1 0 0,0 0 0 0 0,-1 5 0 0 0,3-8-47 0 0,-1 1-1 0 0,1 0 0 0 0,0-1 0 0 0,0 1 1 0 0,0-1-1 0 0,0 1 0 0 0,0-1 1 0 0,0 1-1 0 0,0 0 0 0 0,1-1 1 0 0,-1 1-1 0 0,0-1 0 0 0,1 1 0 0 0,-1-1 1 0 0,1 1-1 0 0,0-1 0 0 0,0 0 1 0 0,-1 1-1 0 0,1-1 0 0 0,0 0 1 0 0,0 1-1 0 0,0-1 0 0 0,0 0 0 0 0,0 0 1 0 0,1 0-1 0 0,-1 0 0 0 0,0 0 1 0 0,0 0-1 0 0,1 0 0 0 0,-1 0 1 0 0,1-1-1 0 0,-1 1 0 0 0,0 0 0 0 0,1-1 1 0 0,-1 0-1 0 0,1 1 0 0 0,2 0 1 0 0,3 0-113 0 0,-1 0 0 0 0,1 1 0 0 0,0-2 1 0 0,0 1-1 0 0,-1-1 0 0 0,1 0 0 0 0,8-2 1 0 0,-5 0-122 0 0,0-1 0 0 0,0-1 0 0 0,0 1 0 0 0,11-7 0 0 0,11-4-161 0 0,-30 13 301 0 0,0 1 100 0 0,0 0 44 0 0,0 0 0 0 0,0 1 0 0 0,0-1 1 0 0,0 1-1 0 0,0-1 0 0 0,0 1 0 0 0,0 0 0 0 0,0 0 1 0 0,0 0-1 0 0,0 0 0 0 0,-1 0 0 0 0,1 0 0 0 0,0 0 1 0 0,2 3-1 0 0,-2-2 79 0 0,1 0-1 0 0,-1 0 1 0 0,1 0 0 0 0,0-1 0 0 0,-1 1-1 0 0,1-1 1 0 0,0 0 0 0 0,0 1 0 0 0,0-1-1 0 0,0-1 1 0 0,5 2 0 0 0,-1-1-89 0 0,-1 0 0 0 0,1-1 0 0 0,-1 0 0 0 0,1 0-1 0 0,0-1 1 0 0,-1 0 0 0 0,1 0 0 0 0,-1 0 0 0 0,0-1 0 0 0,1 0 0 0 0,-1 0 0 0 0,0 0 0 0 0,0-1 0 0 0,0 0-1 0 0,7-5 1 0 0,-7 3-85 0 0,1 0-1 0 0,-1-1 1 0 0,0 1 0 0 0,0-1-1 0 0,-1-1 1 0 0,0 1-1 0 0,0-1 1 0 0,0 0-1 0 0,-1 0 1 0 0,0 0-1 0 0,0 0 1 0 0,3-11-1 0 0,2-11 680 0 0,-1-1-1 0 0,-2 0 0 0 0,-1-1 0 0 0,-1 1 1 0 0,0-56-1 0 0,-4 84-531 0 0,-2 4-65 0 0,1 0 0 0 0,0 0 0 0 0,0 0 0 0 0,0 0 0 0 0,0 1 0 0 0,1-1 0 0 0,-1 0 0 0 0,1 0 0 0 0,-1 0 0 0 0,0 4 0 0 0,1-4-25 0 0,-2 21 84 0 0,1 0 0 0 0,1 0 0 0 0,0 0-1 0 0,2 0 1 0 0,7 35 0 0 0,-1-4-171 0 0,8 55-3069 0 0,-3-36-6905 0 0</inkml:trace>
</inkml:ink>
</file>

<file path=ppt/ink/ink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38.621"/>
    </inkml:context>
    <inkml:brush xml:id="br0">
      <inkml:brushProperty name="width" value="0.1" units="cm"/>
      <inkml:brushProperty name="height" value="0.1" units="cm"/>
    </inkml:brush>
  </inkml:definitions>
  <inkml:trace contextRef="#ctx0" brushRef="#br0">1 9 164 0 0,'4'-8'6168'0'0,"-4"17"-5919"0"0,-1-1 0 0 0,2 1 0 0 0,-1 0 0 0 0,1-1 0 0 0,0 1 0 0 0,1-1 0 0 0,0 1 0 0 0,1-1 0 0 0,-1 1 0 0 0,1-1 0 0 0,1 0 0 0 0,0-1-1 0 0,0 1 1 0 0,0-1 0 0 0,1 1 0 0 0,0-1 0 0 0,12 12 0 0 0,-8-9-224 0 0,1-1-1 0 0,0 0 0 0 0,0 0 0 0 0,1-1 1 0 0,0 0-1 0 0,1-1 0 0 0,-1-1 0 0 0,1 0 1 0 0,1 0-1 0 0,-1-1 0 0 0,16 4 0 0 0,-22-8-60 0 0,0 0 0 0 0,0 0 1 0 0,1 0-1 0 0,-1-1 0 0 0,1 0 0 0 0,-1 0 0 0 0,0-1 0 0 0,1 1 0 0 0,-1-1 0 0 0,0-1 0 0 0,0 1 0 0 0,0-1 0 0 0,0 0 0 0 0,0-1 0 0 0,0 0 0 0 0,0 0 0 0 0,-1 0 0 0 0,7-4 1 0 0,5-7 122 0 0,0 0 1 0 0,-1-1 0 0 0,26-31-1 0 0,-18 19 907 0 0,-22 25-848 0 0,-4 48-183 0 0,1-25-258 0 0,0-1 1 0 0,1 1-1 0 0,6 34 1 0 0,-5-50-41 0 0,0 0 1 0 0,0 0 0 0 0,1 0 0 0 0,-1 0-1 0 0,1 0 1 0 0,1 0 0 0 0,-1 0 0 0 0,1-1-1 0 0,0 1 1 0 0,0-1 0 0 0,0 0 0 0 0,0 1-1 0 0,1-2 1 0 0,0 1 0 0 0,-1 0 0 0 0,2-1-1 0 0,-1 0 1 0 0,0 1 0 0 0,6 2 0 0 0,3 1-1274 0 0</inkml:trace>
</inkml:ink>
</file>

<file path=ppt/ink/ink2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5T10:19:21.144"/>
    </inkml:context>
    <inkml:brush xml:id="br0">
      <inkml:brushProperty name="width" value="0.1" units="cm"/>
      <inkml:brushProperty name="height" value="0.1" units="cm"/>
    </inkml:brush>
  </inkml:definitions>
  <inkml:trace contextRef="#ctx0" brushRef="#br0">1 108 340 0 0,'2'-4'533'0'0,"1"0"0"0"0,-1 0 0 0 0,1 0 0 0 0,0 0 1 0 0,0 0-1 0 0,1 0 0 0 0,-1 1 0 0 0,1 0 0 0 0,0 0 0 0 0,-1 0 0 0 0,1 0 0 0 0,5-3 0 0 0,8-2 591 0 0,32-13-1 0 0,-29 13-337 0 0,-10 4-440 0 0,0 0-1 0 0,0 1 1 0 0,0 0-1 0 0,0 0 1 0 0,1 2 0 0 0,-1-1-1 0 0,1 1 1 0 0,-1 1-1 0 0,17 0 1 0 0,-22 1-215 0 0,0 0 0 0 0,0 0 0 0 0,0 0 0 0 0,-1 0 0 0 0,1 1 0 0 0,0 0 0 0 0,-1 0-1 0 0,0 0 1 0 0,1 0 0 0 0,-1 1 0 0 0,0 0 0 0 0,0 0 0 0 0,0 0 0 0 0,-1 0 0 0 0,1 1 0 0 0,-1-1 0 0 0,0 1 0 0 0,0 0 0 0 0,0 0-1 0 0,0 0 1 0 0,-1 0 0 0 0,4 7 0 0 0,-2 0-133 0 0,0 1-1 0 0,0-1 0 0 0,-1 0 1 0 0,-1 1-1 0 0,0 0 0 0 0,0 0 1 0 0,-1 14-1 0 0,-1-10-2107 0 0,0-1 0 0 0,-5 26 1 0 0,6-29-2291 0 0</inkml:trace>
</inkml:ink>
</file>

<file path=ppt/ink/ink2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5T10:19:21.474"/>
    </inkml:context>
    <inkml:brush xml:id="br0">
      <inkml:brushProperty name="width" value="0.1" units="cm"/>
      <inkml:brushProperty name="height" value="0.1" units="cm"/>
    </inkml:brush>
  </inkml:definitions>
  <inkml:trace contextRef="#ctx0" brushRef="#br0">88 167 2180 0 0,'-5'-17'2372'0'0,"-1"-1"-1"0"0,0 1 0 0 0,-11-20 0 0 0,11 24-1986 0 0,-2 0-1 0 0,0 1 1 0 0,-1-1-1 0 0,-12-13 0 0 0,19 25-828 0 0,2 10-3328 0 0,1-8 3587 0 0,-1 0-1 0 0,0-1 1 0 0,0 1 0 0 0,1 0-1 0 0,-1 0 1 0 0,1 0-1 0 0,-1-1 1 0 0,0 1 0 0 0,1 0-1 0 0,0 0 1 0 0,-1-1 0 0 0,1 1-1 0 0,-1 0 1 0 0,1-1-1 0 0,0 1 1 0 0,-1-1 0 0 0,1 1-1 0 0,0-1 1 0 0,0 1-1 0 0,-1-1 1 0 0,1 0 0 0 0,0 1-1 0 0,0-1 1 0 0,0 0-1 0 0,1 1 1 0 0,9 5-1962 0 0</inkml:trace>
</inkml:ink>
</file>

<file path=ppt/ink/ink2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5T10:19:21.869"/>
    </inkml:context>
    <inkml:brush xml:id="br0">
      <inkml:brushProperty name="width" value="0.1" units="cm"/>
      <inkml:brushProperty name="height" value="0.1" units="cm"/>
    </inkml:brush>
  </inkml:definitions>
  <inkml:trace contextRef="#ctx0" brushRef="#br0">1 27 700 0 0,'2'7'772'0'0,"0"0"-1"0"0,-1 1 1 0 0,0-1-1 0 0,0 0 1 0 0,0 1-1 0 0,-1-1 1 0 0,0 1-1 0 0,-1-1 1 0 0,-1 9-1 0 0,1-6-177 0 0,0 0-1 0 0,1 0 1 0 0,0 0-1 0 0,2 15 0 0 0,0-18-301 0 0,0 1 0 0 0,1 0 0 0 0,-1-1 0 0 0,2 0 0 0 0,-1 0 0 0 0,1 0 0 0 0,0 0 0 0 0,1-1 0 0 0,-1 1 0 0 0,1-1 0 0 0,0 0 0 0 0,1 0 0 0 0,12 9 0 0 0,-13-11-164 0 0,1 0 1 0 0,-1 0-1 0 0,1 0 1 0 0,0-1-1 0 0,0 0 1 0 0,1 0-1 0 0,-1-1 1 0 0,0 0-1 0 0,1 0 1 0 0,0 0-1 0 0,-1-1 1 0 0,1 0-1 0 0,0 0 1 0 0,0 0-1 0 0,0-1 1 0 0,10-1-1 0 0,-14 0-108 0 0,0 1-1 0 0,0 0 0 0 0,-1-1 1 0 0,1 0-1 0 0,0 0 1 0 0,-1 0-1 0 0,1 0 0 0 0,-1 0 1 0 0,1 0-1 0 0,-1-1 0 0 0,1 1 1 0 0,-1-1-1 0 0,0 1 1 0 0,0-1-1 0 0,0 0 0 0 0,0 0 1 0 0,0 0-1 0 0,0 0 0 0 0,0 0 1 0 0,-1-1-1 0 0,1 1 1 0 0,-1 0-1 0 0,1-1 0 0 0,-1 1 1 0 0,0-1-1 0 0,0 0 0 0 0,0 1 1 0 0,-1-1-1 0 0,1 0 1 0 0,-1 0-1 0 0,1 1 0 0 0,-1-6 1 0 0,0 2-16 0 0,0-1 1 0 0,-1 0 0 0 0,0 0 0 0 0,0 0 0 0 0,-1 0-1 0 0,1 1 1 0 0,-2-1 0 0 0,1 1 0 0 0,-1-1-1 0 0,0 1 1 0 0,0 0 0 0 0,-4-6 0 0 0,-3 0-154 0 0,1 0 0 0 0,-1 1 0 0 0,-1 0 0 0 0,0 0 1 0 0,-1 1-1 0 0,-14-9 0 0 0,10 8-1568 0 0,0 1 0 0 0,-22-9-1 0 0,38 19 1771 0 0,-11-7-3034 0 0,35-1-3849 0 0</inkml:trace>
  <inkml:trace contextRef="#ctx0" brushRef="#br0" timeOffset="1">233 1 556 0 0,'13'-1'1023'0'0,"-1"2"-1"0"0,1 0 1 0 0,19 3 0 0 0,-29-3-763 0 0,1 0-1 0 0,0 1 1 0 0,0-1 0 0 0,-1 1 0 0 0,1 0 0 0 0,0-1 0 0 0,-1 2 0 0 0,0-1 0 0 0,1 0-1 0 0,-1 1 1 0 0,0-1 0 0 0,0 1 0 0 0,-1 0 0 0 0,1 0 0 0 0,3 5 0 0 0,7 14 724 0 0,-1 1 0 0 0,-1 0 0 0 0,-1 1 0 0 0,13 49 0 0 0,1 1 3414 0 0,-23-73-3923 0 0,16-13 351 0 0,3-10-768 0 0,17-18-112 0 0,2 1 0 0 0,65-52 0 0 0,-100 88 34 0 0,0 0-1 0 0,0 0 0 0 0,0 1 0 0 0,1 0 0 0 0,-1 0 0 0 0,1 0 1 0 0,-1 0-1 0 0,1 1 0 0 0,0 0 0 0 0,0 0 0 0 0,-1 0 1 0 0,7 0-1 0 0,-8 1 14 0 0,0 0 0 0 0,-1 0 0 0 0,1 1 0 0 0,0-1 1 0 0,-1 1-1 0 0,1 0 0 0 0,0 0 0 0 0,-1 0 0 0 0,1 0 1 0 0,-1 0-1 0 0,1 0 0 0 0,-1 1 0 0 0,1-1 0 0 0,-1 1 1 0 0,0 0-1 0 0,0-1 0 0 0,0 1 0 0 0,0 0 0 0 0,0 0 0 0 0,0 1 1 0 0,-1-1-1 0 0,3 4 0 0 0,1 4 51 0 0,1 1-1 0 0,-2 0 0 0 0,0 0 1 0 0,0 0-1 0 0,-1 1 1 0 0,0-1-1 0 0,-1 1 1 0 0,0 0-1 0 0,-1-1 1 0 0,0 1-1 0 0,-2 17 1 0 0,0-8-865 0 0,-2-1 0 0 0,-4 21 1 0 0,2-20-3837 0 0,-13 32 0 0 0</inkml:trace>
</inkml:ink>
</file>

<file path=ppt/ink/ink2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8:28.441"/>
    </inkml:context>
    <inkml:brush xml:id="br0">
      <inkml:brushProperty name="width" value="0.08571" units="cm"/>
      <inkml:brushProperty name="height" value="0.08571" units="cm"/>
      <inkml:brushProperty name="color" value="#E71224"/>
    </inkml:brush>
  </inkml:definitions>
  <inkml:trace contextRef="#ctx0" brushRef="#br0">45 1 11760,'-13'4'2069,"0"8"-1799,9-1-90,-1 7-3892,1 15 3892,2-15 769,-1 17-769,3-21-90,0 2 90,0 1-90,0 1 90,0 1 3392,0 0-3482,0 0 0,0 0 180,0 10-180,1-7 0,0 7-1,0-9 1,0-1 90,0 1-90,1-1 90,0 1-90,0-1 0,0 0 90,2 8-90,-2-7 0,2 6 0,-2-9 0,0 0 90,0 0 0,1 0-91,-1 0 91,0 0-90,0 0 90,0 7-90,0-5 0,0 6 0,0-8 0,-1 0 90,0 0-90,1-1 0,-1 0 0,0-2-90,0 0 90,0-1 0,0 0-90,0 5 90,0-1-90,0 3-90,0-1-90,0-4-9265,0 1 9445,-5-11 0,4 1 0,-4-9 0</inkml:trace>
</inkml:ink>
</file>

<file path=ppt/ink/ink2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8:29.655"/>
    </inkml:context>
    <inkml:brush xml:id="br0">
      <inkml:brushProperty name="width" value="0.08571" units="cm"/>
      <inkml:brushProperty name="height" value="0.08571" units="cm"/>
      <inkml:brushProperty name="color" value="#E71224"/>
    </inkml:brush>
  </inkml:definitions>
  <inkml:trace contextRef="#ctx0" brushRef="#br0">27 194 11131,'-13'-15'2338,"1"1"-2248,11 6 0,4-1-90,5 2 0,4 0 0,2 1 0,-1 1 0,1 0 0,-2 1 0,2 0 0,0 0 0,2 0 0,0-1 0,1 0-90,1 1 90,-1-1-90,0 1 180,1 0-180,-2 1 180,1-1-180,-1 1 90,0 0 0,-1 0 0,0 0 0,-1 1 0,0 0-90,-2 1 180,0-1-180,0 0 180,0 1-180,-1-1 180,1 1-180,-1 0 180,0 0-90,6-1 0,-4 0 90,4 1-90,-4-1 90,0 2 0,0-2-90,1 1 90,1 0-90,0-1 90,0 1-90,7-1 0,-5 0 0,3 1 0,-6 0 90,-1 0-90,-1 0-90,7 0 90,-6 0-90,5 0 180,-6 0-180,0 0 180,0 0-180,-1 0 180,5 0 0,0-1 0,2 0 0,-1 1 90,-3-1 180,-1 1-181,0 0 361,0-1 0,-2 4-180,-3 4-1,-2 3 1,-3 5-90,0 4-90,-2-2 180,0 6-180,-1-7-90,0 5 0,0-5 89,0 1-89,0 1 90,0 1-90,0-1-90,1 1 90,-1 0 0,0 0-90,1-1 90,-1 1 0,1-1 0,0 0 0,0 0 90,-1 0-90,1 1 0,0-1-90,0-1 90,-1 1-90,1-2 90,-1 1 0,1 6 0,-1-6 0,0 6-90,0-8 89,0 0-89,0-1 0,-1 1 90,1-1-90,-1 0 0,1-1 90,-1 1-180,0 3 90,-1 1 0,0 4 0,-1-2 90,1-2-90,-2-2 90,1-1 90,-1-1 0,-1 0 0,0-2-90,-2-1 0,-1 0 0,-4-2 0,-1-1-90,0-1 0,0-2 0,3-2 90,-1 1-90,-2-1 0,-1-1 90,-1 1-90,-1 0 0,-1 0 0,0 0 0,-1 1 0,0-1 90,-2 1-90,0 1 0,-1-1 90,-1 1-90,0 0 0,-1 0 0,1-1 0,0 1 90,1 0-180,1 1 180,1-1-90,1-1 0,1 1 0,1 0 0,-8 1 89,7-1-268,-4 2 269,8-3-90,1 1 0,1 0 0,0-1 0,-3 2 0,1-1-270,-3 1-630,3-1-2248,1-1-360,2-3 3508,2-5 0,3 2 0,4-2 0</inkml:trace>
</inkml:ink>
</file>

<file path=ppt/ink/ink2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8:30.911"/>
    </inkml:context>
    <inkml:brush xml:id="br0">
      <inkml:brushProperty name="width" value="0.08571" units="cm"/>
      <inkml:brushProperty name="height" value="0.08571" units="cm"/>
      <inkml:brushProperty name="color" value="#E71224"/>
    </inkml:brush>
  </inkml:definitions>
  <inkml:trace contextRef="#ctx0" brushRef="#br0">32 2175 12480,'-19'2'2428,"7"-5"-2338,12-5-90,7-4 90,0 4-90,1 0 90,-1 2 0,1 0-3392,0-1 3392,1-1 0,1 0 180,6-4-90,-2 1 0,12-8-90,-9 7 0,6-5 3392,-6 6-3482,0-1 90,0 0 0,1 1-1,1-2-89,1 1 180,1-2-90,10-5 0,-7 4 0,8-5 0,-10 7-90,0-1 90,-1 0 0,1 0 0,-1 0-90,0 0 90,-1 0 0,1-1-90,-2 1 90,1-2-90,0 0-3302,-1 0 3302,1-1 0,-1-1 90,0 0 0,1-1-90,-1 1 90,0-1-90,0 1 90,-1-1-90,1 1 90,6-8-90,-5 6 89,5-6-89,-9 10 0,0-1 0,-1 1 3482,8-8-3482,-6 5 0,6-5 0,-7 6 90,0 0-90,0-1 90,1 0-90,-1 0 0,0 0 90,0-1-90,0 1 90,0 0 0,0 1 0,-1 1 0,6-5 0,-5 6 0,4-6-90,-7 8 0,1 0 90,-1 0-90,1 1 90,-1 0-90,0-1 0,1 2 0,0-1 0,0 0 90,1 1-90,-1-1 0,8-5 0,-5 4 0,5-5 0,-6 6 0,0 0 0,-1 0 0,1-1 0,0 0 0,0 0 0,-1 0 0,2-2 0,-1 1 0,0 0 90,-1 0-90,6-6 90,-6 6-90,4-6 0,-6 7 270,5-6-180,-6 5-1,4-3-89,-5 6 90,0 0 0,0-1-90,1 1 0,0-2 90,1 2-90,0-1-3482,0 0 3572,0 0-1068,0 1 1068,0-1 0,6-4-90,-5 4 0,4-4 0,-7 6 90,0 0-90,1 1 2907,-1-1-2817,0 1 1373,-1-1-1463,1 1 0,-1-1 0,1 1 90,-1 0-90,0 0-90,1 0 90,-1-1 0,5-4 0,-4 4 0,5-3 0,-6 4 90,1-1-180,0 1 180,0 0-180,0 0 180,5-5 0,-3 4-180,3-3 270,-6 5-180,1 0 90,-1 0 90,0 1-180,-1-1 90,1 1-90,-1 1 90,-1-1 0,0 1 0,3-3-90,-3 3 0,2-3-90,-3 3-810,1-2-809,-1-2-989,0-1 899,-7 0-5397,-8 3 7196,-4 3 0,-9 2 0,1 2 0</inkml:trace>
</inkml:ink>
</file>

<file path=ppt/ink/ink2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8:32.639"/>
    </inkml:context>
    <inkml:brush xml:id="br0">
      <inkml:brushProperty name="width" value="0.08571" units="cm"/>
      <inkml:brushProperty name="height" value="0.08571" units="cm"/>
      <inkml:brushProperty name="color" value="#E71224"/>
    </inkml:brush>
  </inkml:definitions>
  <inkml:trace contextRef="#ctx0" brushRef="#br0">859 0 11760,'1'7'360,"1"-5"-270,-10 26 0,4-14 0,1-4 0,0 1 0,0 0 0,0 1 0,0 1 0,0 0 0,-2 8 0,2-5-90,-1 6 90,1-7-1,1 0-89,-1 0 0,1 1 0,-1 0 90,1-1-90,0 1 0,0 0 90,0-1-90,0 1 0,0-1 0,0 0 90,0-1-90,0-1 0,-1 0 90,1 0 90,0-1 90,-2 5-180,1-4 0,0 3 0,0-6 0,0 0 90,-2 3 90,-1 0-181,-2 2-89,0-5 270,-8 4-270,6-8 90,-7 3 0,5-4 0,-1-1-90,-1 0 90,0-1 0,-9 1-90,6-1 90,-6 1 0,-8-1-90,11-1 0,-11 2 90,15-3-90,0 1 0,0-1 0,0 1 0,0-1 0,-1 1 90,1 0-90,-1 0 0,-7 0 90,-10 2 0,6-1 0,-11 1 0,21-2-90,-6 1 90,9-1-90,0-1 90,1 1 0,-4 0-90,4-1 0,-3 1 89,6-1-89,-4 0 90,1 1-269,-3-1-991,1 0-3417,3-1 4587,1-2 0,6 1 0,3-1 0</inkml:trace>
</inkml:ink>
</file>

<file path=ppt/ink/ink2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8:38.524"/>
    </inkml:context>
    <inkml:brush xml:id="br0">
      <inkml:brushProperty name="width" value="0.08571" units="cm"/>
      <inkml:brushProperty name="height" value="0.08571" units="cm"/>
      <inkml:brushProperty name="color" value="#E71224"/>
    </inkml:brush>
  </inkml:definitions>
  <inkml:trace contextRef="#ctx0" brushRef="#br0">0 839 11311,'5'-18'1349,"0"2"-1169,-1 5 0,2 0-1,-1 0 1,1-1-90,1-1-90,-1 1 90,0 1-90,-1 3 0,0-1 90,0 0-90,0-1 0,0 0 90,1-1-90,0-1 90,1-1-90,-1 1 0,0-2 0,1 1 0,0-1 90,0 1-90,0-1 0,-1 0 0,1 0 0,0 0 90,0 0-90,0 0 0,0 0 0,0 1 90,-1-1-90,2 1 90,-1-1-90,0 1 0,0 0 0,1 1 90,0-1-90,0 0 0,0 0 0,1 1 0,0 0 0,0 0 90,0 0-90,0 0 90,-1 0-90,1 1 0,-1-1 0,3-4 0,-2 5 90,2-5-90,-3 6 0,0 0 0,-1 1 0,0 0 0,-1 1 0,1 0 0,-1 0 90,0 0-90,0 1 90,1-3-90,1 0 0,1-2 0,0 1 90,0 0-90,-1 2-90,-1 0 180,0 1-1,0 0 1,0 0 180,-2 0 0,1 1-90,0 0-8545,-1-1 8365,-7 6 0,3-1 0,-6 5 0</inkml:trace>
</inkml:ink>
</file>

<file path=ppt/ink/ink2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8:40.276"/>
    </inkml:context>
    <inkml:brush xml:id="br0">
      <inkml:brushProperty name="width" value="0.08571" units="cm"/>
      <inkml:brushProperty name="height" value="0.08571" units="cm"/>
      <inkml:brushProperty name="color" value="#E71224"/>
    </inkml:brush>
  </inkml:definitions>
  <inkml:trace contextRef="#ctx0" brushRef="#br0">1 969 11490,'15'-16'450,"-1"2"-180,-7 6-180,0 0 0,0-1 0,0-1 0,2-1 0,0-1-90,-1 2 90,-1 0 0,-1 2-90,1 0 90,-1-1 0,2 0 0,0-1-1,0 0 1,0 0 0,1-1 0,0 1-90,0-1 90,0 0-90,1 1 90,0-1 0,-1 0 90,1 1-90,-1 0 0,-1 0-90,1 0 90,0 0 0,-1 1-90,1-2 0,0 2 90,0-2-90,0 2-3302,0-1 3302,0 0-182,4-3 182,-2 2 0,3-2 0,-4 3 0,0 1 90,1 0-90,-1 0 0,0 0 89,0 0 1,0 0-90,0 1 90,0 0 3302,2-2-3302,-3 2 182,3-1-272,-5 3 90,1-1-90,-2 1 0,1 0 90,0 0-90,0 0 0,-1 0 0,1 0 0,0 0 0,0 0 0,1 0 0,0 0 0,-1-1 0,1 1 0,0 0-90,0-1 180,1 1-180,0-2 180,1 1-180,0 0 180,1-1-90,-1 1 90,0-1-90,0 1 90,0 0 0,-1 0 0,-1 1-90,1 1 90,-2-1-90,1 0 90,0 0-90,0 0 90,-1 0-90,0 0 0,1 0 0,-1 0 90,4-2-90,-3 1 0,4-2 0,-4 2 0,-1 1 0,5-2 0,-4 2 0,3-2-90,0 0 180,-3 2-90,3-2 0,-4 2 180,4-1 0,-1-1 0,2-1-90,-1 0-90,-2 1 90,0 1-90,0-2 0,-1 1 0,0 1 0,0-1 89,-2 1-178,1-1 178,-1 0-89,1-1 0,-2 1-89,1 1-1,-2-1 90,5 3 0,-2 4 0,4 3 0,0 2 0,3 1 0,-2 0 0,0-1 0,-2-1 0,-1 1 0,1-1 0,10 5 0,-8-4 0,11 6 0,-10-5 0,4 2 0,-3-1 90,-1-1-180,-2 0 90,0-1 0,-1 1 0,0-1 90,0 1-90,1-1 0,-1 0 0,1-1 0,-1 1 0,0-1 0,1 1-540,-1 0-5307,1 1 5847,-7 2 0,-1-3 0,-4 1 0</inkml:trace>
</inkml:ink>
</file>

<file path=ppt/ink/ink2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8:41.152"/>
    </inkml:context>
    <inkml:brush xml:id="br0">
      <inkml:brushProperty name="width" value="0.08571" units="cm"/>
      <inkml:brushProperty name="height" value="0.08571" units="cm"/>
      <inkml:brushProperty name="color" value="#E71224"/>
    </inkml:brush>
  </inkml:definitions>
  <inkml:trace contextRef="#ctx0" brushRef="#br0">178 0 12030,'0'20'540,"0"0"-450,-1-7 0,-1 1 90,1-2-90,-2 2-90,1 1 179,-1 1-89,-1 1 90,0 2 0,0 1 0,-1 1-90,0 1 90,0 0-90,0 0-3392,-1 0 3392,1 0 0,0 0 0,0-1 0,0 1 0,0-1 89,0 0-89,0 0 3392,1-2-3392,-1 0 0,1-1-90,0-1 90,0 0 90,-1 0-90,1-1 0,-1 0-90,1 0 90,-1-1-90,1-2 90,0 1 0,0-2 0,1-1 0,-1 1 0,1-2 0,0 0 90,-1 2-180,0-1 90,0 2-1080,1-2 990,-1-1 0,2-3 0,0-3 0</inkml:trace>
</inkml:ink>
</file>

<file path=ppt/ink/ink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38.980"/>
    </inkml:context>
    <inkml:brush xml:id="br0">
      <inkml:brushProperty name="width" value="0.1" units="cm"/>
      <inkml:brushProperty name="height" value="0.1" units="cm"/>
    </inkml:brush>
  </inkml:definitions>
  <inkml:trace contextRef="#ctx0" brushRef="#br0">201 22 1892 0 0,'7'-8'2313'0'0,"1"-5"3148"0"0,-18 17-5271 0 0,-6 5 37 0 0,1 1 0 0 0,0 1 0 0 0,1 1 0 0 0,-20 20 0 0 0,18-17-1582 0 0,0-1 0 0 0,-33 23 0 0 0,37-32-1483 0 0</inkml:trace>
  <inkml:trace contextRef="#ctx0" brushRef="#br0" timeOffset="1">0 66 828 0 0,'16'-38'6821'0'0,"-16"38"-6779"0"0,1-1-1 0 0,-1 1 0 0 0,0-1 0 0 0,1 1 1 0 0,-1 0-1 0 0,0-1 0 0 0,1 1 1 0 0,-1 0-1 0 0,0 0 0 0 0,1-1 0 0 0,-1 1 1 0 0,1 0-1 0 0,-1 0 0 0 0,1-1 0 0 0,-1 1 1 0 0,0 0-1 0 0,1 0 0 0 0,-1 0 0 0 0,1 0 1 0 0,-1 0-1 0 0,1 0 0 0 0,-1 0 1 0 0,1 0-1 0 0,-1 0 0 0 0,1 0 0 0 0,-1 0 1 0 0,2 0-1 0 0,14 5 430 0 0,-7 0-460 0 0,0 1 0 0 0,0 0 0 0 0,-1 1 0 0 0,0 0 0 0 0,0 0 1 0 0,-1 0-1 0 0,0 1 0 0 0,9 13 0 0 0,-8-10-960 0 0,1-1 1 0 0,0 0-1 0 0,0 0 0 0 0,1-1 0 0 0,13 10 1 0 0,-12-12-332 0 0</inkml:trace>
</inkml:ink>
</file>

<file path=ppt/ink/ink2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8:42.941"/>
    </inkml:context>
    <inkml:brush xml:id="br0">
      <inkml:brushProperty name="width" value="0.08571" units="cm"/>
      <inkml:brushProperty name="height" value="0.08571" units="cm"/>
      <inkml:brushProperty name="color" value="#E71224"/>
    </inkml:brush>
  </inkml:definitions>
  <inkml:trace contextRef="#ctx0" brushRef="#br0">157 1 10591,'-11'24'809,"2"-4"-629,4-5 0,0-2 0,1 1 90,-1 1-90,-1 2 0,0 1 0,0 1 0,0 0 0,1 1-1,-1 0 1,0-1 0,1 1 90,0 0-180,-1-2 90,1 1-90,0-2 0,1 0 0,-2 6 0,1-6-90,0 5-540,-4 13-449,4-14-361,-3 15-2967,5-21 4317,0-2 0,2-6 0,0-2 0</inkml:trace>
</inkml:ink>
</file>

<file path=ppt/ink/ink2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8:43.750"/>
    </inkml:context>
    <inkml:brush xml:id="br0">
      <inkml:brushProperty name="width" value="0.08571" units="cm"/>
      <inkml:brushProperty name="height" value="0.08571" units="cm"/>
      <inkml:brushProperty name="color" value="#E71224"/>
    </inkml:brush>
  </inkml:definitions>
  <inkml:trace contextRef="#ctx0" brushRef="#br0">201 28 9332,'-7'-19'1529,"-1"11"-1079,5 11-271,-3 13 91,3-1-90,-2 3 270,-1 4-270,1-3 0,-2 6 90,1-6-1,0 1-89,0 1 0,-1-1 0,1 0 0,0 0 0,-1 0 90,-2 8-90,1-6-90,-2 5-90,3-10 90,2-1-1,-1-1-89,0 0 90,1 0-90,-1-2 0,0 1 0,1-2 90,-2 4-270,1-2-359,0 1-1080,1-2 1619,0-2 0,2-5 0,1-1 0</inkml:trace>
</inkml:ink>
</file>

<file path=ppt/ink/ink2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8:45.338"/>
    </inkml:context>
    <inkml:brush xml:id="br0">
      <inkml:brushProperty name="width" value="0.08571" units="cm"/>
      <inkml:brushProperty name="height" value="0.08571" units="cm"/>
      <inkml:brushProperty name="color" value="#E71224"/>
    </inkml:brush>
  </inkml:definitions>
  <inkml:trace contextRef="#ctx0" brushRef="#br0">852 0 8702,'-11'17'630,"1"-4"-540,2-4 90,1-1-91,0 0 91,-1 2-90,0-1 0,-1 2 0,-1 0 0,1 1 0,-2 1 90,2 0-180,-2 1 90,1 0 0,-2 1 90,1 0-180,-1 1 90,1-1-90,0 0 90,0 0 0,1 0 0,-1 0 0,0 0-1,1-1 1,0 0 0,0 0-90,0-2 90,1 1-90,-1 0 90,-1 0-90,1 1 90,-6 5-90,5-6 90,-4 5-90,5-6 90,0 0 90,-1 0-90,1 0-90,0-1 180,-5 5-90,3-3 0,-7 7 0,7-8-90,-2 3 90,4-5-90,0 0 90,1 0-90,-1 0 0,1-1 0,0 0 0,1-1 90,-1 1-90,0-1 0,0 1 90,-1 0-90,1-1 0,-2 1 89,2-1 1,-2 1 0,1-1 0,0 0 0,0 0-90,-1 0 90,2-1-90,-1 0 90,-4 4 0,3-2-90,-3 2 0,4-4 90,1 0-90,-1 0 0,2 0 90,-1 1-90,1-1 90,0-1 0,-2 4 0,2-4 0,-4 5-90,2-3 0,-1 1-90,1-1-6836,1-1 6926,7-7 0,-2 2 0,6-6 0</inkml:trace>
</inkml:ink>
</file>

<file path=ppt/ink/ink2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8:46.488"/>
    </inkml:context>
    <inkml:brush xml:id="br0">
      <inkml:brushProperty name="width" value="0.08571" units="cm"/>
      <inkml:brushProperty name="height" value="0.08571" units="cm"/>
      <inkml:brushProperty name="color" value="#E71224"/>
    </inkml:brush>
  </inkml:definitions>
  <inkml:trace contextRef="#ctx0" brushRef="#br0">669 3 8072,'-10'1'2969,"6"-5"-2879,-11 22 179,10-10-179,-1 0 90,0 1-90,0 0 90,-1 0 0,1 1-180,-2 1 90,1-1 0,0 1 0,-1 0-90,0 0 90,0 0 0,0 0-90,0 0 90,0 0-90,-1 0 0,1 0 0,-1 0 90,0 0-90,0 0 0,-1 0 0,0 0 0,0 0-90,0 1 180,0-1-180,0-1 90,-1 1 0,1-1 0,0 0 0,0 0 90,1 0-180,-1-1 90,-3 5 90,3-3-90,-3 2 90,4-4 0,1 0-90,-1 0 90,1 0-90,0-1 0,1 0 0,-1 0 90,1 0-90,0 1 89,-4 4-89,2-2 0,-2 3 90,4-4-90,-1 0 0,1 0 0,-1 0 0,1 0 0,-1 1 90,0-1 90,-3 5-90,3-4 0,-2 3 0,3-4 0,1-1 0,0 0 0,0 0-90,-1 0 90,1 0-90,0 0 90,1-1-90,-1 0 0,0 0 0,1 0 90,-2 2-90,0 0 90,-1 1-90,-1 1 90,1-3-90,-1 2-90,2-2-990,0 0-4946,0 0 6026,0-2 0,2-2 0,2-2 0</inkml:trace>
</inkml:ink>
</file>

<file path=ppt/ink/ink2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8:47.377"/>
    </inkml:context>
    <inkml:brush xml:id="br0">
      <inkml:brushProperty name="width" value="0.08571" units="cm"/>
      <inkml:brushProperty name="height" value="0.08571" units="cm"/>
      <inkml:brushProperty name="color" value="#E71224"/>
    </inkml:brush>
  </inkml:definitions>
  <inkml:trace contextRef="#ctx0" brushRef="#br0">1 1 9781,'17'15'450,"0"-1"-450,-7-9 90,2 0-90,-2-1 90,0-1-90,1 1 0,0 0 0,0 0 90,1-1-180,1 2 180,0-1-90,0 1 0,1 0 90,5 1-180,-3-1 180,4 1-180,-6-2 180,-1 1-90,2-1 0,-1 0 0,0 0 0,7 1 90,-5-2-180,6 2 180,-8-3-180,0 1 180,0-1-90,0 0 0,-1 0-90,0 0 180,0 0-180,-1 0 180,1-1-90,3 1-90,-2 1 180,2-1-90,-5 0 0,5 0 0,8 2 0,-4-1 0,6 1-90,-12-1 180,1-1-1529,-3 0 1439,1 0 0,-7-1 0,-1 0 0</inkml:trace>
</inkml:ink>
</file>

<file path=ppt/ink/ink2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8:52.628"/>
    </inkml:context>
    <inkml:brush xml:id="br0">
      <inkml:brushProperty name="width" value="0.08571" units="cm"/>
      <inkml:brushProperty name="height" value="0.08571" units="cm"/>
      <inkml:brushProperty name="color" value="#E71224"/>
    </inkml:brush>
  </inkml:definitions>
  <inkml:trace contextRef="#ctx0" brushRef="#br0">143 325 7263,'-16'15'899,"2"-2"-6379,7-5 6739,-12 21 330,6-8-780,-19 51-629,21-43 0,-7 32-180,15-42 950,-1 5-860,2-6-90,0 1 90,1-1 3302,1 1-3302,-1 1-90,2 0 0,0 0 89,0 1 1,1 0 0,1 0-90,1 2 180,1-1-180,0 0 90,3 0-90,0 1 180,2 0-180,1 0 180,9 10-90,-3-8-90,5 7 90,-4-12 0,1 1 0,2-2 0,2 1-90,2-1 90,2 0-90,2-1 90,1 0 0,1-1 0,17 6-90,-11-6-138,13 5 228,-15-7 0,0-1-90,0-1 90,0 0-90,0-1 90,-2-1-90,2 0 90,-1 0 0,2-1 0,1 0-90,0-1 90,17 4 45,11-3 0,4 1-135,11 2-243,-12-4 1,-6-1 242,-22-5 0,-4 0 0,1 0 90,0 0-90,-1-1 0,-1 0 0,0-1 215,0 0-125,0 0-90,-1-1 0,1 0 677,0-1-677,0 0 0,1 0 90,0 0-90,2-1 0,21-1 0,-14-1-288,18 0 288,-21 0 0,0 0-161,0-1 161,-2 0 0,-2-1 0,1 0 0,-3-1 0,1-1 0,-3 1 0,-1-1 0,-1 0 90,13-5-90,-12 2 0,9-3 90,-15 3-90,-2 1 461,-3-2-461,-1 1 257,-3-1-257,-1 0 0,-2 0 90,-1-2-90,3-7-90,-5 5 180,2-6-90,-7 7 0,-1-1 0,0 1 0,-2 0 0,0 0 90,0 0-90,-1 0 0,0 0 0,-1 1 0,0-1 0,0-5 0,-1 5 0,1-5 0,-1 5 0,-1 1 0,0-1 0,0 1 0,0-2 0,-2 0-90,1-1 90,-2 1 0,0-1 0,-1 0 0,-2 0 0,-3-8 0,1 5-90,-3-5 90,3 8 0,1 2 0,-1 0 0,1 0 0,0 2 0,-1-2 0,1 2 0,-1 0 0,1 0 0,-4-6-90,3 6 180,-4-5-180,4 7 90,0-1 0,-1 0 0,-1 0 0,-2-2 0,0 2-89,-2-2 89,-1 1 0,-1-1 0,-9-5 0,4 3-90,-6-4 180,8 7-180,1 1 180,0 0-180,-1 1 180,1-1-180,-1 1 180,0 0-180,0 0 180,0 1-180,0-1 180,-1 1-180,-8-4 180,6 3-90,-8-3 0,8 4 0,0 0 0,-2 0 0,0 0 0,-1 0 0,0 0 89,0 1-178,-2-1 89,-14-4 0,7 2 0,-9-2 0,9 3-90,2 1 0,-2-1 90,3 2-90,-2-1 90,3 2 0,-1 0-90,1 0 90,0 1 0,0 0 0,-9-2 0,9 3 0,-8-2 0,14 4 0,-1-1 0,1 2 0,-1-1 0,1 1 0,-1-1-90,0 1 180,-1 1-180,0-1 90,0 1 0,-1 0 0,-13 1-90,10-1 90,-11 1 0,13 2 0,0-2 0,-1 2 0,1 0 90,-3 0-90,1 0 0,-3 1 0,1 0 0,1-1 0,-11 2 0,11 0 0,-8 0 0,12-1 0,1 1 0,0 0 0,1-1 0,1 1 0,0-1 0,2 1 0,1 0-180,1-1-90,-6 2 0,6-1-90,-6 1-89,10-1-181,-1-1-90,0 1-269,1 1-540,0 0-90,0 0 1619,1 0 0,-3 0 0,0 1 0</inkml:trace>
</inkml:ink>
</file>

<file path=ppt/ink/ink2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8:53.816"/>
    </inkml:context>
    <inkml:brush xml:id="br0">
      <inkml:brushProperty name="width" value="0.08571" units="cm"/>
      <inkml:brushProperty name="height" value="0.08571" units="cm"/>
      <inkml:brushProperty name="color" value="#E71224"/>
    </inkml:brush>
  </inkml:definitions>
  <inkml:trace contextRef="#ctx0" brushRef="#br0">68 21 9062,'-20'-5'3778,"-1"0"-2699,8 2 720,-1-1-1619,14 1 90,6 3 180,14 0-181,22 4 1,-5-1-235,17 2 145,-11-2 0,0 0 0,-2 0-90,-1 0 90,-3-1-90,-1-1 0,-1 0 0,-4-1-90,-1 0 90,-3-1 0,-1 0-90,-4 0 90,-1-1-90,-2 0 0,-2 0 89,-2 0-268,-2 1-91,-1-1-485,-1 0-864,3 0-630,-2 0-1169,3 0 3418,-1 1 0,-7 0 0,0 2 0</inkml:trace>
</inkml:ink>
</file>

<file path=ppt/ink/ink2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8:54.186"/>
    </inkml:context>
    <inkml:brush xml:id="br0">
      <inkml:brushProperty name="width" value="0.08571" units="cm"/>
      <inkml:brushProperty name="height" value="0.08571" units="cm"/>
      <inkml:brushProperty name="color" value="#E71224"/>
    </inkml:brush>
  </inkml:definitions>
  <inkml:trace contextRef="#ctx0" brushRef="#br0">8 35 14459,'-7'-12'1619,"8"4"-1439,15 5 0,5 3 0,-3 0-1,2 0 1,3 1-90,-1-1 90,1 1-90,0-1 0,-2 0 0,0 0-90,-2-1 90,-1 1 0,-2-1-90,-2 1 90,-2-1-180,4 0-450,-1 0-449,2-1-1620,-3 0 2609,-1-1 0,-6 2 0,0 0 0</inkml:trace>
</inkml:ink>
</file>

<file path=ppt/ink/ink2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8:55.119"/>
    </inkml:context>
    <inkml:brush xml:id="br0">
      <inkml:brushProperty name="width" value="0.08571" units="cm"/>
      <inkml:brushProperty name="height" value="0.08571" units="cm"/>
      <inkml:brushProperty name="color" value="#E71224"/>
    </inkml:brush>
  </inkml:definitions>
  <inkml:trace contextRef="#ctx0" brushRef="#br0">720 269 7803,'-13'-18'1259,"1"3"-899,6 6-91,0 1 1,1 0-90,-1 0 90,1-1-180,0 1 90,0 0-90,0 0 0,0 0 90,0 0-180,-2-2 0,1 2 0,-2-2 0,1 3 90,0 0-90,-2 1 0,0 0 0,-2-1 0,0 2 0,-1-1 0,-1 2 0,0 0 0,-1 0 0,-1 1 0,0 0 90,1 2-90,-1 0 90,0 1-90,0 0 89,0 1 1,-1 2 0,-1 0 0,0 1 0,0 1 0,-2 1 0,1 2 0,-1 0 90,-8 7-90,7-3-90,-7 6 90,9-4-90,-1 1 90,2 1 0,0 1 0,1 0 0,1 1 0,1 0 0,1 0 0,-4 10 0,4-7-1,-2 8-89,6-9 90,1 1 0,-1 10 0,3-6-90,0 6 90,4-1-90,2-7 90,3 7 90,1-8-90,2-1 90,4 2-90,0-2 90,3 2-90,1-3 90,1 0-90,1-3 89,1-2 91,-1-1-90,2-2 0,0-1 0,2-2 0,1-2 0,1-2 180,1-1-91,0-2 1,2-3-90,2-1 0,0-3 0,1-3 0,2-3 0,-1-3-90,2-3 0,-3-2 0,0-2 90,-3-2-91,-1-2-89,-2-1 90,-2-2-90,-3 1 0,-3-2 0,-3 1 0,-2-1 0,-4 0 0,-2 0 0,-4-1 0,-2-2-269,-12-19-300,1 12 120,-9-13-91,2 17-180,-3 2-1438,-17-9 718,7 12-808,-14-5-4164,9 15 6412,-3 4 0,-3 2 0,0 2 0</inkml:trace>
</inkml:ink>
</file>

<file path=ppt/ink/ink2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6:04:06.201"/>
    </inkml:context>
    <inkml:brush xml:id="br0">
      <inkml:brushProperty name="width" value="0.08571" units="cm"/>
      <inkml:brushProperty name="height" value="0.08571" units="cm"/>
    </inkml:brush>
  </inkml:definitions>
  <inkml:trace contextRef="#ctx0" brushRef="#br0">84 1 7533,'-18'2'5936,"-13"1"-4407,14-1-1079,0 1 0,19-1-90,12 0 179,4-2-269,26 0-90,-3 0 0,19 0-90,-10 1-586,2 0 316,1-1-180,0 1-179,-2-1-271,-1 1-269,-6-1-285,-3 1-974,-7-1-1260,-2 0 3598,-4-1 0,0 0 0,-1-1 0</inkml:trace>
</inkml:ink>
</file>

<file path=ppt/ink/ink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39.384"/>
    </inkml:context>
    <inkml:brush xml:id="br0">
      <inkml:brushProperty name="width" value="0.1" units="cm"/>
      <inkml:brushProperty name="height" value="0.1" units="cm"/>
    </inkml:brush>
  </inkml:definitions>
  <inkml:trace contextRef="#ctx0" brushRef="#br0">0 18 1528 0 0,'2'-17'5576'0'0,"-3"22"-4694"0"0,1-4-833 0 0,0 1 1 0 0,0 0-1 0 0,-1-1 1 0 0,2 1-1 0 0,-1-1 0 0 0,0 1 1 0 0,0 0-1 0 0,0-1 0 0 0,1 1 1 0 0,-1-1-1 0 0,1 1 0 0 0,0-1 1 0 0,-1 1-1 0 0,1-1 1 0 0,1 3-1 0 0,16 22 269 0 0,-14-22-248 0 0,-2-1-97 0 0,1 0 1 0 0,0 0 0 0 0,-1 0-1 0 0,1 0 1 0 0,1 0 0 0 0,-1-1-1 0 0,0 1 1 0 0,1-1 0 0 0,-1 0-1 0 0,1 0 1 0 0,0 0 0 0 0,-1 0-1 0 0,1-1 1 0 0,0 0 0 0 0,0 0-1 0 0,0 0 1 0 0,0 0 0 0 0,0 0 0 0 0,0-1-1 0 0,1 0 1 0 0,-1 0 0 0 0,0 0-1 0 0,0 0 1 0 0,0-1 0 0 0,0 1-1 0 0,0-1 1 0 0,0 0 0 0 0,5-2-1 0 0,2-1 94 0 0,0-1-1 0 0,0-1 0 0 0,0 1 0 0 0,-1-2 0 0 0,1 1 0 0 0,-2-2 0 0 0,1 1 0 0 0,12-13 0 0 0,-18 15 205 0 0,14-11 760 0 0,-17 16-993 0 0,-1 0 0 0 0,1-1-1 0 0,0 1 1 0 0,-1-1 0 0 0,1 1 0 0 0,0 0-1 0 0,0-1 1 0 0,-1 1 0 0 0,1 0-1 0 0,0 0 1 0 0,0 0 0 0 0,0-1-1 0 0,0 1 1 0 0,-1 0 0 0 0,1 0-1 0 0,0 0 1 0 0,0 1 0 0 0,0-1 0 0 0,-1 0-1 0 0,1 0 1 0 0,0 0 0 0 0,1 1-1 0 0,-1 0-20 0 0,0 0 0 0 0,-1 1 0 0 0,1-1 0 0 0,-1 0 0 0 0,1 0 0 0 0,-1 0 0 0 0,0 1 0 0 0,0-1 0 0 0,1 0-1 0 0,-1 1 1 0 0,0-1 0 0 0,0 0 0 0 0,0 1 0 0 0,0-1 0 0 0,-1 3 0 0 0,1-1 32 0 0,0 51 5 0 0,-3 96 120 0 0,0-127-2242 0 0,0-1 0 0 0,-10 32 1 0 0,6-36-1038 0 0</inkml:trace>
</inkml:ink>
</file>

<file path=ppt/ink/ink2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6:04:06.955"/>
    </inkml:context>
    <inkml:brush xml:id="br0">
      <inkml:brushProperty name="width" value="0.08571" units="cm"/>
      <inkml:brushProperty name="height" value="0.08571" units="cm"/>
    </inkml:brush>
  </inkml:definitions>
  <inkml:trace contextRef="#ctx0" brushRef="#br0">1 1 14639,'9'14'2248,"3"-1"-1618,3-9-180,8 1-1,6-2-89,8 1 0,7 0-3482,5-2 3302,5 0-90,1 0-1513,2-1 1513,1 0-90,-1-1-360,22 0 0,-21 0-905,12 0 635,-28 0-180,-5 0 2239,-5 0-2598,-2 0 1826,-6 0-3266,-3-1-1439,-3 1 4048,-3-1 0,-6 0 0,-3 1 0</inkml:trace>
</inkml:ink>
</file>

<file path=ppt/ink/ink2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6:04:08.037"/>
    </inkml:context>
    <inkml:brush xml:id="br0">
      <inkml:brushProperty name="width" value="0.08571" units="cm"/>
      <inkml:brushProperty name="height" value="0.08571" units="cm"/>
    </inkml:brush>
  </inkml:definitions>
  <inkml:trace contextRef="#ctx0" brushRef="#br0">12 4 12120,'-11'-4'6027,"16"4"-5758,17 3-89,15 5 0,-1 1-180,5 1 0,23 7-360,7 0-268,0 1 268,-5-3-180,-22-5-89,-2-2-91,-3-1-3543,-4-1 3094,-4-1-2159,7 1 270,-10-1 3118,4 0 0,-9-3 0,-1 1 0</inkml:trace>
</inkml:ink>
</file>

<file path=ppt/ink/ink2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6:04:08.360"/>
    </inkml:context>
    <inkml:brush xml:id="br0">
      <inkml:brushProperty name="width" value="0.08571" units="cm"/>
      <inkml:brushProperty name="height" value="0.08571" units="cm"/>
    </inkml:brush>
  </inkml:definitions>
  <inkml:trace contextRef="#ctx0" brushRef="#br0">1 15 12570,'21'-7'1079,"-1"1"-809,-5 5-90,2 1-90,3 1 0,2 0 90,1-1-180,2 1 90,-1 0-180,0-1-90,-2 0-180,-2 0-270,-1 0-359,-1-1-1170,-2 1 2159,-3-2 0,-6 1 0,-1 0 0</inkml:trace>
</inkml:ink>
</file>

<file path=ppt/ink/ink2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9:08.806"/>
    </inkml:context>
    <inkml:brush xml:id="br0">
      <inkml:brushProperty name="width" value="0.08571" units="cm"/>
      <inkml:brushProperty name="height" value="0.08571" units="cm"/>
      <inkml:brushProperty name="color" value="#E71224"/>
    </inkml:brush>
  </inkml:definitions>
  <inkml:trace contextRef="#ctx0" brushRef="#br0">797 105 9242,'7'-15'629,"-2"2"-539,-11 5 0,-1 1-180,0 0 180,-2 0-180,0 2 90,-1-1 90,-1 2-180,1 0 90,0 1 0,0 1 0,0 0 0,-1 0 90,0-1-90,-1 1 90,-1 1 0,0-2-90,0 2 90,0 0 0,0-1 0,0 1-90,0-1 90,0 1-90,0 0 0,1-1 0,0 2 0,-1 0 0,-2 1 0,0 0 0,-1 1 90,-1 0 0,0 1 0,1-1 0,1 1 0,0-1 0,1 1-90,2 0 0,0 1 90,0 0 0,0 0-1,0 2-89,0 1 90,1 1 0,-2 2 0,3-2-90,-1 3 90,4-4-90,-2 2 90,4-2 0,-1 0 90,0 1-90,0 0 0,-1 0-90,1 1 90,-1-1-90,1 1 0,0 0 0,0 1 90,1-2-90,-1 2 0,0-1 0,0 1 0,1 0 0,0-1 90,-1 2-180,0-1 180,0 1-90,0 1 90,1-1-90,-2 2 90,1-1-90,0 0 90,0 1-90,0-1 90,0 1-90,0 0 90,1-1-90,0 1 90,0 0-1,0 0 1,0 0-90,-1 6 90,2-4-90,-2 4 90,3-6-90,-1 1 90,1-1 0,0 1-90,1-1 90,0 0-90,-1 0 90,1 0-90,0 1 90,0-1 90,0 7-90,0-5-90,0 5 90,0-6 0,0 1-90,1-1 90,0 1 0,0 0 0,1 1 0,-1 0 0,1 0-1,-1 1-89,1 0 90,1 7-90,-1-7 90,2 7 0,0-7 90,-1-1-90,2 1 0,0-1-90,0 0 90,0-1 0,1 0-90,0 0 90,3 7-90,-2-5 90,3 4-90,-2-7 0,1 0 90,0-1-90,0 0 90,1 0 0,1-1 0,0 0 0,2-2-90,0 1 90,0-2 0,8 4 0,-4-4-90,6 2 0,-5-4 89,7 2-89,-3-3 0,4 1 0,-7-2 0,0-2 0,0 0 0,1 0 0,-1-1 0,1 1 90,0-2-90,0 0 0,0 1 0,0-2 0,0 1 0,-1-1 0,0-1 0,0 1 0,0-1 0,0 0 0,-1 0 0,0-1 0,6-1 90,-5 0-90,5-1 90,-8 1 90,0-1-90,1 1 0,-2-1 0,1-1 0,0 0-90,-1-1 90,0 1 0,0-1 0,6-4 0,-5 2-90,3-2 90,-4 2-90,-1 0 0,0 0 0,1-1 90,-2 0-90,1 0 0,0 0 0,0-1 90,14-14-90,-11 10 180,11-11-91,-15 13 1,-1 1 0,0-1-90,0-1 90,-1 1-90,0-2 90,1 0-90,-1-1 0,0-1 0,3-8 0,-3 6 0,2-5 0,-5 7 0,1 0 0,-1 0 0,-1 0 0,1 0 0,-2 0 0,1 0 0,-1 0 0,0-1 0,-1 1 0,0-1 0,-1 0 0,0 0 0,0-1 0,-1 1 0,0-1 0,-1 0 0,0 1 0,0-1 0,-1 1 0,-1 0 0,0 0 90,0 0-180,0 0 180,-1 1-90,0 0 0,-1 0 0,0 0 0,0 1 0,0-1 90,-1 1-90,0 1 0,0-1 0,-3-5 0,1 5 0,-2-5 0,0 2 0,1 4 0,-3-4 0,3 6 0,1 1 0,-1 0 0,-1 0 0,1 0-90,-1 1 90,1 1 0,-5-4 0,3 3 0,-3-3 0,4 5 0,-1 0 0,0 1 0,0 0 0,-1 0 0,0 1 0,-1 0 0,0 1 0,1 0 0,-2 0 0,2 1 0,-1-1 0,1 2-180,-5-2 90,4 2-90,-3-1 1,4 2-91,1 0-450,-1 0-269,-3 0-271,-1 0-359,-4 0-539,2 3-1710,0 2 3868,1 3 0,7-2 0,2 0 0</inkml:trace>
</inkml:ink>
</file>

<file path=ppt/ink/ink2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9:10.462"/>
    </inkml:context>
    <inkml:brush xml:id="br0">
      <inkml:brushProperty name="width" value="0.08571" units="cm"/>
      <inkml:brushProperty name="height" value="0.08571" units="cm"/>
      <inkml:brushProperty name="color" value="#E71224"/>
    </inkml:brush>
  </inkml:definitions>
  <inkml:trace contextRef="#ctx0" brushRef="#br0">1 55 6633,'33'-6'810,"0"0"-720,-1 0-90,-1 0-360,28-3-540,9 1 900,-2 0 0,-2 4 0,-29 3 0</inkml:trace>
</inkml:ink>
</file>

<file path=ppt/ink/ink2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9:11.753"/>
    </inkml:context>
    <inkml:brush xml:id="br0">
      <inkml:brushProperty name="width" value="0.08571" units="cm"/>
      <inkml:brushProperty name="height" value="0.08571" units="cm"/>
      <inkml:brushProperty name="color" value="#E71224"/>
    </inkml:brush>
  </inkml:definitions>
  <inkml:trace contextRef="#ctx0" brushRef="#br0">206 72 7892,'-18'-3'1260,"0"1"-990,3 3-90,0 3-91,-2 3 1,4-1 90,1 2-90,2-1 0,1 1 0,0 2 0,0-1 90,0 2-90,1 0 0,0 1 90,1 1-90,1-1 90,0 1-90,1 1 89,0-1 1,2 0-90,1 1 0,1-2 180,0 1-180,2-1 90,1 2-90,2-1 90,1 0-90,1 1 0,2-2 0,1 0 0,2 0 0,2 0-90,2-1 90,1-1-90,1-1 89,2-1 1,0 0-90,1-2 90,0-1 0,0-1 180,-1-1-180,0-2 180,-1 0 0,9-3-90,-7-1 0,6-3-1,-9-1 91,1-2-90,-2-2 0,-1-2 0,-2-2 0,-1-1 0,0-12-90,-5 6 0,-1-9-90,-5 9 90,-3-1-90,-3-2-90,-3-1-90,-3 0-180,-3 2-360,-2 0-89,-2 3-181,-4-1-359,-1 4-630,-3 1 1979,-14-1 0,6 5 0,-11-2 0</inkml:trace>
</inkml:ink>
</file>

<file path=ppt/ink/ink2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0:06.316"/>
    </inkml:context>
    <inkml:brush xml:id="br0">
      <inkml:brushProperty name="width" value="0.08571" units="cm"/>
      <inkml:brushProperty name="height" value="0.08571" units="cm"/>
      <inkml:brushProperty name="color" value="#E71224"/>
    </inkml:brush>
  </inkml:definitions>
  <inkml:trace contextRef="#ctx0" brushRef="#br0">1 14 8072,'14'-8'1709,"-1"3"-1529,37 4-90,-5 3 0,14 0-45,-10 0 0,4 0-3032,34 2 2987,-27-2 0,1 1 0,30 1-823,-14 0 0,2 0 823,-18-1 0,0 0-463,25 2 1,-2-1 462,-28-1 0,-3-1 0,-1 1 0,0-1-624,42 3 624,-2-2 0,-4 0 90,-5 0-90,-6-2 0,-12 0 0,-7 1 180,-13-2 1627,-8 1-1358,4 0 1553,-15-1-1822,5 0 1645,-15 0-1555,0 0-261,-3-2-3517,-9 5 3508,-6 4 0,-9 4 0,-1 2 0</inkml:trace>
</inkml:ink>
</file>

<file path=ppt/ink/ink2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0:31.969"/>
    </inkml:context>
    <inkml:brush xml:id="br0">
      <inkml:brushProperty name="width" value="0.08571" units="cm"/>
      <inkml:brushProperty name="height" value="0.08571" units="cm"/>
      <inkml:brushProperty name="color" value="#E71224"/>
    </inkml:brush>
  </inkml:definitions>
  <inkml:trace contextRef="#ctx0" brushRef="#br0">1 145 6543,'31'-24'630,"0"1"-6380,-2 1 5750,-2 2 959,-2 3-959,4 0 0,-6 7 0,5-2 0</inkml:trace>
</inkml:ink>
</file>

<file path=ppt/ink/ink2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0:44.403"/>
    </inkml:context>
    <inkml:brush xml:id="br0">
      <inkml:brushProperty name="width" value="0.08571" units="cm"/>
      <inkml:brushProperty name="height" value="0.08571" units="cm"/>
      <inkml:brushProperty name="color" value="#E71224"/>
    </inkml:brush>
  </inkml:definitions>
  <inkml:trace contextRef="#ctx0" brushRef="#br0">676 98 8612,'-24'-15'450,"1"3"-6021,7 7 6021,-17-6 1049,12 3-1229,-18-7-90,24 9-90,-5-3 769,10 4-859,0 1-90,-1-1 0,0 2 3572,-3 3-3482,4 4 90,0 5 0,3 3 90,-3 5 0,-2 8 0,-2 6 90,-2 8-90,-3 7-473,-2 6 473,-3 7-1,0 5 1,-1 3 0,0 6-90,0 3 0,1 3 0,8-20 0,1 0-992,-8 34 947,9-32 0,1-1-45,-2 26 90,2-1-1692,2 1 1602,1 0 0,2-2 90,1-2-90,2-2 0,1-4 180,0-7-90,2-5-445,0-6 535,2-3 126,0-3-37,2 15-89,0-19-90,1 9 0,-1-25 709,3 8-799,-2-13 90,2 5-90,-3-15 90,2-1 1596,0-1-1596,1-3 518,1-1-608,2-3 23,0-2-383,2-1-90,2-2-359,0-2-91,0-1-1079,2-1-449,0 0 2428,0-2 0,-6 2 0,-1 0 0</inkml:trace>
</inkml:ink>
</file>

<file path=ppt/ink/ink2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9:02.625"/>
    </inkml:context>
    <inkml:brush xml:id="br0">
      <inkml:brushProperty name="width" value="0.08571" units="cm"/>
      <inkml:brushProperty name="height" value="0.08571" units="cm"/>
      <inkml:brushProperty name="color" value="#E71224"/>
    </inkml:brush>
  </inkml:definitions>
  <inkml:trace contextRef="#ctx0" brushRef="#br0">4 1 5914,'-2'13'0,"1"-2"0</inkml:trace>
</inkml:ink>
</file>

<file path=ppt/ink/ink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39.809"/>
    </inkml:context>
    <inkml:brush xml:id="br0">
      <inkml:brushProperty name="width" value="0.1" units="cm"/>
      <inkml:brushProperty name="height" value="0.1" units="cm"/>
    </inkml:brush>
  </inkml:definitions>
  <inkml:trace contextRef="#ctx0" brushRef="#br0">324 8 64 0 0,'0'0'1912'0'0,"-17"-2"2629"0"0,32-2-3661 0 0,16 2-592 0 0,-10 4-52 0 0,3-1-60 0 0,0 1-236 0 0,2 1-236 0 0,3 0-212 0 0,0 1-288 0 0,-3 0-293 0 0,-4 1-603 0 0,-1 1 440 0 0</inkml:trace>
  <inkml:trace contextRef="#ctx0" brushRef="#br0" timeOffset="1">83 214 2012 0 0,'-7'1'669'0'0,"-15"2"2845"0"0,-31 2-1 0 0,118-13-1873 0 0,346 8-1314 0 0,-187 2-4687 0 0,-188-2 2090 0 0,-4-2-367 0 0</inkml:trace>
</inkml:ink>
</file>

<file path=ppt/ink/ink2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9:02.958"/>
    </inkml:context>
    <inkml:brush xml:id="br0">
      <inkml:brushProperty name="width" value="0.08571" units="cm"/>
      <inkml:brushProperty name="height" value="0.08571" units="cm"/>
      <inkml:brushProperty name="color" value="#E71224"/>
    </inkml:brush>
  </inkml:definitions>
  <inkml:trace contextRef="#ctx0" brushRef="#br0">45 16 10321,'-17'-5'4677,"-1"-1"-3867,8 3-540,14 1-270,21 4-90,6 2 0,15 2-180,-14 0 0,2 0 0,-1 0-179,0-1 89,-1 1-90,-1-1 90,-3 0 1,-2-1-91,-4 0 0,-2-1 0,-4 0-89,-1-1-721,-1 0 1260,-2 0 0,-5-1 0,-1 0 0</inkml:trace>
</inkml:ink>
</file>

<file path=ppt/ink/ink2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1:12.174"/>
    </inkml:context>
    <inkml:brush xml:id="br0">
      <inkml:brushProperty name="width" value="0.08571" units="cm"/>
      <inkml:brushProperty name="height" value="0.08571" units="cm"/>
      <inkml:brushProperty name="color" value="#E71224"/>
    </inkml:brush>
  </inkml:definitions>
  <inkml:trace contextRef="#ctx0" brushRef="#br0">30 19 7892,'-15'-6'2339,"0"1"-2069,15 1 0,3 2-90,11 1 0,4 1 0,-2 0-1,3 1-89,-5-1 0,1 1 0,2 0 0,2 1 0,2-1 0,1 1 0,2 0-90,1 1 90,1-1-90,0 1 90,1 0-90,0 0 0,-1 0 0,1-1 90,-2 1-90,0 0 0,0 0 0,-1-1 0,8 1 90,-8 0-90,6-1 0,-11-1 0,-1 0 0,0-1 0,-3 1 90,0 0-180,2 0-900,-1-1 990,1-1 0,-8 1 0,-4-1 0</inkml:trace>
</inkml:ink>
</file>

<file path=ppt/ink/ink2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1:14.326"/>
    </inkml:context>
    <inkml:brush xml:id="br0">
      <inkml:brushProperty name="width" value="0.08571" units="cm"/>
      <inkml:brushProperty name="height" value="0.08571" units="cm"/>
      <inkml:brushProperty name="color" value="#E71224"/>
    </inkml:brush>
  </inkml:definitions>
  <inkml:trace contextRef="#ctx0" brushRef="#br0">174 1 7173,'-22'-1'4048,"4"2"-3869,8 5-89,5 5 90,2 2-180,1 2 180,-1 0-90,1 5-40,-3 16 130,-2 15 0,-4 23-90,2-8 90,-1 2-90,3-17 89,-4 25-89,3-16 0,-2 19-654,4-24 654,0 0 0,2 0 90,-1 0-90,2-1 180,0 25-90,1-19-90,1 19 90,1-23-90,0 0-1,0 0 91,1 1-90,0-1 90,0-1-90,1 0 0,0-2 90,1-1 0,0-1-90,1 0 90,-1-1 0,1-1 0,-1 0-91,1-1 91,0 1-262,0-1 262,2 21-90,-1-16-1168,1 16 1168,-1-21 0,-1-2-407,0 1 406,1-1 91,0 1-90,0-1 90,-1 0-90,2-1 0,-1 0 180,4 18-180,-2-16 323,4 14-323,-4-20 0,2-1-1,-1-1 1,0-3 0,1-1 90,-1-4-90,1 0 0,0-3 149,-1-2-59,3 7 997,-4-11-1087,3 5 709,-2-7-799,-3-6 444,2 3-624,-2-8-720,4-1 271,2-4-541,2-3-89,2-8-360,0-3-1080,0-5-1438,3-3 4137,1-6 0,1-4 0,1-3 0</inkml:trace>
</inkml:ink>
</file>

<file path=ppt/ink/ink2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1:14.781"/>
    </inkml:context>
    <inkml:brush xml:id="br0">
      <inkml:brushProperty name="width" value="0.08571" units="cm"/>
      <inkml:brushProperty name="height" value="0.08571" units="cm"/>
      <inkml:brushProperty name="color" value="#E71224"/>
    </inkml:brush>
  </inkml:definitions>
  <inkml:trace contextRef="#ctx0" brushRef="#br0">1 32 7623,'19'-4'-360,"1"-1"-180,-3 1 540,2-1 0,4-1 0,3-2 0</inkml:trace>
</inkml:ink>
</file>

<file path=ppt/ink/ink2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1:15.251"/>
    </inkml:context>
    <inkml:brush xml:id="br0">
      <inkml:brushProperty name="width" value="0.08571" units="cm"/>
      <inkml:brushProperty name="height" value="0.08571" units="cm"/>
      <inkml:brushProperty name="color" value="#E71224"/>
    </inkml:brush>
  </inkml:definitions>
  <inkml:trace contextRef="#ctx0" brushRef="#br0">130 0 11850,'0'24'1889,"-1"1"-1439,-5-5-90,-1 4-90,-2 3-91,1 3 91,-2 3 0,-6 29-270,5-21-90,-4 18 0,8-31-629,-3 15 179,4-18 90,-3 11-269,5-22-2160,1-2 2879,-1 1 0,2-7 0,0 1 0</inkml:trace>
</inkml:ink>
</file>

<file path=ppt/ink/ink2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1:15.555"/>
    </inkml:context>
    <inkml:brush xml:id="br0">
      <inkml:brushProperty name="width" value="0.08571" units="cm"/>
      <inkml:brushProperty name="height" value="0.08571" units="cm"/>
      <inkml:brushProperty name="color" value="#E71224"/>
    </inkml:brush>
  </inkml:definitions>
  <inkml:trace contextRef="#ctx0" brushRef="#br0">0 79 10411,'19'-2'1709,"-3"2"-1349,-3 8-90,-1 2 0,0 1 89,2 3-3481,0 1 3392,0 1 0,1 1-90,0 2-90,1 2 90,-1-1-90,1 1 0,0 1-1,0-1 3393,1 0-3482,0 0 90,0-2-90,-1-1 90,0-2 0,-2-2 540,3 2-180,-4-5 359,2 0-269,-3-6-270,0-4 0,-1-3-91,-2-5 1,-3-2 0,-1-2-90,-1-2 0,-1-4 0,-1-2-90,-1-1 90,0-3 0,-1-1 0,-1-1-90,0 0 0,-1 0-90,-1 1-180,1 0-180,-1 2-179,1 1-181,-2 2-179,2 1-181,-1 1-269,1 2-989,0 1 2428,2 1 0,3-5 0,0-2 0</inkml:trace>
</inkml:ink>
</file>

<file path=ppt/ink/ink2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1:15.837"/>
    </inkml:context>
    <inkml:brush xml:id="br0">
      <inkml:brushProperty name="width" value="0.08571" units="cm"/>
      <inkml:brushProperty name="height" value="0.08571" units="cm"/>
      <inkml:brushProperty name="color" value="#E71224"/>
    </inkml:brush>
  </inkml:definitions>
  <inkml:trace contextRef="#ctx0" brushRef="#br0">10 62 7803,'-3'23'1709,"1"-1"-1260,1-9-89,-1 1-4072,1 0 4072,0-1 859,1 1-859,1-1 0,2 0 90,0 0 449,5 3-539,-1-4 3482,5 2-3482,-2-7-91,2-1-89,0-2 180,2-1-90,0-3 90,1-3-90,0-1 89,2-3 1,-2-1 270,6-8-360,-8 4-1,5-13-179,-11 9 90,-1-4-180,-5 6 90,-2 0 0,-2 0-90,-1-1-180,-2 1-90,-1 1-179,-1 1-91,-1 0-180,0 2-179,-1 1-90,0 1-181,0 0-269,1 3-3418,0 0 4857,-3-1 0,7 4 0,-1-1 0</inkml:trace>
</inkml:ink>
</file>

<file path=ppt/ink/ink2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1:16.003"/>
    </inkml:context>
    <inkml:brush xml:id="br0">
      <inkml:brushProperty name="width" value="0.08571" units="cm"/>
      <inkml:brushProperty name="height" value="0.08571" units="cm"/>
      <inkml:brushProperty name="color" value="#E71224"/>
    </inkml:brush>
  </inkml:definitions>
  <inkml:trace contextRef="#ctx0" brushRef="#br0">0 1 7892,'9'4'0</inkml:trace>
</inkml:ink>
</file>

<file path=ppt/ink/ink2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1:16.339"/>
    </inkml:context>
    <inkml:brush xml:id="br0">
      <inkml:brushProperty name="width" value="0.08571" units="cm"/>
      <inkml:brushProperty name="height" value="0.08571" units="cm"/>
      <inkml:brushProperty name="color" value="#E71224"/>
    </inkml:brush>
  </inkml:definitions>
  <inkml:trace contextRef="#ctx0" brushRef="#br0">63 126 8522,'-10'18'1889,"0"-2"-1439,3-3-180,-1-1-1,1 1 1,1 1 90,1 0 0,1 0-90,1-1 90,1 1-91,2-1 1,1-1 90,1 1-90,2-1-90,1-1 90,2 0-1,0 0 1,2-2 90,0-2-90,1-2 360,0-1-361,5-4 1,-4-1-90,4-5 0,-5-2-90,0-4 90,0-3-180,-1-3 90,-1-1-90,-2-3 90,-2 0-90,-1 0 90,-2 0-90,-1 2-3482,-2-2 3212,0 1-90,-2 0-90,0 2-179,0 2-181,1 1-89,-1 1-271,0 1-2068,1 2 4086,0-3 0,2 8 0,-1-2 0</inkml:trace>
</inkml:ink>
</file>

<file path=ppt/ink/ink2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1:16.631"/>
    </inkml:context>
    <inkml:brush xml:id="br0">
      <inkml:brushProperty name="width" value="0.08571" units="cm"/>
      <inkml:brushProperty name="height" value="0.08571" units="cm"/>
      <inkml:brushProperty name="color" value="#E71224"/>
    </inkml:brush>
  </inkml:definitions>
  <inkml:trace contextRef="#ctx0" brushRef="#br0">1 301 8432,'7'26'2609,"-1"-2"-1980,-3-6 1,-2 0-90,1 1 89,-1 0-179,-1 0 90,1 0-91,-1-2 91,0 0 270,0-2 179,-1 3 1,1-1-1,-1 1-359,-1-3-450,-1-13-180,0-10 0,0-9 0,2-6 90,1 0-90,2-5 89,1-5-89,1-5-3392,2-3 3303,2-1 89,1-1-153,1 2 63,1 2 90,0 4-90,1 3-90,-2 4 0,1 4-179,0 3 3225,0 3-3495,-1 2 227,0 4-408,-1 3-1168,0 2-271,1 3-2878,-2 5 5127,-1 6 0,-4-2 0,-2 1 0</inkml:trace>
</inkml:ink>
</file>

<file path=ppt/ink/ink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25.639"/>
    </inkml:context>
    <inkml:brush xml:id="br0">
      <inkml:brushProperty name="width" value="0.1" units="cm"/>
      <inkml:brushProperty name="height" value="0.1" units="cm"/>
    </inkml:brush>
  </inkml:definitions>
  <inkml:trace contextRef="#ctx0" brushRef="#br0">9 45 1432 0 0,'-8'-43'4597'0'0,"8"41"-3823"0"0,9 8 297 0 0,-5-1-867 0 0,0 1 0 0 0,0-1 0 0 0,-1 1 0 0 0,1 0 0 0 0,-1 0-1 0 0,-1 1 1 0 0,3 6 0 0 0,-1-4-37 0 0,11 34 241 0 0,-1 1-1 0 0,-3 0 1 0 0,-1 1 0 0 0,5 62 0 0 0,-3 184 353 0 0,-12-129-3985 0 0,3-146 1938 0 0,-3-16 1188 0 0,0 0 1 0 0,0 1 0 0 0,0-1-1 0 0,0 0 1 0 0,0 1-1 0 0,0-1 1 0 0,0 0 0 0 0,0 1-1 0 0,0-1 1 0 0,1 0-1 0 0,-1 1 1 0 0,0-1 0 0 0,0 0-1 0 0,0 0 1 0 0,0 1-1 0 0,1-1 1 0 0,-1 0 0 0 0,0 1-1 0 0,0-1 1 0 0,1 0-1 0 0,-1 0 1 0 0,0 0 0 0 0,1 1-1 0 0,-1-1 1 0 0,0 0-1 0 0,0 0 1 0 0,1 0 0 0 0,-1 0-1 0 0,0 0 1 0 0,1 1-1 0 0,-1-1 1 0 0,1 0 0 0 0,-1 0-1 0 0,0 0 1 0 0,1 0-1 0 0,-1 0 1 0 0,0 0 0 0 0,1 0-1 0 0,-1 0 1 0 0,0 0-1 0 0,1-1 1 0 0,9-3-1370 0 0</inkml:trace>
</inkml:ink>
</file>

<file path=ppt/ink/ink2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1:16.776"/>
    </inkml:context>
    <inkml:brush xml:id="br0">
      <inkml:brushProperty name="width" value="0.08571" units="cm"/>
      <inkml:brushProperty name="height" value="0.08571" units="cm"/>
      <inkml:brushProperty name="color" value="#E71224"/>
    </inkml:brush>
  </inkml:definitions>
  <inkml:trace contextRef="#ctx0" brushRef="#br0">0 1 9422,'21'8'1889,"-4"-1"-1530,-2-5-179,-3-1 0,1 0-90,1 1-90,1-1-270,1 0-90,0 0-269,0 0-271,-1 0-449,0 0 90,-1-1 1259,0 0 0,-6 1 0,-1-1 0</inkml:trace>
</inkml:ink>
</file>

<file path=ppt/ink/ink2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1:17.711"/>
    </inkml:context>
    <inkml:brush xml:id="br0">
      <inkml:brushProperty name="width" value="0.08571" units="cm"/>
      <inkml:brushProperty name="height" value="0.08571" units="cm"/>
      <inkml:brushProperty name="color" value="#E71224"/>
    </inkml:brush>
  </inkml:definitions>
  <inkml:trace contextRef="#ctx0" brushRef="#br0">180 1 8972,'-6'16'2249,"-1"3"-1620,-2 1-179,-1 5-90,-2 5-90,0 2 269,-7 21-269,6-13 360,-12 45-360,14-43-636,-4 22 636,9-33-90,0-3-90,1 0 90,1-4-90,0-1 0,1-3 0,0-2 0,0-2-90,1-2 180,0-1-720,0 1 545,2-12-274,2-10-1,2-11 0,2-13 90,0-1-90,2-3 180,1-5 0,0 1 0,1-1 0,-1 5 90,0 1 90,-1 7-90,-1 3 0,0 3 0,-2 3 0,0 3 180,0 4 180,0 2-180,2 11-90,-2 1 90,2 11 180,-1 8-181,0-1 91,3 9-90,-2-5 0,2 1-90,0 2 90,2-1 0,5 12-90,-3-10-3392,4 8 3392,-5-14 0,0-2 0,4 4 89,1-4-179,5 2 90,-5-10-90,0-6 0,-3-7 0,-1-1 0,3-5 0,7-10 3392,-4 0-3392,12-21 0,-12 13-90,3-11 180,-7 12 180,1-7-90,-4 10 0,3-9-180,-8 16 90,2-1 90,-3 6-90,-1 10-90,-2 5 0,0 8 90,-3 2-90,1-2 0,-1 1 90,1 2 0,1 10-90,-1-6 90,1 7-90,-1-9-270,0 0 0,0-1-719,2 6 359,-2-6-899,1 2-630,-1-5 2159,2-3 0,-1-3 0,0-5 0</inkml:trace>
</inkml:ink>
</file>

<file path=ppt/ink/ink2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1:18.501"/>
    </inkml:context>
    <inkml:brush xml:id="br0">
      <inkml:brushProperty name="width" value="0.08571" units="cm"/>
      <inkml:brushProperty name="height" value="0.08571" units="cm"/>
      <inkml:brushProperty name="color" value="#E71224"/>
    </inkml:brush>
  </inkml:definitions>
  <inkml:trace contextRef="#ctx0" brushRef="#br0">0 367 13559,'9'28'1080,"-2"-6"-900,-4-6-1,0-4 1,1 1 0,1 0-90,0 0 0,2 0 180,4 4-180,3 1 0,0-2 0,6 0-540,-4-9 180,7-2 0,-4-5-179,-1-6 89,-4-3 0,0-2 180,0-4-90,-1-1 180,0-2 90,-1 0 0,-2 0 90,-2 1 0,-1 2 90,-2 0-180,0 3 90,-1 1 540,-2 0-360,-5 10-91,1 5-89,-4 8 0,4 3 0,1-3 90,2 1 0,0 1 0,2 2-90,0 0 90,2 0-90,0 1 0,2-1 0,1 0 90,1 1 0,1-2-91,0-2 91,7 3-90,-4-6 0,6 1 0,-4-5-90,0-3 90,2-3-90,0-1 0,1-3 0,0-3 0,3-5-90,2-5 0,0-5-270,13-22 271,-8 3-706,8-16 795,-11 10-90,-2 3 82,-2 1 98,-4 4 0,-2 1 90,-3 3 0,-3 3-90,-2 4 90,-2 3 0,-2-5-180,-1 10 90,-2-3-90,-2 11 614,-2 3-524,-3 1 8,-3 5-98,0 4 90,-1 7-90,3 2 0,0 5 0,0 2 0,1 4 0,1 2 90,1 2-90,1 1 0,1 2 0,1 1 90,1 0-180,2 3 180,1-1 0,1 2-90,2 0 0,1-2 90,2-1-90,6 9 90,-2-11-90,5 5 0,-3-14 90,0-3-90,2-3 0,0-3 90,2-2-180,0-4-90,1-4-90,1-3 0,2-6 0,3-5-90,1-6 180,1-5-89,-1-6 89,0-6 90,-1 1 180,10-21 180,-12 16-377,5-11 466,-12 20 91,-3 3-90,-3 5-90,-2 2 0,-1 4-90,-1 2-90,-1 3 719,-1 2-719,-5 13 0,1 4 180,-5 23-90,3-6 286,0 12-376,2-7 0,1 20 0,1-10-90,1 14 180,-1-16-180,0 0 90,0-1-270,0-2 0,-1-2-90,0-2-899,-1 9 270,0-10-91,0 6-269,0-15-270,-1-1-5487,0-2 7016,2 1 0,-2-9 0,2 0 0</inkml:trace>
</inkml:ink>
</file>

<file path=ppt/ink/ink2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1:18.771"/>
    </inkml:context>
    <inkml:brush xml:id="br0">
      <inkml:brushProperty name="width" value="0.08571" units="cm"/>
      <inkml:brushProperty name="height" value="0.08571" units="cm"/>
      <inkml:brushProperty name="color" value="#E71224"/>
    </inkml:brush>
  </inkml:definitions>
  <inkml:trace contextRef="#ctx0" brushRef="#br0">1 100 9602,'12'-13'1978,"0"0"-1528,-3 7 90,3-1 0,1 0-1,1 0-89,1-1 90,1 2-91,0-1 1,0 1 0,0 1-180,-1 0 90,0 1-181,-1 1 361,-1 1 0,3 1-360,1 3 0,-2 2-1,-2 1-89,-6 2 0,0-1 0,0 3 0,-1-1 0,0 4 0,-1 0 0,0 1-90,-1 1-180,0 1-270,-1-1-719,2 7-3238,-1 4-1080,0 0 5487,0-1 0,-3-13 0,1-5 0</inkml:trace>
</inkml:ink>
</file>

<file path=ppt/ink/ink2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1:18.901"/>
    </inkml:context>
    <inkml:brush xml:id="br0">
      <inkml:brushProperty name="width" value="0.08571" units="cm"/>
      <inkml:brushProperty name="height" value="0.08571" units="cm"/>
      <inkml:brushProperty name="color" value="#E71224"/>
    </inkml:brush>
  </inkml:definitions>
  <inkml:trace contextRef="#ctx0" brushRef="#br0">11 138 10141,'-3'-18'2879,"-1"-2"-3239,2 5-989,0-3-1080,3 0 2429,2 2 0,6 0 0,2-1 0</inkml:trace>
</inkml:ink>
</file>

<file path=ppt/ink/ink2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1:19.307"/>
    </inkml:context>
    <inkml:brush xml:id="br0">
      <inkml:brushProperty name="width" value="0.08571" units="cm"/>
      <inkml:brushProperty name="height" value="0.08571" units="cm"/>
      <inkml:brushProperty name="color" value="#E71224"/>
    </inkml:brush>
  </inkml:definitions>
  <inkml:trace contextRef="#ctx0" brushRef="#br0">48 48 8702,'6'20'2698,"-1"0"-2068,-3-3-90,-1 2-90,0 2-1,-2 2 1,1 2-90,-1 1 180,-1 2-181,0-1 1,-1 0-90,1 1 0,-1-2 90,-1 12-270,1-9 89,-2 7-89,3-14 0,-2 7 0,1-9-90,0 4 180,1-10 360,1-2 179,-4 6-719,0-14-89,0 2-1,1-17-180,2-4 90,1-4-90,1-5 90,3-6 0,1-6 0,3-6 90,3-2 0,3-2 0,1 0 1,3 2 89,2 2-246,0 3 246,1 4 0,0 2-90,-2 6 90,-1 4 0,-1 5-90,-3 4 90,0 4 0,-3 3 90,2 5-90,-3 7 336,0 2-247,-5 11-89,-5-4 0,-1 6 0,-4-2 90,0 0-90,-3 1 0,0 0 0,-2-1 90,-1-1-90,0 0-90,-1 0-89,0-2-91,0 0-90,-1-2-90,1-2-719,-4 2-720,6-6-3238,-6 2 5127,8-9 0,2 1 0,3-4 0</inkml:trace>
</inkml:ink>
</file>

<file path=ppt/ink/ink2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1:19.489"/>
    </inkml:context>
    <inkml:brush xml:id="br0">
      <inkml:brushProperty name="width" value="0.08571" units="cm"/>
      <inkml:brushProperty name="height" value="0.08571" units="cm"/>
      <inkml:brushProperty name="color" value="#E71224"/>
    </inkml:brush>
  </inkml:definitions>
  <inkml:trace contextRef="#ctx0" brushRef="#br0">1 1 11760,'12'11'2069,"-2"1"-1439,-7 1-181,-1 2-89,0 3 0,0 2-90,-1 3-90,1 1 0,0 2 0,-1 0 0,1 0-91,-1 0 91,1 12-180,-2-11-359,1 7-181,-1-12-270,0-1-179,0-2-270,0 0-1080,-1-3 2339,2 4 0,-1-11 0,0 2 0</inkml:trace>
</inkml:ink>
</file>

<file path=ppt/ink/ink2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1:19.667"/>
    </inkml:context>
    <inkml:brush xml:id="br0">
      <inkml:brushProperty name="width" value="0.08571" units="cm"/>
      <inkml:brushProperty name="height" value="0.08571" units="cm"/>
      <inkml:brushProperty name="color" value="#E71224"/>
    </inkml:brush>
  </inkml:definitions>
  <inkml:trace contextRef="#ctx0" brushRef="#br0">1 0 12300,'11'13'2249,"-2"4"-1979,-7-3-91,-1 3 1,0-5-90,-1 2 90,1 0-90,-1 2-180,-1-1-90,1 0-269,-1 0-181,0-1-180,0-1-179,0 0-4048,-1-1 5037,0 3 0,1-7 0,0 0 0</inkml:trace>
</inkml:ink>
</file>

<file path=ppt/ink/ink2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1:19.801"/>
    </inkml:context>
    <inkml:brush xml:id="br0">
      <inkml:brushProperty name="width" value="0.08571" units="cm"/>
      <inkml:brushProperty name="height" value="0.08571" units="cm"/>
      <inkml:brushProperty name="color" value="#E71224"/>
    </inkml:brush>
  </inkml:definitions>
  <inkml:trace contextRef="#ctx0" brushRef="#br0">1 88 9602,'0'-23'1439,"0"2"-2789,1 5-988,2 4 2338,2 3 0,-2 5 0,1 2 0</inkml:trace>
</inkml:ink>
</file>

<file path=ppt/ink/ink2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1:20.559"/>
    </inkml:context>
    <inkml:brush xml:id="br0">
      <inkml:brushProperty name="width" value="0.08571" units="cm"/>
      <inkml:brushProperty name="height" value="0.08571" units="cm"/>
      <inkml:brushProperty name="color" value="#E71224"/>
    </inkml:brush>
  </inkml:definitions>
  <inkml:trace contextRef="#ctx0" brushRef="#br0">233 233 11131,'-17'7'1439,"1"0"-1079,2-2-91,-2 2 91,-1 1-180,-1 1 90,1 1-90,-1 2 0,3 0-90,-1 2 449,-13 32-359,16-21-90,-10 24 0,20-32 0,2 1 0,1 0 0,3-1 0,0-1 0,3 0 0,3-1-90,1-2 0,2 0 90,1-3-90,2-1 90,0-3-90,1-3 0,1-1 0,2-3 90,0-3-90,2-3-90,1-4 90,2-3 0,-2-2 0,1-1-90,-2-2 90,-2-1 0,-1 1 0,-2 1 0,-1 1 0,-3 2 0,-2 1 0,0 1 0,-3 2 0,0 1 0,-1 0-90,0 0 0,-1 0-1619,-1-2 90,1 9 90,3-1 180,4 5 539,4-3 720,0-2 900,0-1 899,-2 2-900,-9 4-449,-5 4-180,-7 3 180,-1 0-91,2-1 271,-3 5-270,2-1-90,-1 2 360,2 2-271,2-4 181,0 4-90,2 0-180,4 1-90,0 0 0,3-2 90,0-6-180,1-1 90,1-1 0,1-2 0,6 0-90,-3-3 0,4-2-180,-3-3 0,0-3-90,2-3 0,1-4-90,1-4 0,1-6 1,0-5 89,0-4 0,0-4 90,-1-1 270,0-1 0,-2 0 180,0 2 180,-2 3-1,-1 2 1,-2 6-90,-1 2-90,-2 5 0,0 1-181,-1 3 181,-1 2 180,0 0-180,-5 11 0,0 8-180,-2 10 90,0 5-90,1 0 89,2 2-179,0 3 180,0 2-90,1 2-90,0 0 90,1 3-90,0 0-180,-1-1-179,1-2-181,-1-1-90,0-1-89,0-3-181,-1 0-89,0-5-1260,-1 6-2698,1-8 4947,-2 4 0,2-15 0,-1 0 0</inkml:trace>
</inkml:ink>
</file>

<file path=ppt/ink/ink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25.986"/>
    </inkml:context>
    <inkml:brush xml:id="br0">
      <inkml:brushProperty name="width" value="0.1" units="cm"/>
      <inkml:brushProperty name="height" value="0.1" units="cm"/>
    </inkml:brush>
  </inkml:definitions>
  <inkml:trace contextRef="#ctx0" brushRef="#br0">195 40 996 0 0,'32'-39'4825'0'0,"-74"86"-3082"0"0,15-18-1188 0 0,0 2 1 0 0,3 1 0 0 0,-31 49 0 0 0,47-65-466 0 0,0 0 1 0 0,1 0-1 0 0,1 1 1 0 0,0 0-1 0 0,2 0 1 0 0,0 0-1 0 0,0 1 1 0 0,-1 30-1 0 0,5-41-61 0 0,0-1 0 0 0,0 1 0 0 0,1 0 0 0 0,0 0-1 0 0,0-1 1 0 0,0 1 0 0 0,1-1 0 0 0,0 1 0 0 0,0-1-1 0 0,1 1 1 0 0,0-1 0 0 0,0 0 0 0 0,0 0 0 0 0,1-1-1 0 0,-1 1 1 0 0,2-1 0 0 0,-1 0 0 0 0,0 0 0 0 0,1 0 0 0 0,0 0-1 0 0,0-1 1 0 0,1 0 0 0 0,-1 0 0 0 0,1 0 0 0 0,11 5-1 0 0,-9-6 1 0 0,0 0-1 0 0,0-1 0 0 0,0 0 0 0 0,1 0 0 0 0,-1-1 0 0 0,0 0 0 0 0,1-1 1 0 0,-1 0-1 0 0,1 0 0 0 0,-1 0 0 0 0,1-1 0 0 0,13-4 0 0 0,-18 4-24 0 0,0 1 0 0 0,0-1 1 0 0,0-1-1 0 0,0 1 0 0 0,0-1 0 0 0,0 1 0 0 0,-1-1 0 0 0,1 0 0 0 0,-1 0 0 0 0,1-1 0 0 0,-1 1 0 0 0,0-1 0 0 0,0 0 0 0 0,0 1 0 0 0,0-2 0 0 0,-1 1 0 0 0,1 0 0 0 0,-1 0 0 0 0,1-1 0 0 0,-1 1 0 0 0,0-1 0 0 0,-1 0 0 0 0,1 1 0 0 0,-1-1 0 0 0,1 0 0 0 0,-1 0 0 0 0,0 0 0 0 0,0-5 0 0 0,-1 6-14 0 0,-1 0-1 0 0,1 0 1 0 0,-1 0-1 0 0,1 0 1 0 0,-1 0-1 0 0,0 0 1 0 0,0 1-1 0 0,-1-1 1 0 0,1 0 0 0 0,0 1-1 0 0,-1-1 1 0 0,0 1-1 0 0,1-1 1 0 0,-1 1-1 0 0,0 0 1 0 0,0-1-1 0 0,0 1 1 0 0,-1 0 0 0 0,1 0-1 0 0,0 1 1 0 0,-1-1-1 0 0,0 0 1 0 0,-3-1-1 0 0,-7-4-203 0 0,-1 1 0 0 0,1 0-1 0 0,-19-4 1 0 0,6 2-996 0 0,-48-5 1 0 0,10 6-3759 0 0,61 6 4034 0 0</inkml:trace>
</inkml:ink>
</file>

<file path=ppt/ink/ink2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1:20.743"/>
    </inkml:context>
    <inkml:brush xml:id="br0">
      <inkml:brushProperty name="width" value="0.08571" units="cm"/>
      <inkml:brushProperty name="height" value="0.08571" units="cm"/>
      <inkml:brushProperty name="color" value="#E71224"/>
    </inkml:brush>
  </inkml:definitions>
  <inkml:trace contextRef="#ctx0" brushRef="#br0">0 92 8612,'22'-22'2069,"-2"3"-1439,-4 7-91,0 1 1,-1 2 0,0 2-1,-1 2-89,-1 1 0,-1 2 0,0 2-91,-1 1 1,-1 1-180,0 3 90,-1 1-90,0 2 0,-1 3-90,-1 1 90,-2 1-180,0 2-180,-1 0-180,-2 1-90,0 0-180,-2 0-179,0-1-270,0 1-1260,-2-2-1079,1 0 3418,0-1 0,0-6 0,0-2 0</inkml:trace>
</inkml:ink>
</file>

<file path=ppt/ink/ink2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1:20.911"/>
    </inkml:context>
    <inkml:brush xml:id="br0">
      <inkml:brushProperty name="width" value="0.08571" units="cm"/>
      <inkml:brushProperty name="height" value="0.08571" units="cm"/>
      <inkml:brushProperty name="color" value="#E71224"/>
    </inkml:brush>
  </inkml:definitions>
  <inkml:trace contextRef="#ctx0" brushRef="#br0">17 109 9781,'-3'-15'3598,"-1"-3"-3508,0 4-719,1-3-1440,0 3-180,3 1 2249,3 4 0,-1 3 0,1 3 0</inkml:trace>
</inkml:ink>
</file>

<file path=ppt/ink/ink2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1:21.143"/>
    </inkml:context>
    <inkml:brush xml:id="br0">
      <inkml:brushProperty name="width" value="0.08571" units="cm"/>
      <inkml:brushProperty name="height" value="0.08571" units="cm"/>
      <inkml:brushProperty name="color" value="#E71224"/>
    </inkml:brush>
  </inkml:definitions>
  <inkml:trace contextRef="#ctx0" brushRef="#br0">3 0 8252,'0'20'1709,"-1"-2"-1259,0-5-90,0 0 90,1 1-1,1 0-89,0 0 90,1 1-90,0 0-1,2 0 1,0-1-90,1-1 90,1 0-90,0-1 90,0-2-1,0-1 451,0-1-270,3 1-91,1-4-89,1-2-270,-1-8 0,-3-5-90,-1-6 0,-4 1-90,-2-1-90,-2 5-270,-1-2 1,-1 1-271,0-1-179,-1 0-91,-1 0-269,0 1-900,-1 1-809,2 0 2968,-1 1 0,3 4 0,1 2 0</inkml:trace>
</inkml:ink>
</file>

<file path=ppt/ink/ink2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1:21.687"/>
    </inkml:context>
    <inkml:brush xml:id="br0">
      <inkml:brushProperty name="width" value="0.08571" units="cm"/>
      <inkml:brushProperty name="height" value="0.08571" units="cm"/>
      <inkml:brushProperty name="color" value="#E71224"/>
    </inkml:brush>
  </inkml:definitions>
  <inkml:trace contextRef="#ctx0" brushRef="#br0">0 1 9332,'8'16'2338,"-2"0"-1708,-3-4-90,-1 0 89,0 3-179,0-1 90,-1 1-91,0-1-89,-1-1 0,1 1-90,-1-1 90,0 0 0,0 3 359,0-1 450,0 2-449,0-2-540,4-10-90,2-8-90,2-7 90,1-5-90,1 0 0,0-1 0,3 0 0,-1-1 90,2 1-90,0 0 0,-1 2 0,0 0-90,-1 3 90,0 1 0,-2 2 0,-1 1 0,3 1-90,-1 4-90,4 5 0,-5 2-3482,-2 4 3392,-3 0-1032,1 12 762,-3-8 0,2 10-179,-4-11-1,-1 2 0,1-1 3371,-1 0-3370,-1 0-655,2-1 204,-1 4 451,2-1 359,1 0 450,5-7 180,6-11 89,-1-2 91,2-9 270,-5 2 179,0 0-89,0-1 89,-1 1-179,-1-1-1,0 1-89,-1 0-180,-1 1-90,-1 1 89,0 1-179,1-1 180,-1 2-360,-2 10-90,-3 6 90,-2 10-90,-1 1 0,0-3 0,0 1-90,-1 1-90,1 0 0,-2 2-90,1-2-89,0 1-1,-1-1-90,0-1 0,0-2-179,-1 0-1,-1-2-180,-1-1-179,-1-2-180,0-1-540,-2-2-360,0-2 2069,-1-1 0,6-2 0,1-2 0</inkml:trace>
</inkml:ink>
</file>

<file path=ppt/ink/ink2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1:22.358"/>
    </inkml:context>
    <inkml:brush xml:id="br0">
      <inkml:brushProperty name="width" value="0.08571" units="cm"/>
      <inkml:brushProperty name="height" value="0.08571" units="cm"/>
      <inkml:brushProperty name="color" value="#E71224"/>
    </inkml:brush>
  </inkml:definitions>
  <inkml:trace contextRef="#ctx0" brushRef="#br0">147 1 7623,'-22'7'1529,"0"0"-1169,8-1-1,0 1 1,0 1-90,2 0 90,0 1 269,-1 5-449,4-3 450,-1 3-180,6 0-180,4 1-91,1-1 1,5-2 0,0-5 0,2-1-90,1-1 0,1-2 0,1-1 0,1-2 0,1-1-90,0-2 0,0-1 90,1-2-90,1-2 0,-2-2 0,-1 0 0,-1-1 0,0 0-90,0-5 0,-3 4-720,1-2 810,-3 4 0,-4 5 0,1 0 0</inkml:trace>
</inkml:ink>
</file>

<file path=ppt/ink/ink2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1:39.071"/>
    </inkml:context>
    <inkml:brush xml:id="br0">
      <inkml:brushProperty name="width" value="0.08571" units="cm"/>
      <inkml:brushProperty name="height" value="0.08571" units="cm"/>
      <inkml:brushProperty name="color" value="#E71224"/>
    </inkml:brush>
  </inkml:definitions>
  <inkml:trace contextRef="#ctx0" brushRef="#br0">700 14 9422,'-13'-9'2428,"2"4"-2248,4 14-90,0 2 0,1 0-90,-1 0 90,1-2 0,-1 1-90,-1 1 0,-1 1 90,1 0-90,-1 0 90,-1 0 0,0 1 0,-1 1 90,0 0-90,-2-1-90,1 1 179,-2-1-179,1-1 180,-1 1-180,0-1 90,-1 0 0,0-1 90,0 0-90,0-1 90,-1 1-90,0 0 90,0-1-90,-1 1 0,0-1-90,0 0 180,-9 5-180,7-3 90,-6 3-90,8-5 0,1 1 90,-1-1-1,1 0-3301,0 1 3302,1-1-367,-1 0 457,2 0 0,-5 3-90,6-4 90,-5 4-90,7-6 3120,1 0-3120,1-1 549,1 0-639,0-1 90,-1 1 0,1 0 359,-3 1-359,12-4-90,2-2 90,8-4-90,-1-3 0,-1 1 90,1-1-90,1-1 0,1 0 0,1-1 0,0-1 0,2 0 0,0-2 0,1 0 0,1-1 0,0 0 0,2-1 0,1-1 0,9-7 0,-6 5 0,7-5 0,-10 6 0,-1 2 0,1-2 0,-1 1 0,1 0 0,8-8 0,-8 6 0,6-5-90,-9 8 180,-2-1-180,1 1 90,-2 0 0,0 0 0,0 0 0,-1 2 0,-2 0 0,0 1 0,-1 0 0,-1 2 0,3-3 0,-4 2 0,4-2 0,-4 3-90,1-1 90,0 1 0,-8 7 0,-8 6 0,-3 4 0,-7 5 0,5-4 0,-1 1 0,-2 1 0,-2 1 0,-1 2 90,-12 9-180,6-6 90,-7 6 0,9-7 0,-1-1 0,1 1 0,0-1 0,0 0 90,0-1-90,1-1 0,1-1 0,1 0 0,3-2 0,-1-1 90,3 0-90,0-1 0,2-1 0,1-1 0,1-1-90,1 0-359,-2 1-8726,2-1 9175,6-4 0,0 0 0,6-4 0</inkml:trace>
</inkml:ink>
</file>

<file path=ppt/ink/ink2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1:40.071"/>
    </inkml:context>
    <inkml:brush xml:id="br0">
      <inkml:brushProperty name="width" value="0.08571" units="cm"/>
      <inkml:brushProperty name="height" value="0.08571" units="cm"/>
      <inkml:brushProperty name="color" value="#E71224"/>
    </inkml:brush>
  </inkml:definitions>
  <inkml:trace contextRef="#ctx0" brushRef="#br0">295 29 7982,'-17'-12'810,"0"2"-450,6 6-180,-3 2-90,-3 2 0,2 2 0,-1 1-1,4 3 1,-1-1 0,-1 3-90,-1 1 90,-1 2-90,1 0 0,0 2 0,1 1 90,0 0-90,2 1 0,1 1 0,1-1-90,2 1-90,2-1 1,0 0-91,3-1-180,0 0-629,3-1 629,0 0 450,2-2 0,-1-4 0,1-2 0</inkml:trace>
</inkml:ink>
</file>

<file path=ppt/ink/ink2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1:48.286"/>
    </inkml:context>
    <inkml:brush xml:id="br0">
      <inkml:brushProperty name="width" value="0.08571" units="cm"/>
      <inkml:brushProperty name="height" value="0.08571" units="cm"/>
      <inkml:brushProperty name="color" value="#E71224"/>
    </inkml:brush>
  </inkml:definitions>
  <inkml:trace contextRef="#ctx0" brushRef="#br0">66 0 9152,'-19'3'2338,"1"0"-2068,7-1 540,-1 1-540,7 5 0,4-2-91,9 6-89,1-6-90,3 1 90,-1-1 90,2 0-90,2 1 0,2-1 90,3 1-180,1 0 90,3 0-90,3 0 180,2-1-90,3 1 0,3-1-90,2 0 90,3 0 0,2 0-213,-1-1 123,-1 0-90,-2 0 90,-3-1 90,-1 0-90,-1 0 0,-3-1 90,-2 0-90,-4 1 0,-2-2-90,-2 1 180,-2-1 123,-2 0-124,-2 0 1,0-1 90,1 1-90,-1-1-90,3 1 90,-4 0-90,1-1-1349,-3 1-2519,1-3 3868,-1-2 0,-5 0 0,-1 0 0</inkml:trace>
</inkml:ink>
</file>

<file path=ppt/ink/ink2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9:31.494"/>
    </inkml:context>
    <inkml:brush xml:id="br0">
      <inkml:brushProperty name="width" value="0.08571" units="cm"/>
      <inkml:brushProperty name="height" value="0.08571" units="cm"/>
      <inkml:brushProperty name="color" value="#E71224"/>
    </inkml:brush>
  </inkml:definitions>
  <inkml:trace contextRef="#ctx0" brushRef="#br0">252 0 10231,'15'2'3508,"-8"7"-3238,-7 6 0,-7 6-90,-2-1 0,-3 4 0,-3 3 89,-20 28-179,11-17 0,-13 19-307,18-27 217,2-2-90,1-2-90,3-1-7466,-17 32 7646,16-32 0,-8 19 0,19-40 0</inkml:trace>
</inkml:ink>
</file>

<file path=ppt/ink/ink2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9:31.712"/>
    </inkml:context>
    <inkml:brush xml:id="br0">
      <inkml:brushProperty name="width" value="0.08571" units="cm"/>
      <inkml:brushProperty name="height" value="0.08571" units="cm"/>
      <inkml:brushProperty name="color" value="#E71224"/>
    </inkml:brush>
  </inkml:definitions>
  <inkml:trace contextRef="#ctx0" brushRef="#br0">1 34 9512,'3'-20'3867,"4"7"-3507,-1 12 0,3 7 90,-1 6-91,0 2 91,1 1-90,2 2 0,1 3-90,1 1-90,2 2 89,0 1-179,0 0 90,1 1-90,-1 0 90,7 11-90,-5-8-630,8 15 181,-11-20-901,7 10 541,-11-17-181,2 3-2518,-6-9 3418,2-1 0,-4-5 0,0-1 0</inkml:trace>
</inkml:ink>
</file>

<file path=ppt/ink/ink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26.375"/>
    </inkml:context>
    <inkml:brush xml:id="br0">
      <inkml:brushProperty name="width" value="0.1" units="cm"/>
      <inkml:brushProperty name="height" value="0.1" units="cm"/>
    </inkml:brush>
  </inkml:definitions>
  <inkml:trace contextRef="#ctx0" brushRef="#br0">334 1 1588 0 0,'3'1'1240'0'0,"-2"-1"-1126"0"0,0 1-1 0 0,-1-1 0 0 0,1 0 1 0 0,0 1-1 0 0,0-1 1 0 0,-1 1-1 0 0,1-1 0 0 0,-1 1 1 0 0,1-1-1 0 0,0 1 1 0 0,-1-1-1 0 0,1 1 0 0 0,-1 0 1 0 0,1-1-1 0 0,-1 1 1 0 0,0 0-1 0 0,1-1 0 0 0,-1 1 1 0 0,1 0-1 0 0,-1 0 1 0 0,0-1-1 0 0,0 1 0 0 0,0 0 1 0 0,1 1-1 0 0,-1 0 39 0 0,-1 0 0 0 0,1 0 0 0 0,0 0-1 0 0,0 0 1 0 0,-1-1 0 0 0,0 1 0 0 0,1 0 0 0 0,-1 0-1 0 0,0 0 1 0 0,-1 2 0 0 0,-5 6 339 0 0,0 0-1 0 0,-15 16 1 0 0,16-19-281 0 0,1-2-188 0 0,-158 174 1702 0 0,47-66-5684 0 0,99-101 1157 0 0</inkml:trace>
  <inkml:trace contextRef="#ctx0" brushRef="#br0" timeOffset="1">38 152 1168 0 0,'1'-1'248'0'0,"1"0"0"0"0,-1 1 0 0 0,1-1 0 0 0,0 1-1 0 0,-1-1 1 0 0,1 1 0 0 0,0 0 0 0 0,-1 0 0 0 0,1-1 0 0 0,0 1 0 0 0,-1 1-1 0 0,1-1 1 0 0,0 0 0 0 0,0 0 0 0 0,-1 0 0 0 0,1 1 0 0 0,0-1 0 0 0,-1 1 0 0 0,1 0-1 0 0,-1-1 1 0 0,3 2 0 0 0,36 22 1946 0 0,-32-19-1795 0 0,40 28 1043 0 0,72 62 0 0 0,-95-71-2028 0 0,0 0 0 0 0,-2 2-1 0 0,-2 0 1 0 0,23 35 0 0 0,-26-37-3631 0 0</inkml:trace>
</inkml:ink>
</file>

<file path=ppt/ink/ink2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9:32.703"/>
    </inkml:context>
    <inkml:brush xml:id="br0">
      <inkml:brushProperty name="width" value="0.08571" units="cm"/>
      <inkml:brushProperty name="height" value="0.08571" units="cm"/>
      <inkml:brushProperty name="color" value="#E71224"/>
    </inkml:brush>
  </inkml:definitions>
  <inkml:trace contextRef="#ctx0" brushRef="#br0">5 33 7982,'-2'-16'5038,"0"1"-3599,2 13-1079,2 21-91,0 1 91,2 14-90,-1-14 0,0 1-90,1 2 0,-1-1 0,1 1-1,-1 0-89,1-2 0,-1 0 90,0-2-90,-1 0 0,1-2 0,-1 1-90,-1-3 90,1-1 0,0-2 360,-1 4 449,1-3-899,-4-7 0,2-6-90,-4-13-90,3-3 180,0-3-90,1-3 0,0-2 1,1-2 89,1-1 0,0 1-90,0 1 90,0 3 0,0 1-90,1 2 0,-1 3 90,0 2-90,0 2 0,0 0 0,6 7 90,-1 7 0,2 6 0,-2 5 0,-2-1 90,0 1-90,1 1 0,0 1 0,1 0 90,3 6-90,1 1 90,0-1-90,-1-3 90,0-4 0,1-2 0,3-2-90,2-5 0,-3-6 0,1-5 0,-5-2-90,3-3 90,-1-2 0,0-3 0,0-2 0,0 1 179,0-1 91,-1 1-90,-2 1 0,0 3 0,-1 0-90,-1 3 0,0 0-90,0-1 180,1 4-90,1 7 0,-1 7-90,-2 6 0,-2 3 180,2 5-90,-1-4-90,0 7 90,0-6-90,-1 0 0,0 0-180,1 0 0,-1 0-270,0 0-90,1-1-179,-1 0-1,0-1-449,1 0-91,0-1-359,0-1-719,1-1 2338,4 1 0,-5-8 0,2 1 0</inkml:trace>
</inkml:ink>
</file>

<file path=ppt/ink/ink2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9:32.858"/>
    </inkml:context>
    <inkml:brush xml:id="br0">
      <inkml:brushProperty name="width" value="0.08571" units="cm"/>
      <inkml:brushProperty name="height" value="0.08571" units="cm"/>
      <inkml:brushProperty name="color" value="#E71224"/>
    </inkml:brush>
  </inkml:definitions>
  <inkml:trace contextRef="#ctx0" brushRef="#br0">1 34 12570,'19'-13'1709,"0"1"-1889,-4 8-720,-1 1-539,5 2-1169,-3 2 2608,2 2 0,-8-1 0,-3 1 0</inkml:trace>
</inkml:ink>
</file>

<file path=ppt/ink/ink2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9:33.124"/>
    </inkml:context>
    <inkml:brush xml:id="br0">
      <inkml:brushProperty name="width" value="0.08571" units="cm"/>
      <inkml:brushProperty name="height" value="0.08571" units="cm"/>
      <inkml:brushProperty name="color" value="#E71224"/>
    </inkml:brush>
  </inkml:definitions>
  <inkml:trace contextRef="#ctx0" brushRef="#br0">0 166 10681,'10'15'1349,"-2"-5"-1169,8-7 0,-1-3-90,1-1-90,3-1-90,0 0-90,1-3 0,1 0-90,0-2-90,-1-1 91,-1-2-1,0-1 90,0-3 0,-2 1 270,0-2 90,-2 1 180,-1 0 89,-2 1 1,0 2 90,-4 0-90,0 2-91,-1 1 181,0 1 0,0-1-270,2 3-1,-2 7-269,0 9 90,-4 3 0,-1 3-90,0-4 0,0 2 90,0 1-270,0 1 0,-1 1-269,1 1-91,-1-1-269,0 0-271,0-1-899,0 0-719,-1-2 2698,0-1 0,0-6 0,0-2 0</inkml:trace>
</inkml:ink>
</file>

<file path=ppt/ink/ink2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1:49.659"/>
    </inkml:context>
    <inkml:brush xml:id="br0">
      <inkml:brushProperty name="width" value="0.08571" units="cm"/>
      <inkml:brushProperty name="height" value="0.08571" units="cm"/>
      <inkml:brushProperty name="color" value="#E71224"/>
    </inkml:brush>
  </inkml:definitions>
  <inkml:trace contextRef="#ctx0" brushRef="#br0">132 203 6183,'-14'24'720,"0"0"-450,0 5-270,-1 0 90,1 4 0,0 1 0,2-1 90,2 0 0,1-1-1,3 0 1,1 1 0,2-1 90,2 2 0,2-2 0,2 2-90,2-2 179,2 1-179,1-2 90,2-1 180,7 11-180,-3-11-180,5 8 90,-3-14-90,1-2 0,2-2 89,2-1 1,1-2-90,4 0 0,0-3 0,4 0 0,-2-3 0,15 4 0,-9-6 0,9 3 0,-13-6-90,-2-1 90,-1-1 0,-2 0 90,-1-2 0,-2 0-90,0-1 179,7-1-179,-8-1 0,6-1 0,-10-1 90,0-1-90,-2 0 90,8-7-180,-7 2 90,5-6 0,-7 2-90,1-3 90,-1 1-180,9-20 180,-10 12-180,8-13 180,-12 16-180,1-1 180,-1 0 90,6-20-180,-6 15 0,5-16 0,-8 20 0,1-10-90,-2 7 180,1-8-90,-3 10 0,0 0 0,0 1 0,-2 0 0,0 0 0,-3-12 0,0 7 0,-6-21 0,1 18 0,-10-21 0,4 21 0,-6-10 0,2 13 0,-3 0 0,0 0-90,-1 3 0,1 2 90,-1 2-180,-10-7-180,-3 1 180,0 0-180,4 7 1,9 7-901,-8 1 271,7 4-2249,-15 1 3238,15 5 0,-10 3 0,6 2 0</inkml:trace>
</inkml:ink>
</file>

<file path=ppt/ink/ink2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06.801"/>
    </inkml:context>
    <inkml:brush xml:id="br0">
      <inkml:brushProperty name="width" value="0.08571" units="cm"/>
      <inkml:brushProperty name="height" value="0.08571" units="cm"/>
      <inkml:brushProperty name="color" value="#E71224"/>
    </inkml:brush>
  </inkml:definitions>
  <inkml:trace contextRef="#ctx0" brushRef="#br0">1 77 15718,'30'0'1079,"4"-2"-1169,2-2-179,6-2-271,7 0-270,1-1-359,3 1-2528,2-2-261,-2-1 3059,0 0 0,-6-1 1,-1 0-1</inkml:trace>
</inkml:ink>
</file>

<file path=ppt/ink/ink2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05.409"/>
    </inkml:context>
    <inkml:brush xml:id="br0">
      <inkml:brushProperty name="width" value="0.08571" units="cm"/>
      <inkml:brushProperty name="height" value="0.08571" units="cm"/>
      <inkml:brushProperty name="color" value="#E71224"/>
    </inkml:brush>
  </inkml:definitions>
  <inkml:trace contextRef="#ctx0" brushRef="#br0">1 74 11670,'11'4'1529,"-1"-1"-1169,-8 12-90,0-2 0,1 2 90,-1 1 0,1 1-181,0 0 91,0 0 0,1 0-90,0 0 0,0 0 0,0-1 0,-1-1-90,1-2 90,-1 1 89,-1-3 91,1 4 360,0-2-720,-6-10 0,2-4-90,-5-13 0,4-2 0,0-5 0,0-2 0,2-3 0,2-2 90,1-1-90,2 0 0,2 0 90,1 2-90,2 3 90,1 3-90,2 4 90,1 3-90,1 3 90,1 4 0,0 3 0,0 3 0,2 4-90,-1 3 90,1 3 0,-3 3-3392,0 2 3392,-3 2 90,-1 2-90,-3 2 0,-2 10 90,-3-7-90,-3 8 0,-4-10 3392,-2 2-3392,-2 0 90,-2 0-90,-1 0 0,-2-3 0,0-1 90,-1-3-90,-5 4 0,5-6-180,-5 1-179,8-8-721,1-2-359,-4-2 629,0-4-1079,1-1 91,1-7-451,6 1 2249,0-3 0,4 6 0,1 0 0</inkml:trace>
</inkml:ink>
</file>

<file path=ppt/ink/ink2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05.684"/>
    </inkml:context>
    <inkml:brush xml:id="br0">
      <inkml:brushProperty name="width" value="0.08571" units="cm"/>
      <inkml:brushProperty name="height" value="0.08571" units="cm"/>
      <inkml:brushProperty name="color" value="#E71224"/>
    </inkml:brush>
  </inkml:definitions>
  <inkml:trace contextRef="#ctx0" brushRef="#br0">1 18 7803,'21'-8'1619,"-2"1"-1260,-6 5 1,-1 1-90,1 2 0,-1 1-90,0 2 0,-1 2-3302,0 1 3391,-3 1-89,-1 2 90,-1 0 0,-2 1-90,-2 1 90,0 0 0,-2 0 3301,0 0-3211,-2 6-270,1-5 180,-1 3-90,-1-1 90,1-2 180,-1 3-271,3-1-89,3-6-180,6-1-89,4-6-91,-1-1-90,2-4-90,-3 0-90,0-1-179,1-1-91,0-1 1,0-1-91,-1-1-449,0-1 90,0 0 1259,0-2 0,1-1 0,0-1 0</inkml:trace>
</inkml:ink>
</file>

<file path=ppt/ink/ink2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05.829"/>
    </inkml:context>
    <inkml:brush xml:id="br0">
      <inkml:brushProperty name="width" value="0.08571" units="cm"/>
      <inkml:brushProperty name="height" value="0.08571" units="cm"/>
      <inkml:brushProperty name="color" value="#E71224"/>
    </inkml:brush>
  </inkml:definitions>
  <inkml:trace contextRef="#ctx0" brushRef="#br0">1 1 9332,'15'3'2338,"-3"4"-1978,-8 6-90,-3 2-90,0-2 0,0 1 0,-1 2-90,0 1 0,0 0 0,-1 2-1,1 0-89,-2-1-89,1 2-1,-2-1-270,0-1-90,0 1-180,0-1-179,-1 0-810,1-1-180,-1-2 1799,1-1 0,2-7 0,-1-2 0</inkml:trace>
</inkml:ink>
</file>

<file path=ppt/ink/ink2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06.097"/>
    </inkml:context>
    <inkml:brush xml:id="br0">
      <inkml:brushProperty name="width" value="0.08571" units="cm"/>
      <inkml:brushProperty name="height" value="0.08571" units="cm"/>
      <inkml:brushProperty name="color" value="#E71224"/>
    </inkml:brush>
  </inkml:definitions>
  <inkml:trace contextRef="#ctx0" brushRef="#br0">159 1 10051,'0'13'810,"-3"0"-630,-8-6 0,-1 1-1,-2 0 1,1-1 0,-1 1 90,-9 6 899,-9 11-989,12-6 90,3 6-180,27-17-90,2-1 90,1-1-180,-1-2 0,1 0-180,0 0-179,1-1-1,-1 0-180,0 0-89,-1-1-1,0 0-809,0 0 0,0-2 1529,-1 0 0,-4 0 0,-3-1 0</inkml:trace>
</inkml:ink>
</file>

<file path=ppt/ink/ink2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06.286"/>
    </inkml:context>
    <inkml:brush xml:id="br0">
      <inkml:brushProperty name="width" value="0.08571" units="cm"/>
      <inkml:brushProperty name="height" value="0.08571" units="cm"/>
      <inkml:brushProperty name="color" value="#E71224"/>
    </inkml:brush>
  </inkml:definitions>
  <inkml:trace contextRef="#ctx0" brushRef="#br0">27 1 10861,'18'0'2608,"-3"5"-2338,-11 10 0,-2 0-90,-1 1 0,-2-4-3392,0 2 3302,0 0 0,0 1 0,-1 1-1,-1 0-268,0 1-631,-3 6 270,0-6 3213,-1 4-3663,0-7-899,1-2-539,-1-1 2428,-1-1 0,4-5 0,0-2 0</inkml:trace>
</inkml:ink>
</file>

<file path=ppt/ink/ink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26.754"/>
    </inkml:context>
    <inkml:brush xml:id="br0">
      <inkml:brushProperty name="width" value="0.1" units="cm"/>
      <inkml:brushProperty name="height" value="0.1" units="cm"/>
    </inkml:brush>
  </inkml:definitions>
  <inkml:trace contextRef="#ctx0" brushRef="#br0">1 6 1252 0 0,'0'-1'163'0'0,"0"1"1"0"0,1 0-1 0 0,-1-1 0 0 0,0 1 0 0 0,1-1 0 0 0,-1 1 1 0 0,1 0-1 0 0,-1-1 0 0 0,1 1 0 0 0,-1 0 1 0 0,0 0-1 0 0,1-1 0 0 0,-1 1 0 0 0,1 0 0 0 0,-1 0 1 0 0,1 0-1 0 0,-1-1 0 0 0,1 1 0 0 0,0 0 1 0 0,-1 0-1 0 0,1 0 0 0 0,-1 0 0 0 0,1 0 0 0 0,-1 0 1 0 0,1 0-1 0 0,0 1 0 0 0,-1-1-35 0 0,1 1 0 0 0,-1-1 0 0 0,1 1 0 0 0,-1-1 0 0 0,0 1 0 0 0,1-1-1 0 0,-1 1 1 0 0,0 0 0 0 0,0-1 0 0 0,1 1 0 0 0,-1 0 0 0 0,0-1 0 0 0,0 1 0 0 0,0 0 0 0 0,0-1 0 0 0,0 1-1 0 0,0 0 1 0 0,0 0 0 0 0,-5 45 1516 0 0,3-28-1039 0 0,1-8-488 0 0,1 0 0 0 0,0 0-1 0 0,1 0 1 0 0,0-1-1 0 0,1 1 1 0 0,0 0 0 0 0,0-1-1 0 0,1 1 1 0 0,4 9-1 0 0,-5-14-127 0 0,0-1 0 0 0,1 0 0 0 0,-1 0 0 0 0,1 1 0 0 0,0-2 0 0 0,0 1 0 0 0,0 0 0 0 0,1-1 0 0 0,-1 1 0 0 0,1-1 0 0 0,0 0 0 0 0,0 0 0 0 0,0-1 0 0 0,0 1 0 0 0,0-1 0 0 0,1 0 0 0 0,-1 0 0 0 0,1 0 0 0 0,8 1 0 0 0,-10-2-165 0 0,1-1 0 0 0,0 0-1 0 0,0 0 1 0 0,0 0 0 0 0,-1 0 0 0 0,1-1 0 0 0,0 0 0 0 0,-1 1 0 0 0,1-1 0 0 0,0-1 0 0 0,-1 1 0 0 0,1 0-1 0 0,-1-1 1 0 0,0 0 0 0 0,1 0 0 0 0,2-2 0 0 0,6-4-400 0 0,-1-1-1 0 0,17-16 1 0 0,11-15 2463 0 0,-38 41-1787 0 0,0 0 0 0 0,0 0 0 0 0,0 0 0 0 0,0 0 0 0 0,-1 0 0 0 0,1 0 0 0 0,0 0 0 0 0,0 0 0 0 0,-1 0 0 0 0,1 0 0 0 0,0 1 0 0 0,-1-1 0 0 0,1 0 0 0 0,-1 1 0 0 0,0-1 0 0 0,1 0 0 0 0,-1 1 0 0 0,0-1 0 0 0,0 2 0 0 0,2 35 784 0 0,-2-12-378 0 0,24 178 1079 0 0,-23-187-1785 0 0,3 28-2349 0 0,-3-18-2009 0 0,0-17 846 0 0</inkml:trace>
</inkml:ink>
</file>

<file path=ppt/ink/ink2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06.468"/>
    </inkml:context>
    <inkml:brush xml:id="br0">
      <inkml:brushProperty name="width" value="0.08571" units="cm"/>
      <inkml:brushProperty name="height" value="0.08571" units="cm"/>
      <inkml:brushProperty name="color" value="#E71224"/>
    </inkml:brush>
  </inkml:definitions>
  <inkml:trace contextRef="#ctx0" brushRef="#br0">0 17 11670,'10'-11'3328,"0"6"-3058,1 11-90,-1 2 0,-1 0 0,2 2-90,0 0-90,2 2-180,1 0-270,0 2 1,-1-1-271,0 0 0,0 0-179,-1-1-181,-1 0-2967,3 2 4047,-4-5 0,0 0 0,-7-6 0</inkml:trace>
</inkml:ink>
</file>

<file path=ppt/ink/ink2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06.630"/>
    </inkml:context>
    <inkml:brush xml:id="br0">
      <inkml:brushProperty name="width" value="0.08571" units="cm"/>
      <inkml:brushProperty name="height" value="0.08571" units="cm"/>
      <inkml:brushProperty name="color" value="#E71224"/>
    </inkml:brush>
  </inkml:definitions>
  <inkml:trace contextRef="#ctx0" brushRef="#br0">1 3 13649,'17'-3'1799,"-2"6"-1619,-9 8 0,-1 3 0,-1-1-90,0 2-90,1 1-180,0 2-180,0 1-180,0 2-179,0 1-271,0 1-359,-1 1-630,0-1-629,-2-1 2608,-1 0 0,-1 1 0,0 0 0</inkml:trace>
</inkml:ink>
</file>

<file path=ppt/ink/ink2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09.317"/>
    </inkml:context>
    <inkml:brush xml:id="br0">
      <inkml:brushProperty name="width" value="0.08571" units="cm"/>
      <inkml:brushProperty name="height" value="0.08571" units="cm"/>
      <inkml:brushProperty name="color" value="#E71224"/>
    </inkml:brush>
  </inkml:definitions>
  <inkml:trace contextRef="#ctx0" brushRef="#br0">568 37 7173,'-19'-9'809,"0"1"-629,4 3 180,-16-1-360,10 3 90,-12-1-180,14 3 180,0 1-90,-1 1 0,-21 10 0,14-2-90,-20 10 90,19-3-540,-14 18-179,9-5-444,-12 16 1163,14-7 0,-7 13 0,-1 4 0</inkml:trace>
</inkml:ink>
</file>

<file path=ppt/ink/ink2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31.834"/>
    </inkml:context>
    <inkml:brush xml:id="br0">
      <inkml:brushProperty name="width" value="0.08571" units="cm"/>
      <inkml:brushProperty name="height" value="0.08571" units="cm"/>
      <inkml:brushProperty name="color" value="#E71224"/>
    </inkml:brush>
  </inkml:definitions>
  <inkml:trace contextRef="#ctx0" brushRef="#br0">0 0 11221,'18'11'539,"3"-2"-359,4-6 0,5 0-90,8-1 180,31 2-180,-7-2-600,25 1 600,-16-1 0,3 0-90,3 1 90,0-1 0,0 1-90,-1 0-722,-4 0 722,-7 0 0,-5 0 90,-8 0-90,-4 0-417,-7 0 507,-6-1-98,-5 0 8,-6 0 613,-3-1-523,-2 1 731,-4-1-731,0-1 303,-2 1-753,2 0-5387,-2 0 5747,-6 7 0,-2-6 0,-8 6 0</inkml:trace>
</inkml:ink>
</file>

<file path=ppt/ink/ink2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38.585"/>
    </inkml:context>
    <inkml:brush xml:id="br0">
      <inkml:brushProperty name="width" value="0.08571" units="cm"/>
      <inkml:brushProperty name="height" value="0.08571" units="cm"/>
      <inkml:brushProperty name="color" value="#E71224"/>
    </inkml:brush>
  </inkml:definitions>
  <inkml:trace contextRef="#ctx0" brushRef="#br0">665 155 7353,'-6'-20'1349,"2"3"-1169,1 4 0,1 2-90,0-1 0,-1 0-90,-1 0 0,-1 1 0,-1 0 0,-2 1 0,-4 2 0,1 1 0,-1 3 0,2 1 0,0 1 0,-2 1-90,-1 0 90,-1 1 0,-2 2 0,-1-1 0,-2 3-90,-1 0 90,-2 1 90,-2 2-90,-1 1 0,-1 2 90,-1 0-90,1 2 0,0 1 90,-1 3 0,0 1 0,-1 3 0,1 2-1,1 2 91,2 3-90,2 1 90,2 3-90,2 3 0,3 2-90,1 2-3212,3 3 3212,3 1 0,1 2 0,3 1 90,2-2-90,3 2 90,6 17-90,0-13 0,7 13 0,9-5 0,-3-14 2959,11 10-2869,-5-20 0,1-1 0,4-4 0,2-3 90,1-4-1,2-3-89,1-4 180,2-4 0,-1-5 0,2-3-90,1-6-244,2-3 244,4-8-535,0-6 445,3-6 89,-2-6-89,0-7 0,-2-5 0,-2-4 0,14-31-1059,-17 17 1059,9-20 0,-22 25-609,-5 1 609,-7 4-90,-5 3-90,-6 7 0,-6 0 0,-6 3 0,-5 1 11,-6 3-641,-21-6 180,5 14-269,-16-4-990,10 18-270,-2 4 2107,-2 4 0,-1 5 0,0 2 0</inkml:trace>
</inkml:ink>
</file>

<file path=ppt/ink/ink29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41.760"/>
    </inkml:context>
    <inkml:brush xml:id="br0">
      <inkml:brushProperty name="width" value="0.08571" units="cm"/>
      <inkml:brushProperty name="height" value="0.08571" units="cm"/>
      <inkml:brushProperty name="color" value="#E71224"/>
    </inkml:brush>
  </inkml:definitions>
  <inkml:trace contextRef="#ctx0" brushRef="#br0">50 33 8252,'-21'-9'1799,"3"1"-6919,7 2 5299,12-1 1410,24 5-1589,3 2 0,22 5 90,11 5 0,-11-1-180,15 3-290,-21-2 20,-2 0-571,-2-1 301,-4 0-629,-4 0 179,-6-1 1703,-4-1 1,-11-4 0,-4 0 0</inkml:trace>
</inkml:ink>
</file>

<file path=ppt/ink/ink2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41.939"/>
    </inkml:context>
    <inkml:brush xml:id="br0">
      <inkml:brushProperty name="width" value="0.08571" units="cm"/>
      <inkml:brushProperty name="height" value="0.08571" units="cm"/>
      <inkml:brushProperty name="color" value="#E71224"/>
    </inkml:brush>
  </inkml:definitions>
  <inkml:trace contextRef="#ctx0" brushRef="#br0">0 0 8162,'24'11'720,"6"0"-540,3-2-90,8 0-719,5 2 719,6 1 0,2 0 0,-4-1 0,1 1-180,13 2-405,-7-2 1,-3 0-406,-7-1 900,18 3 0,-31-7 0,5 0 0</inkml:trace>
</inkml:ink>
</file>

<file path=ppt/ink/ink2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44.101"/>
    </inkml:context>
    <inkml:brush xml:id="br0">
      <inkml:brushProperty name="width" value="0.08571" units="cm"/>
      <inkml:brushProperty name="height" value="0.08571" units="cm"/>
      <inkml:brushProperty name="color" value="#E71224"/>
    </inkml:brush>
  </inkml:definitions>
  <inkml:trace contextRef="#ctx0" brushRef="#br0">3812 174 6813,'-17'-3'810,"-1"1"-630,2 0-1,-1 2 1,-4-1-90,-2 1 0,-3 0 0,-5 1 0,-2 2-90,-7-1 90,-1 0-486,-3 1 486,-1 0 0,-45 3-90,32-1 0,-35 1 0,42-3 0,-2 1 0,0-1 0,-27 1-921,19 0 921,-20 1 0,26-1 90,-1-1-90,2 0 0,0 0 0,2-1 0,1 1 90,1 0-90,1 0-504,1 0 504,-19 1 0,18-1 0,-12 1 0,21-1 0,-13 0 0,13 0 0,-12 0 262,16-2-262,-15 2 0,-2-2 0,-11 1 0,15-1 897,8-1-897,14 0 572,-10 0-572,8 0 0,-17 0 0,21-1 0,-7 1 0,9 0 0,-19 1 0,13 0 0,-23 0 0,17 0 0,1 0 0,2 0 0,11-1 0,-8 1 0,6-1 0,-14 0 0,6 0 0,1-1 0,2 1 0,8-1 0,-7 0 0,-4 1 0,1-1 0,2 2-90,8-1 90,-8 2 0,-2 1 0,0-1 0,1 2 90,9-1-90,-10 2 0,8-1 90,-17 4 0,17-2-90,-8 1 90,3 0 0,0 1-90,1 0 0,-4 1 0,14-3 90,-6 2-90,7-2 90,-6 3 0,6-2-90,-12 6 0,13-6 0,-5 3 90,6-4-90,2 1 89,-1 0-178,1-1 178,1 0-89,1-1 0,1 0 0,0 1 90,0-1-180,1 0 180,0 0-90,-3 4 0,2-2 0,-3 3 0,3-1-90,-5 5 90,3-3 0,-4 5 0,1 2 90,0 2 0,-1 2-90,3 0 0,3-4 0,0 0 90,0 2-90,1 2 180,0 2-90,0 3 270,-5 21-180,4-9 90,-7 33-90,7-26-90,-2 15-1,5-19 271,-3 33-90,3-26 0,-1 39-180,4-47 0,0 12-90,1-20 180,0 9-180,1-3 90,0-2-90,0-8 90,1-12 180,1 5-181,-1-7 91,3 3-90,0-8 90,2-1-90,3-1 0,11 0 0,0-4 0,10 0 0,0-4 0,29-4-90,-8-1-186,27-2 186,-15 0 45,4 2 0,4 0-45,21-1-860,-18 2 0,0 1 950,9 3-90,1 2-1038,0 2 1038,-1 2 0,0 2-90,-1 1 90,1 3-90,-1 0 90,0 1 0,0 1-90,0 0 90,-23-4 0,0 0 0,33 4 0,-31-5 0,-1-1 0,27 3-90,2-2 90,3-2 90,2-1-90,-25-3 0,2-1 0,-17-1 0,1 0 45,20 0 0,3-1-45,1 0 0,-2-2 0,-16 1 0,1 0 0,35-1 0,-2-1 45,-40 2 0,-4-1-45,17 0 0,-2 0 0,22-1 0,-29 2 0,1-1-2387,29 0 2387,-32 1 0,-1-1 0,18 1-32,24-1 32,-1 0 0,-36 1 0,-1 0 27,30-2-27,-2 0 0,-30 1 488,39-4-488,-47 3 0,1 0 0,2 0 0,-1-1 90,40-1-90,-10-2 0,-24 3 0,33-4 0,-41 3 90,8-1-90,-22 1 0,-5 1 0,-3-1 90,-2-1 2670,-3 0-2580,7-3 98,-9 1-188,6-4 1411,-11 3-1322,7-7-89,-7 3-90,4-4 489,-8 3-399,6-7-90,-6 5 90,13-22-90,-14 17 0,7-11 0,-10 13 0,1-8-90,-3 5 90,1-8 0,-3 10 0,-2-12 0,-1 7 0,-2-9 0,-1 7 0,-3-17 0,0 9 0,-2-13 0,2 14 0,-3-15 0,2 12 0,-2-26 0,3 26 0,0-10 0,1 16 0,1 1 0,-1 0 0,1 2 0,-1-3 0,-1 2-90,1-1 90,-2 0 0,0 0 0,-9-24-90,5 20 180,-8-19-90,7 26-90,-9-11 90,3 8 0,-8-8 0,4 11 0,-15-9 0,-9-1 0,-2 2-90,-5 4 90,-16 2 0,13 8-272,-23-5 272,20 11-608,-30-2 608,17 6-967,-23 0 967,26 7-270,3 4 0,-2 1-180,-18 2-365,18 1 1,2 1 275,-3 4-271,2 3-203,1 1-1506,-25 13 2519,-3 4 0,42-13 0,1 1 0,3-1 0,0 1 0</inkml:trace>
</inkml:ink>
</file>

<file path=ppt/ink/ink2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0:01.915"/>
    </inkml:context>
    <inkml:brush xml:id="br0">
      <inkml:brushProperty name="width" value="0.08571" units="cm"/>
      <inkml:brushProperty name="height" value="0.08571" units="cm"/>
      <inkml:brushProperty name="color" value="#E71224"/>
    </inkml:brush>
  </inkml:definitions>
  <inkml:trace contextRef="#ctx0" brushRef="#br0">248 55 7713,'8'-23'2068,"0"2"-898,-4 10-900,-6 12-91,-2 2 1,-6 12 0,0 0 0,-4 4-90,0 2 0,-3 4 0,-1 1 0,0 1-90,1-1 90,1-1-90,0-1 90,1 0-90,1 0 0,1-2 0,1-2 90,2-1-270,1-1-180,1-1-90,1-3 91,0-1-721,2-1 1080,-1 0 0,3-6 0,0 0 0</inkml:trace>
</inkml:ink>
</file>

<file path=ppt/ink/ink2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0:02.112"/>
    </inkml:context>
    <inkml:brush xml:id="br0">
      <inkml:brushProperty name="width" value="0.08571" units="cm"/>
      <inkml:brushProperty name="height" value="0.08571" units="cm"/>
      <inkml:brushProperty name="color" value="#E71224"/>
    </inkml:brush>
  </inkml:definitions>
  <inkml:trace contextRef="#ctx0" brushRef="#br0">1 33 8252,'3'-20'1979,"5"7"-1619,-1 13 0,3 8 0,-1 2-181,1 4 91,3 3-90,0 2 0,2 3-90,0 1 0,1 3 0,0 0-90,1 1 90,-2-1-90,0-1 90,0 0-90,-1 0 90,-1-1-360,0-2 0,-2-1 0,-1-3-180,0 0 1,-2-2-91,0-2 0,-1-1-1978,-1-2 2518,2 1 0,-4-7 0,0 1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17.788"/>
    </inkml:context>
    <inkml:brush xml:id="br0">
      <inkml:brushProperty name="width" value="0.1" units="cm"/>
      <inkml:brushProperty name="height" value="0.1" units="cm"/>
    </inkml:brush>
  </inkml:definitions>
  <inkml:trace contextRef="#ctx0" brushRef="#br0">1 6 16 0 0,'14'-6'3264'0'0,"-10"6"-3058"0"0,0 0 0 0 0,1 1 1 0 0,-1-1-1 0 0,0 1 1 0 0,0 0-1 0 0,1 0 0 0 0,-1 0 1 0 0,0 0-1 0 0,0 1 1 0 0,0 0-1 0 0,0-1 0 0 0,-1 2 1 0 0,1-1-1 0 0,0 0 1 0 0,-1 1-1 0 0,0-1 0 0 0,1 1 1 0 0,-1 0-1 0 0,0 0 1 0 0,0 1-1 0 0,-1-1 0 0 0,5 8 1 0 0,-3-6-33 0 0,0 1 1 0 0,-1 1 0 0 0,0-1-1 0 0,0 0 1 0 0,-1 1-1 0 0,0 0 1 0 0,0-1-1 0 0,0 1 1 0 0,-1 0 0 0 0,0 0-1 0 0,0 0 1 0 0,-1 0-1 0 0,-1 13 1 0 0,-2-1 280 0 0,-1-1 0 0 0,-1 1-1 0 0,-1-1 1 0 0,-1 1 0 0 0,-17 33 0 0 0,23-51-371 0 0,0 1 0 0 0,0-1-1 0 0,0 1 1 0 0,0-1 0 0 0,1 1 0 0 0,-1 0 0 0 0,0 0 0 0 0,1-1-1 0 0,0 1 1 0 0,-1 0 0 0 0,1 0 0 0 0,0 0 0 0 0,0-1-1 0 0,0 1 1 0 0,0 0 0 0 0,0 0 0 0 0,0 0 0 0 0,1 3 0 0 0,1-4-89 0 0,-1 1 1 0 0,0-1 0 0 0,0 0-1 0 0,1 0 1 0 0,-1 0 0 0 0,1 0-1 0 0,-1 0 1 0 0,1 0 0 0 0,-1 0-1 0 0,1 0 1 0 0,-1-1 0 0 0,1 1 0 0 0,0-1-1 0 0,0 1 1 0 0,-1-1 0 0 0,1 0-1 0 0,0 1 1 0 0,0-1 0 0 0,-1 0-1 0 0,3 0 1 0 0,26 1-1145 0 0,0-1 0 0 0,0-2 1 0 0,0 0-1 0 0,0-3 0 0 0,-1 0 0 0 0,1-1 1 0 0,33-13-1 0 0,-17 3-1959 0 0</inkml:trace>
</inkml:ink>
</file>

<file path=ppt/ink/ink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27.812"/>
    </inkml:context>
    <inkml:brush xml:id="br0">
      <inkml:brushProperty name="width" value="0.1" units="cm"/>
      <inkml:brushProperty name="height" value="0.1" units="cm"/>
    </inkml:brush>
  </inkml:definitions>
  <inkml:trace contextRef="#ctx0" brushRef="#br0">181 20 888 0 0,'1'-2'247'0'0,"11"-13"1496"0"0,-7 12-271 0 0,-6 12 635 0 0,-8 11-1511 0 0,0-1 0 0 0,-2 0 0 0 0,-23 34 0 0 0,7-13-295 0 0,-33 48-454 0 0,17-26-5066 0 0,38-56 3853 0 0</inkml:trace>
</inkml:ink>
</file>

<file path=ppt/ink/ink3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0:02.652"/>
    </inkml:context>
    <inkml:brush xml:id="br0">
      <inkml:brushProperty name="width" value="0.08571" units="cm"/>
      <inkml:brushProperty name="height" value="0.08571" units="cm"/>
      <inkml:brushProperty name="color" value="#E71224"/>
    </inkml:brush>
  </inkml:definitions>
  <inkml:trace contextRef="#ctx0" brushRef="#br0">0 1 8432,'13'24'1170,"-3"-2"-991,-7-10 181,0 1-180,0 1 180,1 1-180,-1 0-90,0 0 90,0-1-90,0 0 0,0 0-1,-1-2 1,0 0 180,1 2 270,0 0 180,-1 1-720,3-14-90,-3-2 90,2-13-180,-1 0 180,0-3-90,0-3 0,2-1 0,0-1 90,1 0-90,0 0 90,0 3-90,-1 2 0,0 2 0,-1 2 0,1 1 90,4 6 180,-1 7-180,2 9 90,-4 2-90,-1 3 180,2 3-180,-2-4 0,1 5 90,-2-7-90,0 0 0,0-1 90,0-1 0,0 3 90,0-1 0,2 0-180,1-6 89,1-7-89,1-3-89,-1-6 89,-2 1 0,2-2 0,0 0 0,-1 0 0,1 0 0,2-2-90,-2 3 90,2-2 0,-1 6 90,1 3-1,2 6-89,-3 2 0,0 3 90,-2 0-90,0 2 90,0 1-90,0 1 0,0 1-180,0 0-89,0 1-721,1 7 181,-1-5-900,1 6-360,-4-8 2069,1-1 0,-3-6 0,0-2 0</inkml:trace>
</inkml:ink>
</file>

<file path=ppt/ink/ink3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0:02.840"/>
    </inkml:context>
    <inkml:brush xml:id="br0">
      <inkml:brushProperty name="width" value="0.08571" units="cm"/>
      <inkml:brushProperty name="height" value="0.08571" units="cm"/>
      <inkml:brushProperty name="color" value="#E71224"/>
    </inkml:brush>
  </inkml:definitions>
  <inkml:trace contextRef="#ctx0" brushRef="#br0">0 0 8972,'21'6'-990,"-3"0"271,-9-1 719,-1-1 0,4 3 0,2 1 0</inkml:trace>
</inkml:ink>
</file>

<file path=ppt/ink/ink3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0:02.967"/>
    </inkml:context>
    <inkml:brush xml:id="br0">
      <inkml:brushProperty name="width" value="0.08571" units="cm"/>
      <inkml:brushProperty name="height" value="0.08571" units="cm"/>
      <inkml:brushProperty name="color" value="#E71224"/>
    </inkml:brush>
  </inkml:definitions>
  <inkml:trace contextRef="#ctx0" brushRef="#br0">1 23 7713,'21'-3'-900,"0"-1"540,-4-1 360,-2 0 0,-6 2 0,-5 1 0</inkml:trace>
</inkml:ink>
</file>

<file path=ppt/ink/ink3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0:03.118"/>
    </inkml:context>
    <inkml:brush xml:id="br0">
      <inkml:brushProperty name="width" value="0.08571" units="cm"/>
      <inkml:brushProperty name="height" value="0.08571" units="cm"/>
      <inkml:brushProperty name="color" value="#E71224"/>
    </inkml:brush>
  </inkml:definitions>
  <inkml:trace contextRef="#ctx0" brushRef="#br0">6 1 8612,'4'18'630,"-1"3"-630,-3-5 90,0 3-90,0-3 90,0 1-180,-1 1-180,1 2 270,-3 19 0,0-11 0,-3 15 0</inkml:trace>
</inkml:ink>
</file>

<file path=ppt/ink/ink3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0:04.035"/>
    </inkml:context>
    <inkml:brush xml:id="br0">
      <inkml:brushProperty name="width" value="0.08571" units="cm"/>
      <inkml:brushProperty name="height" value="0.08571" units="cm"/>
      <inkml:brushProperty name="color" value="#E71224"/>
    </inkml:brush>
  </inkml:definitions>
  <inkml:trace contextRef="#ctx0" brushRef="#br0">1 22 9691,'23'-9'540,"0"1"-450,-2 6 0,2 1 0,4 0 0,18 0-90,-9 1-4162,45 3 4252,-39-1 511,35 1-781,-45-1-89,7 1-91,-17-2-90,-2 0 0,-5 1-1169,-1-1 2446,-2 0 0,-6-1 0,0 1 1</inkml:trace>
</inkml:ink>
</file>

<file path=ppt/ink/ink3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0:04.266"/>
    </inkml:context>
    <inkml:brush xml:id="br0">
      <inkml:brushProperty name="width" value="0.08571" units="cm"/>
      <inkml:brushProperty name="height" value="0.08571" units="cm"/>
      <inkml:brushProperty name="color" value="#E71224"/>
    </inkml:brush>
  </inkml:definitions>
  <inkml:trace contextRef="#ctx0" brushRef="#br0">0 11 10681,'23'4'989,"2"-1"-719,2-4-90,4-1 0,8 0-90,2 1-4252,4-1 4252,0 0 0,0 0 565,15 1-566,-15 0-178,9 0-91,-21 0-90,-3 1-180,-5-1 0,-3 1-179,-2 0 89,-4 0 1807,-2 0-1267,-1 0 0,-7 1 0,0-1 0</inkml:trace>
</inkml:ink>
</file>

<file path=ppt/ink/ink3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9:37.692"/>
    </inkml:context>
    <inkml:brush xml:id="br0">
      <inkml:brushProperty name="width" value="0.08571" units="cm"/>
      <inkml:brushProperty name="height" value="0.08571" units="cm"/>
      <inkml:brushProperty name="color" value="#E71224"/>
    </inkml:brush>
  </inkml:definitions>
  <inkml:trace contextRef="#ctx0" brushRef="#br0">34 20 8702,'-17'-7'3868,"1"0"-3778,18 3 0,17 3-90,14 1 0,15 4-287,0 0 377,9 0-90,5 2 0,7 0-393,3 0 393,3 1-2735,2 0 2825,0 0-90,0 0-691,-2-1 691,-4 0 0,-7-2-371,-6 0 281,-8-1 213,-7-1-123,-7 0 0,-6-2 90,-6 1 2233,-2-2-2323,-4 0 644,-4 0-1723,1-3-1010,-7-1 2089,-5-1 0,-2 2 0,-5 2 0</inkml:trace>
</inkml:ink>
</file>

<file path=ppt/ink/ink3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9:40.435"/>
    </inkml:context>
    <inkml:brush xml:id="br0">
      <inkml:brushProperty name="width" value="0.08571" units="cm"/>
      <inkml:brushProperty name="height" value="0.08571" units="cm"/>
      <inkml:brushProperty name="color" value="#E71224"/>
    </inkml:brush>
  </inkml:definitions>
  <inkml:trace contextRef="#ctx0" brushRef="#br0">1 1 6183,'67'7'-179,"0"-1"179,-4 0 0,-3-1 0,-6 0 0</inkml:trace>
</inkml:ink>
</file>

<file path=ppt/ink/ink3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0:32.582"/>
    </inkml:context>
    <inkml:brush xml:id="br0">
      <inkml:brushProperty name="width" value="0.08571" units="cm"/>
      <inkml:brushProperty name="height" value="0.08571" units="cm"/>
      <inkml:brushProperty name="color" value="#E71224"/>
    </inkml:brush>
  </inkml:definitions>
  <inkml:trace contextRef="#ctx0" brushRef="#br0">70 1 10051,'-18'5'2429,"1"0"-1530,8-2-359,-2 3-180,2 1-180,4 4 90,6-1-1,7-1 1,7-2 0,6 1 0,10-1 0,9 1-90,7-1-691,10 0 601,5 0 89,9 0-1265,3-1 1176,4 0 0,2-1-90,3 0 90,-1 0-90,-24-2 0,1 1 0,28 1 45,-32-1 0,-1-1-45,11 1 0,-4 0-246,-9 0 246,-4 0 0,-6-1-180,-5 1 90,-7-2-90,-4 0-89,-5-1-181,-3 0-989,-3 0 1439,0-1 0,-8-1 0,0 1 0</inkml:trace>
</inkml:ink>
</file>

<file path=ppt/ink/ink3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0:33.131"/>
    </inkml:context>
    <inkml:brush xml:id="br0">
      <inkml:brushProperty name="width" value="0.08571" units="cm"/>
      <inkml:brushProperty name="height" value="0.08571" units="cm"/>
      <inkml:brushProperty name="color" value="#E71224"/>
    </inkml:brush>
  </inkml:definitions>
  <inkml:trace contextRef="#ctx0" brushRef="#br0">0 15 10501,'22'-6'1259,"4"1"-1169,7 3 90,11 1-1215,13 1 855,9 1-3861,10 2 3502,7 0-91,5 2-902,11 2 1532,-28-2 0,5 1 0,8 2 0,5 0 0,-17-2 0,1 1 0,0-1 0</inkml:trace>
</inkml:ink>
</file>

<file path=ppt/ink/ink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28.158"/>
    </inkml:context>
    <inkml:brush xml:id="br0">
      <inkml:brushProperty name="width" value="0.1" units="cm"/>
      <inkml:brushProperty name="height" value="0.1" units="cm"/>
    </inkml:brush>
  </inkml:definitions>
  <inkml:trace contextRef="#ctx0" brushRef="#br0">1 19 376 0 0,'0'-2'379'0'0,"0"1"0"0"0,1 0-1 0 0,-1-1 1 0 0,1 1 0 0 0,-1 0 0 0 0,1 0-1 0 0,0 0 1 0 0,-1 0 0 0 0,1-1 0 0 0,0 1-1 0 0,0 0 1 0 0,0 0 0 0 0,2-1 0 0 0,3 2-91 0 0,1 1 0 0 0,0-1 0 0 0,-1 1 0 0 0,1 1 0 0 0,-1-1 0 0 0,1 1 0 0 0,-1 0 1 0 0,0 1-1 0 0,1-1 0 0 0,6 6 0 0 0,64 40 1173 0 0,-62-38-1253 0 0,21 15 169 0 0,64 57 1 0 0,-85-67-1759 0 0,19 24 0 0 0,-24-23-2080 0 0</inkml:trace>
</inkml:ink>
</file>

<file path=ppt/ink/ink3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57.633"/>
    </inkml:context>
    <inkml:brush xml:id="br0">
      <inkml:brushProperty name="width" value="0.08571" units="cm"/>
      <inkml:brushProperty name="height" value="0.08571" units="cm"/>
      <inkml:brushProperty name="color" value="#E71224"/>
    </inkml:brush>
  </inkml:definitions>
  <inkml:trace contextRef="#ctx0" brushRef="#br0">327 12 11400,'9'-11'3868,"-19"12"-3688,-7 8-90,-14 9-4251,12-5 4251,-3 2 859,2 0-949,-2 1 90,2 1-180,-1 0-180,2 1-270,-1-2-989,-5 6 360,6-6 2402,-5 2-4021,8-7 2788,1-3 0,6-3 0,3-2 0</inkml:trace>
</inkml:ink>
</file>

<file path=ppt/ink/ink3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57.831"/>
    </inkml:context>
    <inkml:brush xml:id="br0">
      <inkml:brushProperty name="width" value="0.08571" units="cm"/>
      <inkml:brushProperty name="height" value="0.08571" units="cm"/>
      <inkml:brushProperty name="color" value="#E71224"/>
    </inkml:brush>
  </inkml:definitions>
  <inkml:trace contextRef="#ctx0" brushRef="#br0">0 0 11490,'13'5'2069,"-2"0"-1709,-9 8-90,1-1 0,-1 3-90,2 3-90,1 1 89,1 3-89,0 1-90,2 1 90,0 2 0,1 1 0,1-1-180,-1 0-90,1 0-179,0-2-181,0-1-180,-1-1-179,0-2-1260,1 1-809,-1-2 2968,2-2 0,0 0 0,1-1 0</inkml:trace>
</inkml:ink>
</file>

<file path=ppt/ink/ink3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58.038"/>
    </inkml:context>
    <inkml:brush xml:id="br0">
      <inkml:brushProperty name="width" value="0.08571" units="cm"/>
      <inkml:brushProperty name="height" value="0.08571" units="cm"/>
      <inkml:brushProperty name="color" value="#E71224"/>
    </inkml:brush>
  </inkml:definitions>
  <inkml:trace contextRef="#ctx0" brushRef="#br0">1 12 12480,'15'-9'3328,"-4"7"-3148,-8 15 0,-3 0 0,0 4-90,-1-2 0,0 1 0,0 2-1,0 2 1,-1 0-90,1 1 90,0 0-90,0 2-180,0-2-179,0 2-181,0-2-449,1 0-271,-1 0-1168,0-1-1350,0 0 3778,0-2 0,0-8 0,0-2 0</inkml:trace>
</inkml:ink>
</file>

<file path=ppt/ink/ink3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3:00.412"/>
    </inkml:context>
    <inkml:brush xml:id="br0">
      <inkml:brushProperty name="width" value="0.08571" units="cm"/>
      <inkml:brushProperty name="height" value="0.08571" units="cm"/>
      <inkml:brushProperty name="color" value="#E71224"/>
    </inkml:brush>
  </inkml:definitions>
  <inkml:trace contextRef="#ctx0" brushRef="#br0">689 154 8792,'-2'-19'1259,"1"1"-1169,6 8-90,1 1 0,4 3 0,2 3 0,6 0 90,-1 1-90,2 1 0,-2 1 0,4 0 90,2 1-90,6-1 0,3 1-90,3 0 90,7 0-90,2 0-138,5 1 138,2-2 0,2 1 90,2-1-90,6 0 90,2-1-90,6-1 0,-1-1 90,-1 0 0,-5 0-1967,-2-1 1967,-4 0 0,-2 0-249,-1 0 249,-1 0 0,0-1 0,-1 0 0,0 0 90,-1 0-90,1 0 90,0 1-90,-1-1-2306,1 2 2306,0-1-938,-1 0 938,24 1 514,-17 0-514,17 0 0,-21 1 0,-1 1 0,1 0 0,0 1 90,2 0-90,0 0-167,26 0 167,-18 1 296,20 0-296,-26-1 0,-1 1-90,-1 0 180,0-1 1032,-3 1-1032,0-1-180,-1 1 180,20 0 0,-17 0-90,15 1 0,-22-1 726,0 2-636,19 0-90,-15 0-408,15 1 408,-21-2-90,-1 1 180,1 0-90,-2-1 89,-1 1-178,1-1 178,-2 0 2275,22 0-2364,-14 0-2285,15 1 2374,-20-1-649,0 0 560,0-1 90,1 1-90,0 1 0,0-1 0,0 1 90,1 0-90,-1 0 0,1 1 0,-1 0 296,20 2-206,-15 0-180,14 1 180,-20-2-180,0 1 90,-1 0 1073,0 0-983,0 0 622,19 3-802,-15-2 90,14 1-2536,-19-2 2536,-1 0-1710,-3-1 1710,0 0 489,-4-1-579,14 2 90,-12-1-90,10 1 90,-17-3 0,-2 1 0,-2-1-90,0 0 180,-1 0-180,-1 0 90,0-1 0,-2 1 0,0-1 2394,-2 1-2304,1-2 2650,-2 1-2740,1 0 0,-2 0 90,1-1-90,6 0 0,-5 0 0,5 0 0,-9 0 90,1-1-180,-1 0 180,-1 0-180,1 0 180,-2-1-90,1 1 0,-1 0 0,0-1 0,-1 0 0,0 1 0,4-2 0,-1 1 90,4 0-90,0 0 90,-1 0 0,1 0 0,-1 0-90,-2 0 90,-2 1 270,0 1 0,-4 2-91,0 5-89,-4 4-90,-1 0 0,-1 3 0,-2-1 90,0 2 90,1 2-90,-1 4 0,-1 2-90,0 2 90,0 5-90,0 2 0,-1 3 89,0 2 1,0 19 0,-1-12-533,0 15 443,0-18 0,-1 2-49,1-3 49,-1 1 90,1-4-90,0 0 0,0-1-90,0-1 90,1-3-3199,0-1 3288,0-3-89,-1-1 0,1-1 203,0-3-203,0-2-90,0-2 186,0-3-186,0-1 3392,-1-2-3302,0 4-90,-1-1 0,-1-1 0,-2-3 90,-2-5 0,-12 3-90,1-4 0,-12 3-90,1-5 0,-7 0 90,-3-1-180,-7 0 90,-2-2-90,-4 1 1,-2-1-586,-7 1 495,3-1 90,-8 1 1,3 0-91,-4 1 90,0 0 0,2 1 0,-1 0-180,-29 4 270,22-2 0,-23 3 0,29-3 0,1-1 0,-1 1 0,0 0 1,1 0-684,0 0 683,0 0 0,0 1 90,1-1-180,-1 1 180,0 0-179,1-1 89,-1 1-90,-27 3 90,21-2 0,-16 1-90,30-4 180,5 0-90,1 0-322,0-1 322,2 0-90,-1 1 90,0-1-180,0 1 90,0-2-360,-24 4 271,17-3 10,-17 1-11,22-1 90,0-2-90,-1 0 180,1 1 0,0-2 0,1 0 90,0-1 0,2 0 90,-22-1 0,-2 0-90,0-2 90,6 1-90,23-1 90,-1 1-90,1-2 387,0 1-387,0 0 90,0 0-180,2-1 180,-1 1-180,4-1 180,-3 0-180,5 1 180,-4-1-180,2-1 90,-3 1 0,0-1 0,0 0 0,0 0 0,-1-1-90,-1 0 180,0 0-180,-1-1 180,2 0-180,-2-1 418,-18-3-238,13 3-90,-13-3-273,20 2 363,1 1 90,0 0 0,0 0 90,2 0-90,-1-1 90,1 1-180,1 0 89,0-1-89,3 1 90,1 1-180,3 0 796,-1 0-796,2-1 370,-1 2-370,2-1 102,0 1-192,1 1 408,-1-1-318,3 2 0,-1-1-90,1 2 90,0 0 0,1 0-90,-1 1 180,0 0-90,-1 1 90,1 0-180,0 1 180,0 0-90,-1 0 0,1 1 0,1-1 0,-1 2 0,1-1 0,0 1 0,0-1 0,-10 1 90,9 0-180,-8-1 180,11 0-90,1-1 0,0 0 90,-8 0-90,8 0 0,-5-1 0,8 0 90,1-1-90,1 1 90,0-1 0,1-1 90,1 1 0,0-1 0,1 0-90,2 0 89,1-1 1,2 1 0,0-1 90,1 0-90,-2-1-90,0-2-90,-1-3 90,1-2-90,5 0 0,1-1-90,3 2 180,0-1 0,1-1 0,0-1 0,0 0 90,0-2-90,0-1 0,0-1 89,0 1-89,0-1 0,0-1 0,0 0 90,1-10-180,-1 5 90,1-7-90,0 6 0,1-2 90,0-1-90,1-4 0,0-2 90,1-4-90,0-4-296,1-3 206,2-3 90,0-2-90,1-1 0,1-1 90,0 0-180,1 0 90,0 1-180,4-18-89,-4 17 89,3-8-180,-6 23-90,-1 6-449,0 4-450,-2 5-64,1 2 1503,0 5 0,-2 6 0,0 3 0</inkml:trace>
</inkml:ink>
</file>

<file path=ppt/ink/ink3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9:22.975"/>
    </inkml:context>
    <inkml:brush xml:id="br0">
      <inkml:brushProperty name="width" value="0.08571" units="cm"/>
      <inkml:brushProperty name="height" value="0.08571" units="cm"/>
      <inkml:brushProperty name="color" value="#E71224"/>
    </inkml:brush>
  </inkml:definitions>
  <inkml:trace contextRef="#ctx0" brushRef="#br0">422 24 8252,'-19'-11'1260,"1"1"-6471,2 8 5931,-12 3-361,5 2 1680,-22 9-1589,7 4-181,0 3 771,6 3-950,15-4 180,-1 10-180,8-6 3571,2 18-3481,8-14-90,6 9 90,4-6-90,3 2 90,4 3-90,2-1 90,1 0 0,9 14 0,-9-13-90,4 9 89,-11-17 1,-3-3 90,-1 0 270,-3 5-360,-3-7 90,-3 3 0,-5-8-1,-2-1 91,-5-1 90,-10 3-180,2-6-180,-9 1 90,7-6 89,-20-3-269,16-2-90,-13-2-89,20-2-631,-4-5 180,8 0-1888,-5-14 1528,14 9-179,3-11-810,8 8 1979,12-13 0,0 5 0,9-10 0</inkml:trace>
</inkml:ink>
</file>

<file path=ppt/ink/ink3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9:23.153"/>
    </inkml:context>
    <inkml:brush xml:id="br0">
      <inkml:brushProperty name="width" value="0.08571" units="cm"/>
      <inkml:brushProperty name="height" value="0.08571" units="cm"/>
      <inkml:brushProperty name="color" value="#E71224"/>
    </inkml:brush>
  </inkml:definitions>
  <inkml:trace contextRef="#ctx0" brushRef="#br0">0 12 9691,'22'-9'4048,"-4"6"-3508,-7 6-90,-4 6-91,-3 1-89,-1 4 0,-2 2 0,1 2-90,-1 3-90,0 2 90,0 3-90,1 0 0,0 2 0,0 0-1,-1 2-89,2 1-179,-1 2-271,1-1-90,-1 1-359,1-3-91,0 1-2428,0 8 540,0-10 2878,1 7 0,-2-12 0,0-1 0</inkml:trace>
</inkml:ink>
</file>

<file path=ppt/ink/ink3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9:23.628"/>
    </inkml:context>
    <inkml:brush xml:id="br0">
      <inkml:brushProperty name="width" value="0.08571" units="cm"/>
      <inkml:brushProperty name="height" value="0.08571" units="cm"/>
      <inkml:brushProperty name="color" value="#E71224"/>
    </inkml:brush>
  </inkml:definitions>
  <inkml:trace contextRef="#ctx0" brushRef="#br0">30 244 9512,'-9'-14'4497,"-1"-1"-3687,5 5-361,0-2-269,5-1-90,4 4 0,4-2 0,4 4 0,3-1 0,3 1-90,6-1 0,2 1 90,3-2 0,53-7-90,-36 7-416,37-6 416,-50 8 90,-2 1 0,-1-1 90,-4 1 0,-2-1 0,-5 1-90,-2 1 90,-2-1 325,-2 1-415,-3 0-90,-1-1 0,-11 1 90,-1 2-90,-10 4 0,0 2 90,-3 3-90,-1 2 0,0 2 90,-1 1-90,1 1 90,-3 8-90,5-5 90,-4 12 0,9-6-90,3-1 0,4-1 90,8-3 0,8-2-90,1-1 0,5-5 0,-3-5 0,1-3 0,12-4 0,-7-2 90,10-5-90,-11 1 0,9-5 180,-9 2-1,9-4-89,-15 8-90,5-2 90,-7 4-90,1 3 90,-5 6-90,-3 6 0,-4 9 0,-1-3-359,-1 10 89,1-10-180,0 6-90,0-7-89,0 1-91,0 0-179,0-1-1,1 1-89,0-3-2070,0 1 3059,2-1 0,-3-5 0,2 0 0</inkml:trace>
</inkml:ink>
</file>

<file path=ppt/ink/ink3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9:23.932"/>
    </inkml:context>
    <inkml:brush xml:id="br0">
      <inkml:brushProperty name="width" value="0.08571" units="cm"/>
      <inkml:brushProperty name="height" value="0.08571" units="cm"/>
      <inkml:brushProperty name="color" value="#E71224"/>
    </inkml:brush>
  </inkml:definitions>
  <inkml:trace contextRef="#ctx0" brushRef="#br0">24 6 11041,'12'-6'3957,"-5"6"-3597,-8 15-90,-3 1 0,0-3-90,0 1 0,0 0 90,-1 1-1,1 0-89,0-2 0,1 0 90,0-1 360,0 2-3033,0-2 2403,5-3 90,1-6 0,6-9-90,-1-2 90,1-1 0,2-1 90,0 0 0,0 0 3302,0 0-3302,0 1-180,-1 1 90,0 1-90,-1 2 179,7 1-179,-2 3 0,3 2 0,-5 4 90,-4 2-90,1 1-90,0 2-179,3 6-541,0 3 180,0 1-179,-3 0-271,-3-7-1438,2 7-181,-3-7-1438,2 4 4137,-3-7 0,-2-5 0,0-2 0</inkml:trace>
</inkml:ink>
</file>

<file path=ppt/ink/ink3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9:24.670"/>
    </inkml:context>
    <inkml:brush xml:id="br0">
      <inkml:brushProperty name="width" value="0.08571" units="cm"/>
      <inkml:brushProperty name="height" value="0.08571" units="cm"/>
      <inkml:brushProperty name="color" value="#E71224"/>
    </inkml:brush>
  </inkml:definitions>
  <inkml:trace contextRef="#ctx0" brushRef="#br0">129 47 9781,'13'-21'3598,"-3"4"-1799,-2 9-899,-2 9-360,-1 9-181,-2 6 1,-4 4 0,-1-2-180,0 2 90,-2 2-180,0 1 89,-2 0-89,-1 2 0,-2 0 0,-1 0-3392,-1 0 3392,-1-3-90,1-1 90,-1-3-90,1-2 0,1-3-90,1-1-449,0-3 3211,-2-2-3122,0-5 0,0-4 181,4-6 179,4-5 0,4-3 90,4 1 0,3 1 270,3 6-180,4 3-1,-2 5 91,2 3-90,-4 1 90,2 1 0,2 1 0,0 1 0,2 1-90,1 0 90,0 1-90,0-1-90,0 0 90,-1 0 0,0-2-90,-1-1 90,0-2-90,0 0 0,-1-2 89,0-2-89,-1-1 0,0-2 0,-1-2 0,-1-3 0,-1-2 0,-1-3 0,-1-1-89,-1-1 89,-3 1 0,0 0 89,-2 1-89,-2-5 0,-1 6 0,-3-2 0,-2 7 90,-1 2 0,-6 1 0,-2 5-90,-1 1 90,1 4-90,4 2 90,1 0-90,1 2 0,2 1 90,0 1-90,2 0 90,2 0 0,1 5-90,3 0 0,1-1 0,2-2-180,1-5-90,1-2-89,1-1-451,0-1 180,6-2 1,-3-2-91,4-3 180,-3-3 91,0-1 89,0-4 90,1 0 0,1-2 270,-1-1 0,0 1 180,0 0-90,-2 1 90,0 1-90,-1 2 180,-1 1 269,2 2 91,-1 4-360,3 7 90,-4 3-90,-3 7-1,-2-1 1,-1 3 0,0 1-90,-1 2 0,0 1 90,0 10-180,-1-6 0,-1 6 0,0-11-90,-1 0 90,-1-1-90,1-2 89,-1-2-89,0-1-359,-1 0-721,-2-5 451,-1-2-91,0-9 180,2-7-179,2-4-451,3-1-179,2-2-360,0 1-1079,2 1 2788,0 1 0,-2 5 0,0 2 0</inkml:trace>
</inkml:ink>
</file>

<file path=ppt/ink/ink3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9:25.403"/>
    </inkml:context>
    <inkml:brush xml:id="br0">
      <inkml:brushProperty name="width" value="0.08571" units="cm"/>
      <inkml:brushProperty name="height" value="0.08571" units="cm"/>
      <inkml:brushProperty name="color" value="#E71224"/>
    </inkml:brush>
  </inkml:definitions>
  <inkml:trace contextRef="#ctx0" brushRef="#br0">1 198 10591,'16'-4'2698,"-2"3"-2248,-4 5 90,-1 3 0,1 2-91,1 2-89,-1 2 450,6 10-451,-5-4 181,5 16-360,-8-14 90,0 5 0,-5-9-90,-2-1-1,-2 0-89,-1-1 0,-1-1 90,0-2-90,-1-1 90,-1-2 0,-3 0 0,-1-5-180,-3-5 90,4-4-90,2-6 0,3 0-90,3-2 90,1-3 0,2-2-90,2-2-90,9-12 90,-2 7-90,6-9-90,-4 12 1,1 1-91,1 1 0,1 1-180,-1 2 1,0 2-1,0 1 0,0 1-89,1 2 179,-1 0 0,1 1 90,-2 0 0,-1 2 181,-1 0-91,0 0 180,0 1-90,-1-1 180,1 0 0,-2 0 90,0 0 180,0 0 179,-1 1 1,-1 0 719,-1 1-359,2-2-360,0 1 179,1-1-89,-2 7-270,-3 7 0,-2 5 0,-4 6 179,-4 11-269,-1-5 0,-3 11 0,1-8 90,-2 0-90,0 1 0,-2-1 0,-1-1-90,-1 0 89,-8 7-89,6-11 0,-11 11 0,13-19-90,-3 2 0,6-9-270,-1-3 1,3-3 269,2-8-90,6 1 0,5-4 90,3 4-90,1 0 90,2 0-90,2 1 90,0 0 0,1 1-180,0 2 90,1 0-90,0 1 0,0 2-90,-1 0-89,1 3-91,1 0 0,-1 2-180,0 1-89,-2 1-181,1 1-89,-2 1-90,-1 0-271,-1 2-539,-2-1-629,0 1 2518,-1-1 0,-3-4 0,-2-2 0</inkml:trace>
</inkml:ink>
</file>

<file path=ppt/ink/ink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28.534"/>
    </inkml:context>
    <inkml:brush xml:id="br0">
      <inkml:brushProperty name="width" value="0.1" units="cm"/>
      <inkml:brushProperty name="height" value="0.1" units="cm"/>
    </inkml:brush>
  </inkml:definitions>
  <inkml:trace contextRef="#ctx0" brushRef="#br0">0 88 1412 0 0,'9'-12'2546'0'0,"1"5"-2173"0"0,0 1 1 0 0,1 0 0 0 0,0 0-1 0 0,0 1 1 0 0,1 1 0 0 0,0 0 0 0 0,17-4-1 0 0,92-13-752 0 0,-104 19-88 0 0,28-1-2510 0 0,-32 0 2257 0 0</inkml:trace>
</inkml:ink>
</file>

<file path=ppt/ink/ink3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9:26.030"/>
    </inkml:context>
    <inkml:brush xml:id="br0">
      <inkml:brushProperty name="width" value="0.08571" units="cm"/>
      <inkml:brushProperty name="height" value="0.08571" units="cm"/>
      <inkml:brushProperty name="color" value="#E71224"/>
    </inkml:brush>
  </inkml:definitions>
  <inkml:trace contextRef="#ctx0" brushRef="#br0">110 8 11490,'-9'-6'2699,"0"4"-2249,-4 16-1,0 0-89,0 5-90,1 1 0,-1 3 0,3-1 449,-1 22-449,7-16-90,2 17 270,14-9-270,0-9 90,21 19-181,-8-21 1,11 4-90,-10-12 90,0-5-90,-1-3 0,0-3-90,-1-2-89,-3-2-1,1-4 0,-1-2-90,-1-3 90,-1-3 0,-2-3 90,-2-1 0,-1-2 0,-3 0 0,-2 0 0,-3 1 90,-2 1 90,-3 2-90,-3 1 90,-8-3-90,1 7 90,-12-1-90,9 9 0,-4 3 90,1 5 0,5-1 90,-2 3 0,7-1 90,2 0-90,5 10-90,2-6 179,9 10 1,3-10-90,7-1 0,-5-6 0,9-5-90,-15-4-90,6-4 0,-10-1 90,-2-1-90,-2-2-450,-2-12 90,-2 7-809,-5-15 449,-1 14-269,-2-4 0,2 6-1530,-4-5-2428,1-1 4947,-1 0 0,4 7 0,3 8 0</inkml:trace>
</inkml:ink>
</file>

<file path=ppt/ink/ink3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9:26.445"/>
    </inkml:context>
    <inkml:brush xml:id="br0">
      <inkml:brushProperty name="width" value="0.08571" units="cm"/>
      <inkml:brushProperty name="height" value="0.08571" units="cm"/>
      <inkml:brushProperty name="color" value="#E71224"/>
    </inkml:brush>
  </inkml:definitions>
  <inkml:trace contextRef="#ctx0" brushRef="#br0">1 0 8702,'18'19'3328,"-2"-1"-2518,-4-2-91,-1 2 1,0 2-180,-1 2-1,0 0-89,-1 1-180,-1-1 90,-1 0-91,0 0 91,-2-3-180,1-1 90,-2-2 90,0-1 90,-1-3 719,0-1 180,1 2-1439,0-14-90,0 0 0,0-15 90,-1 0 0,1-3 1,1-1-1,2-5 0,1 1 0,2-3 90,0 2 0,0 1 0,0 2 0,0 3-90,-2 2 90,0 3-90,-1 1 90,-1 3 0,4 2 0,-1 5 0,1 4-90,-1 5 180,-3 3-180,1 2 180,0 2-90,1 3 0,-1 1 90,1 1-90,1 2 90,-1-1 0,1 0 0,0-1 0,1 4-1,-1-5 721,2 5-180,-5-11-181,4 2-89,-1-9-270,4-4 90,-3-4-180,1-5 90,-3 0-90,-1-2 90,0-2-90,-1 0-90,0-2-90,-1 0 0,0 0-899,-1-8 359,-1 6-179,0-5-2969,-2 4-360,-2 0 4228,0-1 0,0 9 0,0 4 0</inkml:trace>
</inkml:ink>
</file>

<file path=ppt/ink/ink3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9:27.003"/>
    </inkml:context>
    <inkml:brush xml:id="br0">
      <inkml:brushProperty name="width" value="0.08571" units="cm"/>
      <inkml:brushProperty name="height" value="0.08571" units="cm"/>
      <inkml:brushProperty name="color" value="#E71224"/>
    </inkml:brush>
  </inkml:definitions>
  <inkml:trace contextRef="#ctx0" brushRef="#br0">0 0 16528,'23'9'449,"1"-1"-808,-2-3-271,5 1-450,4 0-269,1 0-1079,1 0-1350,1-2 2930,0 0 0,3-2 0,-1 1 0</inkml:trace>
</inkml:ink>
</file>

<file path=ppt/ink/ink3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9:55.886"/>
    </inkml:context>
    <inkml:brush xml:id="br0">
      <inkml:brushProperty name="width" value="0.08571" units="cm"/>
      <inkml:brushProperty name="height" value="0.08571" units="cm"/>
      <inkml:brushProperty name="color" value="#E71224"/>
    </inkml:brush>
  </inkml:definitions>
  <inkml:trace contextRef="#ctx0" brushRef="#br0">0 0 12120,'27'1'450,"1"0"-360,-3 0 0,5 0-180,2 1-180,3 0-270,0 1-1978,13 3 539,-15-1 1979,8 2 0,-17-2 0,-2 1 0</inkml:trace>
</inkml:ink>
</file>

<file path=ppt/ink/ink3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9:56.024"/>
    </inkml:context>
    <inkml:brush xml:id="br0">
      <inkml:brushProperty name="width" value="0.08571" units="cm"/>
      <inkml:brushProperty name="height" value="0.08571" units="cm"/>
      <inkml:brushProperty name="color" value="#E71224"/>
    </inkml:brush>
  </inkml:definitions>
  <inkml:trace contextRef="#ctx0" brushRef="#br0">6 0 9871,'-4'10'1889,"2"-2"-1619,18-5-180,1-1 0,5-1-90,4 2-270,4 0-180,2 0-179,1 0-271,0 2-449,-1-1 90,-3 0 1259,-2 0 0,-2-1 0,0 1 0</inkml:trace>
</inkml:ink>
</file>

<file path=ppt/ink/ink3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9:57.644"/>
    </inkml:context>
    <inkml:brush xml:id="br0">
      <inkml:brushProperty name="width" value="0.08571" units="cm"/>
      <inkml:brushProperty name="height" value="0.08571" units="cm"/>
      <inkml:brushProperty name="color" value="#E71224"/>
    </inkml:brush>
  </inkml:definitions>
  <inkml:trace contextRef="#ctx0" brushRef="#br0">12 102 9781,'-1'22'990,"0"-5"-630,-1 2-91,0-2-179,0 5 90,1-4-90,0 3 0,1-2 0,-1 4 0,2 1 0,-1 0-90,0-5 90,1-2 0,-1 0-90,1 1 90,1 3-90,-1-2 90,1-2 0,-1-2 0,0-1-90,-1-13 0,0-6-90,-2-10-90,1-5 90,1 1-90,0-4 0,1-3 0,1-4 90,3-2 0,2-4 0,2-1 90,3 0-90,2 2 180,2 2-90,0 5 0,2 1-90,0 6 90,0 2 0,0 3 0,-1 4 0,-1 4 0,-1 3-89,-1 3 89,-2 3 0,3 6 0,-5 2 179,1 5 91,-7 7-90,-3-4 0,-5 9 0,-3-5 0,-4 1 90,-11 10-180,3-7 0,-7 5-90,6-10 90,-1-2 0,1-1-90,1-2 0,1-2 89,2-1-178,2-2-1,1-1-90,3-2-90,0 0-810,2-2 1080,-2 2 0,6-4 0,-1 0 0</inkml:trace>
</inkml:ink>
</file>

<file path=ppt/ink/ink3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9:58.176"/>
    </inkml:context>
    <inkml:brush xml:id="br0">
      <inkml:brushProperty name="width" value="0.08571" units="cm"/>
      <inkml:brushProperty name="height" value="0.08571" units="cm"/>
      <inkml:brushProperty name="color" value="#E71224"/>
    </inkml:brush>
  </inkml:definitions>
  <inkml:trace contextRef="#ctx0" brushRef="#br0">1 138 7173,'17'-4'1529,"0"1"-1079,-6 0 0,1-1-91,0 0-89,1-1 90,-2 1-90,0-1-90,-1 1 0,-1-1-1,0 0 91,-2 0-180,2-2-90,-3 0 90,-5-2-90,-7 4 0,-5 3 90,-3 5-90,2 1 90,-1 2-90,0 1 180,1 0-90,0 2-90,1 0 90,2 2 0,1-1 0,2 2 0,0-1 90,3 0-90,2 5-90,1-5 90,4 4 0,2-5-90,2-1 89,2-1-89,3-1 90,0-1-90,2-2 90,1-2-90,0-2 0,1-1 0,2-3 0,1-2 0,1-4-90,2-2 90,-1-2 0,1-2 0,-2 0-90,-1-1 180,-2 2-3482,-1 0 3482,-3 3-90,-2 2 0,-1 0 0,-1 2 0,-1 2 0,1-1 0,0 5 90,1 3 3482,-2 7-3482,-2 6 0,-3 0 90,-1 5 0,-1-3 90,0 4 899,-1-3-90,-1-1-1079,4-13 90,-2-2 0,4-12-90,-2 0-90,2-1 0,1-2-89,1-1-91,0-1 0,2-1-90,-1 1 0,1 1-179,-1 1-1,-1 2-180,-1 1-539,0 2 180,2 0 89,0 3 91,3 2-630,-2 6 1169,1 5 360,-2 1 0,-4-1 0,-2-4 0</inkml:trace>
</inkml:ink>
</file>

<file path=ppt/ink/ink3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9:59.086"/>
    </inkml:context>
    <inkml:brush xml:id="br0">
      <inkml:brushProperty name="width" value="0.08571" units="cm"/>
      <inkml:brushProperty name="height" value="0.08571" units="cm"/>
      <inkml:brushProperty name="color" value="#E71224"/>
    </inkml:brush>
  </inkml:definitions>
  <inkml:trace contextRef="#ctx0" brushRef="#br0">42 235 7353,'15'-9'1349,"-2"-1"-899,-4 2 0,-1-2-91,0 0 91,-2 0-180,0 0 270,-2 0-271,-1-3 1,-3 2 180,-5-1-270,-6 7-90,-1 4 0,-1 4 0,3 2 90,0 1 0,0 2-90,1 2-1,0 1 1,2 1 0,1 1 90,0 6-180,3-4 0,1 4 90,3-6-90,2 0 0,1 0 90,2-1-90,3-2 0,0 0 0,3-3 0,0-1-90,3-2-90,0-2 0,2-4-89,1-1-1,1-4-90,2-3 0,1-3-90,2-5 91,0-3 89,1-3 0,-1-3 180,-1-1 180,0 1 90,-1-1 180,-3 4-1,-2 2 1,-2 4-90,-3 2-90,-1 3-90,-2 1 360,-1 4 269,1 2-359,-2 7 0,0 4 0,-3 5-1,-2 4-89,-1 2 90,-1 3 0,0 3-90,-1 2 0,0 2-91,-1 1 1,0 1 0,0-1 0,0-1 0,0 0-90,-1-2 0,1-2 0,0-2 0,-1-3 180,1-1 359,1-3 91,-1 3-720,6-12-90,-1-1-90,8-14 90,-2-3-90,2-2 90,1-1 0,1 1 0,0 0-90,1 1 90,0 1 1,-1 1-1,0 2 0,0 1 90,-1 3-90,-1 1 0,0 2 0,4 3 90,1 2 0,0 2-90,-1 2 90,-4 1 0,1 0 0,-1 1 0,1 0 0,0 1 0,0-1 0,0 1 0,1-1-90,-1-1 90,1 0-90,-1-2 90,0 0-90,1-2 0,-1-2 0,1 0 0,1-3 0,0 0 0,1-3 0,-1-1 0,1-3 0,-1-1 0,-1-2 1,3-4-1,-6 3 90,1-3-90,-5 6 0,-2 0 0,-6 1 0,-4 0 90,-7 7 0,0 3-90,-4 5 90,7 0 0,-2 2 0,5 0-90,1 0 90,-1 3 0,2 1 90,3 4-90,5-4 0,5-2-90,6-5 0,-1-2 90,2-4-180,-3-1 180,0-2-90,1-1 0,-1 0 90,0-1-90,-1 0 90,-1 1 0,-1 0-90,0 1 0,0-2 0,1 2 0,2 1 90,-3 7 0,0 3 0,-3 5 0,0 1 0,2 0 0,0 1 90,0-4-90,3 2 90,0-5-90,5 1-180,0-2-179,1-3-361,-2-2-269,1-1-1350,-2 0 2339,0 0 0,-6 1 0,-1-1 0</inkml:trace>
</inkml:ink>
</file>

<file path=ppt/ink/ink3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9:59.727"/>
    </inkml:context>
    <inkml:brush xml:id="br0">
      <inkml:brushProperty name="width" value="0.08571" units="cm"/>
      <inkml:brushProperty name="height" value="0.08571" units="cm"/>
      <inkml:brushProperty name="color" value="#E71224"/>
    </inkml:brush>
  </inkml:definitions>
  <inkml:trace contextRef="#ctx0" brushRef="#br0">0 1 8702,'4'21'2429,"-1"2"-2070,-3-7-89,0 2 90,0-6-90,1 5 180,-1 0 179,0 3 810,0-4-1439,7-10 90,-2-4-90,6-9 90,-4-1-90,2-2 0,1 1 0,-1 0 0,1 1 0,-1 1-90,1 1 90,2 0 0,1 4 0,4 3-90,-5 2 180,0 3-180,-3 1-3302,-1 0 3392,1 1 0,3 4 0,0 1 0,-1 0 0,-1-3 90,-3-2-90,2-2 3482,2 0-3482,2-6 90,-2-2-180,1-3 180,-4 0-180,1-3 180,0 0-90,0-2 0,0-1 0,0 0 0,0 1 0,-1-1 0,-1 2 0,-1 1-90,0 0-90,1 0 180,-5 8-89,0 3 89,-4 9-180,0 0-3059,0 1 3239,5-4 0,-3-2 0,3-5 0</inkml:trace>
</inkml:ink>
</file>

<file path=ppt/ink/ink3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0:10.544"/>
    </inkml:context>
    <inkml:brush xml:id="br0">
      <inkml:brushProperty name="width" value="0.08571" units="cm"/>
      <inkml:brushProperty name="height" value="0.08571" units="cm"/>
      <inkml:brushProperty name="color" value="#E71224"/>
    </inkml:brush>
  </inkml:definitions>
  <inkml:trace contextRef="#ctx0" brushRef="#br0">69 0 9422,'-10'19'1079,"2"0"-6470,2-4 5751,-2 13-180,1-6 1499,-2 23-1589,2-4 90,1 2 679,2-1-859,2 2-90,1-10-180,0 8 1,2-14-1,1-1 3032,0-1-3392,2-1-629,0-2 180,1 0 1079,2-4 0,1 1 0,1-2 0</inkml:trace>
</inkml:ink>
</file>

<file path=ppt/ink/ink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28.945"/>
    </inkml:context>
    <inkml:brush xml:id="br0">
      <inkml:brushProperty name="width" value="0.1" units="cm"/>
      <inkml:brushProperty name="height" value="0.1" units="cm"/>
    </inkml:brush>
  </inkml:definitions>
  <inkml:trace contextRef="#ctx0" brushRef="#br0">1 37 704 0 0,'4'4'5444'0'0,"-5"-4"-5363"0"0,22 0 1081 0 0,22-7-1159 0 0,-12 2 158 0 0,65-15-2580 0 0,-83 13 363 0 0,-10 6 1380 0 0</inkml:trace>
</inkml:ink>
</file>

<file path=ppt/ink/ink3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0:11.161"/>
    </inkml:context>
    <inkml:brush xml:id="br0">
      <inkml:brushProperty name="width" value="0.08571" units="cm"/>
      <inkml:brushProperty name="height" value="0.08571" units="cm"/>
      <inkml:brushProperty name="color" value="#E71224"/>
    </inkml:brush>
  </inkml:definitions>
  <inkml:trace contextRef="#ctx0" brushRef="#br0">64 219 7353,'-1'21'1079,"1"0"-719,0-5-180,0 3 0,-1 0 0,1 0 0,0 0-90,-1-1 89,1 0 1,-1 0 0,1-2 0,0 0 90,-1-2 360,1 3 89,-1-2-179,-2 1-360,-4-8-90,1-6 0,-4-7 0,3-5-90,0-3-90,0-5 0,2-4-90,1-3 0,3-5-90,2-3 90,3-6 0,4-2-180,3-2 180,3 1 180,3 3-90,1 3 0,1 4 0,-1 5 90,-1 5-90,-2 7 90,-1 4 0,-1 5-90,3 5 361,-5 3-271,3 6 90,-6 2-90,-2 3 0,-1 2 0,-3 1 0,0 2 0,-3 2 0,-1 1 0,-2 1 0,-3 3 0,-2 1-90,-2 1 90,0-1-180,-3-1 90,1-1-90,-1-1-180,1-3 0,1-1-179,2-3 179,0-2-90,2-2 0,1-1-809,2-2 1259,-1 1 0,4-5 0,-1-1 0</inkml:trace>
</inkml:ink>
</file>

<file path=ppt/ink/ink3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0:11.564"/>
    </inkml:context>
    <inkml:brush xml:id="br0">
      <inkml:brushProperty name="width" value="0.08571" units="cm"/>
      <inkml:brushProperty name="height" value="0.08571" units="cm"/>
      <inkml:brushProperty name="color" value="#E71224"/>
    </inkml:brush>
  </inkml:definitions>
  <inkml:trace contextRef="#ctx0" brushRef="#br0">113 92 7083,'18'-20'720,"-3"2"-541,-8 7-89,-1 1-90,0 1 0,-1 1 90,-5 0-90,-4 3 90,-7 2 0,-2 3 0,-2 2 90,0 0-90,0 1 0,0 2 0,-1 0 0,4 0-90,1 0 90,4 0 0,-3 3 0,1 1 0,0 3 0,3 2-90,4 0 90,2 0-90,3 0 0,2-1 90,1-2-1,2-2-89,1-1 90,2-4-180,1-2-89,2-2-271,1-4-180,1-1-449,0-1 1079,-2 1 0,-6 2 0,-3 1 0</inkml:trace>
</inkml:ink>
</file>

<file path=ppt/ink/ink3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0:45.327"/>
    </inkml:context>
    <inkml:brush xml:id="br0">
      <inkml:brushProperty name="width" value="0.08571" units="cm"/>
      <inkml:brushProperty name="height" value="0.08571" units="cm"/>
      <inkml:brushProperty name="color" value="#E71224"/>
    </inkml:brush>
  </inkml:definitions>
  <inkml:trace contextRef="#ctx0" brushRef="#br0">746 253 8162,'7'-18'1529,"0"2"-1079,-4 6-270,-1-6-90,-1 4 90,-1-5 90,-4-1-270,-1 4 90,-2-4-90,0 4 90,-2 0-90,-1 0 90,-2 0-180,-1 1 90,-10-3 90,4 6-90,-8-2 0,5 7-90,-1 3 180,-1 2-180,-3 4 180,-2 5-180,-2 3 180,-1 6-90,0 4 90,0 7 0,-1 7-90,0 6-933,-12 29 1023,11-12 0,-8 22-90,16-18 180,1 4-180,2 5 90,2 3 89,2 3-179,3 2 90,2 2-90,2 2 90,2 0-45,5-23 0,0 1-45,0 34-718,1-32 0,2-1 718,0 27 0,1 1 0,1 0 0,0-2 90,0 0-180,0-1 180,0 0-446,1-9 0,0 5 401,-1-13 0,1-1-670,-1 15 0,1-2 625,-1-22 0,1-6 0,-1 20 93,1-7-3,0-4-90,0-7 0,1-2 90,0-3 937,0-3-937,1-5-1,0-2 1,0-6 0,0-2 787,0-3-787,0-3 1769,1-3-1769,-1-2 1034,1-3-944,-1-1 431,3 3-431,-1-6 89,2 3-89,-1-9 0,-1-1-90,3-2 90,0-1-180,2-1 180,1-2-180,2-1 90,2-1-90,2-1-90,2-1-180,2-1-180,1-1-89,1-1-1260,14-3-450,-8 0-899,9-2 3148,-11 1 0,1-1 0,0-1 0</inkml:trace>
</inkml:ink>
</file>

<file path=ppt/ink/ink3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9:27.907"/>
    </inkml:context>
    <inkml:brush xml:id="br0">
      <inkml:brushProperty name="width" value="0.08571" units="cm"/>
      <inkml:brushProperty name="height" value="0.08571" units="cm"/>
      <inkml:brushProperty name="color" value="#E71224"/>
    </inkml:brush>
  </inkml:definitions>
  <inkml:trace contextRef="#ctx0" brushRef="#br0">54 139 8792,'-4'-23'2608,"1"2"-1798,0 8 0,2 1 179,-1 0-269,0-2 449,0 0-899,0 10 0,1 5 89,-1 12-89,2 4 0,1 4 0,-1 3 0,1 3 0,0 2-1,0 1-3391,1 2 3392,0-1 0,0-1-90,0-2 90,0 0-180,-1-3 90,1 0-90,0-4 3481,-1-2-3571,0-2 180,0-1 450,-1-3 449,1 4-89,0-3-900,-6-5-90,1-7-90,-3-10 0,2-4-90,-1-6 90,1-3-90,0-7 90,1-3-90,0-4 180,3-2 0,0-1-90,3-1 90,1 2 0,1 1 0,2 3-90,0 2 90,1 4 0,1 3-90,6 0 90,-3 8-90,10 0 90,-7 12-89,4 5 89,-4 7-90,1 5 0,8 19 180,-6-4-180,6 15 180,-8-8-90,-1 1 90,-2 0-90,-2-2 89,-2 0 1,-4-4 90,-2-1-90,-2-2 0,-3 0 0,-1-2-90,-4 0 90,-1-1-90,-3-3 90,-7 4 0,2-8-90,-5 1 0,6-9-180,0-2-90,1-3-90,0-2-89,0-1-181,0-3 0,0 0-89,2-2-181,0 0-179,1-2-180,1 0-180,2-1-1440,2 0 2879,1-1 0,2-7 0,0-3 0</inkml:trace>
</inkml:ink>
</file>

<file path=ppt/ink/ink3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9:28.229"/>
    </inkml:context>
    <inkml:brush xml:id="br0">
      <inkml:brushProperty name="width" value="0.08571" units="cm"/>
      <inkml:brushProperty name="height" value="0.08571" units="cm"/>
      <inkml:brushProperty name="color" value="#E71224"/>
    </inkml:brush>
  </inkml:definitions>
  <inkml:trace contextRef="#ctx0" brushRef="#br0">1 56 9602,'18'-18'2518,"-2"3"-2068,-4 7-90,-1 1 179,1 2-359,3 3 90,-3 2 0,2 2-90,-6 3 0,0 1 90,-2 1-91,0 2 91,-2 1-90,-1 1 90,-1 0 0,-1 1 0,0 0-90,-2 1 0,0-1 89,0 0 91,-1 4 270,0-1 269,0 1 361,0-1-811,1-2-89,4-4-180,3-1-180,6-4-630,3-2-539,1-2-540,1 0-720,0-3-1438,0 1 3867,-1-1 0,-7 2 0,-1 0 0</inkml:trace>
</inkml:ink>
</file>

<file path=ppt/ink/ink3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9:28.412"/>
    </inkml:context>
    <inkml:brush xml:id="br0">
      <inkml:brushProperty name="width" value="0.08571" units="cm"/>
      <inkml:brushProperty name="height" value="0.08571" units="cm"/>
      <inkml:brushProperty name="color" value="#E71224"/>
    </inkml:brush>
  </inkml:definitions>
  <inkml:trace contextRef="#ctx0" brushRef="#br0">0 0 10861,'17'9'3688,"-3"-1"-2969,-6 3 1,-4 0-1,1 2-179,-2 2 0,0 2-90,-1 1-91,-1 2-89,-1 0 0,0 1-90,-1 1 0,0 1-90,-1 1 90,1 0-180,-2-1 0,1-2-270,-1 0-90,1-2-180,-1-1-89,1-1-91,0-3-899,0 0-630,0 2 2249,1-3 0,-1-3 0,2-5 0</inkml:trace>
</inkml:ink>
</file>

<file path=ppt/ink/ink3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9:28.644"/>
    </inkml:context>
    <inkml:brush xml:id="br0">
      <inkml:brushProperty name="width" value="0.08571" units="cm"/>
      <inkml:brushProperty name="height" value="0.08571" units="cm"/>
      <inkml:brushProperty name="color" value="#E71224"/>
    </inkml:brush>
  </inkml:definitions>
  <inkml:trace contextRef="#ctx0" brushRef="#br0">83 1 12480,'-14'1'1439,"1"1"-989,4 4 0,1 0 89,-1 1-89,1 2-90,1 0 989,-1 12-899,4-8 359,2 16 361,23 10-990,-8-14-91,15 12-89,-15-24-89,0-2-91,-1 0-90,0-3-90,-1 1-809,4 1 449,-3-3-1439,1 1-1798,-2-3 3957,0-1 0,-3-2 0,-2-1 0</inkml:trace>
</inkml:ink>
</file>

<file path=ppt/ink/ink3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9:29.079"/>
    </inkml:context>
    <inkml:brush xml:id="br0">
      <inkml:brushProperty name="width" value="0.08571" units="cm"/>
      <inkml:brushProperty name="height" value="0.08571" units="cm"/>
      <inkml:brushProperty name="color" value="#E71224"/>
    </inkml:brush>
  </inkml:definitions>
  <inkml:trace contextRef="#ctx0" brushRef="#br0">253 1 10951,'-5'15'2428,"-2"1"-1888,-2-2-90,-3 4-90,-2 1-91,-1 2 181,-9 12-90,-7 14-270,4-8-360,-5 15 0,18-31-269,-2 6-181,6-11-1529,-2 3 360,4-7 1889,-2 2 0,6-10 0,2-3 0</inkml:trace>
</inkml:ink>
</file>

<file path=ppt/ink/ink3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9:29.284"/>
    </inkml:context>
    <inkml:brush xml:id="br0">
      <inkml:brushProperty name="width" value="0.08571" units="cm"/>
      <inkml:brushProperty name="height" value="0.08571" units="cm"/>
      <inkml:brushProperty name="color" value="#E71224"/>
    </inkml:brush>
  </inkml:definitions>
  <inkml:trace contextRef="#ctx0" brushRef="#br0">0 24 10141,'9'-15'5667,"3"7"-4947,-3 7-91,2 8 1,-3 3-1,2 4-179,1 3 0,3 3-180,0 3-90,2 1 0,0 3 89,1 1-179,-1-1 0,-1 0-180,-1-1-89,-2-2-91,0-1-180,-1-2-180,-2-1-179,-1-1-91,0-2-179,-1-2-180,-1-1-91,-2-2-4676,1-2 6026,1 0 0,-4-5 0,2-1 0</inkml:trace>
</inkml:ink>
</file>

<file path=ppt/ink/ink3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9:29.837"/>
    </inkml:context>
    <inkml:brush xml:id="br0">
      <inkml:brushProperty name="width" value="0.08571" units="cm"/>
      <inkml:brushProperty name="height" value="0.08571" units="cm"/>
      <inkml:brushProperty name="color" value="#E71224"/>
    </inkml:brush>
  </inkml:definitions>
  <inkml:trace contextRef="#ctx0" brushRef="#br0">1 34 9512,'10'-21'5576,"0"8"-5036,-5 18 90,-1 5-181,-1 6 91,0-1 0,0 4-90,0 2-91,0 2 1,1 1-180,-1 0 90,0 0-90,0 1-90,0-1 0,1 0 90,-2-2-180,0-1 90,0-3 0,0-1-1,0-2 1,0-2 0,0 3-1079,0-3 539,2-8-90,-1-6 1,1-12 89,0-4 0,0-4 91,1-5 179,1-2-3482,0-2 3572,1 0 90,-1 3 90,-1 1 90,0 4 0,-1 1-90,-1 3-90,0 3 89,0 1 3843,0 0-3662,-2 12-90,1 5-90,-1 10 180,4 9-90,-1-8-90,2 4-1,0-6 1,0 0 0,0-1 0,5 2 0,-1-5-90,3 0 90,-3-6-90,2-1 0,-1-1 90,2-3 630,9-4 179,-5 0-449,7-2 90,-9 3 179,-2 2 91,-5 6-181,-1 6-449,-6 9 90,-1-2-3482,-1 6 3392,0-5-90,0 2 0,1 2 0,0 0 0,0 2-90,0-1-90,1 1 2582,0 9-4111,1 1 540,-1 0-180,1-4-271,-1-9-268,1-2-1621,-1-1-2427,0-1 5846,0-2 0,0-6 0,-1-2 0</inkml:trace>
</inkml:ink>
</file>

<file path=ppt/ink/ink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29.304"/>
    </inkml:context>
    <inkml:brush xml:id="br0">
      <inkml:brushProperty name="width" value="0.1" units="cm"/>
      <inkml:brushProperty name="height" value="0.1" units="cm"/>
    </inkml:brush>
  </inkml:definitions>
  <inkml:trace contextRef="#ctx0" brushRef="#br0">539 8 404 0 0,'-20'-4'317'0'0,"0"2"-1"0"0,0 1 1 0 0,0 0 0 0 0,0 2 0 0 0,0 0-1 0 0,0 1 1 0 0,0 1 0 0 0,0 1-1 0 0,0 0 1 0 0,1 2 0 0 0,0 0-1 0 0,0 2 1 0 0,0 0 0 0 0,1 1-1 0 0,1 0 1 0 0,-1 2 0 0 0,1 0 0 0 0,1 1-1 0 0,-26 24 1 0 0,28-23-155 0 0,1 0-1 0 0,1 1 1 0 0,0 0 0 0 0,1 0 0 0 0,1 2 0 0 0,0-1-1 0 0,1 1 1 0 0,1 1 0 0 0,1 0 0 0 0,-10 28-1 0 0,14-33-68 0 0,0 1-1 0 0,1-1 0 0 0,0 1 1 0 0,1 0-1 0 0,1-1 0 0 0,0 1 1 0 0,0 0-1 0 0,1 0 0 0 0,1-1 1 0 0,0 1-1 0 0,1-1 0 0 0,1 0 1 0 0,-1 1-1 0 0,2-1 0 0 0,0-1 1 0 0,7 14-1 0 0,-4-11-15 0 0,1-1 0 0 0,0 0 0 0 0,1 0-1 0 0,0 0 1 0 0,1-2 0 0 0,0 1 0 0 0,1-1 0 0 0,1-1 0 0 0,0 0 0 0 0,0-1-1 0 0,0 0 1 0 0,18 7 0 0 0,-12-7-31 0 0,2-1 0 0 0,-1-1 0 0 0,1-1 0 0 0,0-1 0 0 0,1 0-1 0 0,-1-2 1 0 0,1 0 0 0 0,31-1 0 0 0,-27-3 13 0 0,1 0-1 0 0,-1-2 1 0 0,-1 0 0 0 0,1-2 0 0 0,0-1-1 0 0,-1-1 1 0 0,0-1 0 0 0,-1-2 0 0 0,33-16-1 0 0,-44 19 10 0 0,0-1 1 0 0,-1 0-1 0 0,0-1 0 0 0,0 0 1 0 0,-1-1-1 0 0,0 0 0 0 0,-1 0 0 0 0,0-2 1 0 0,-1 1-1 0 0,0-1 0 0 0,-1 0 1 0 0,0-1-1 0 0,-1 0 0 0 0,-1 0 0 0 0,0-1 1 0 0,0 1-1 0 0,6-30 0 0 0,-9 27-27 0 0,-1 0-1 0 0,-1 0 0 0 0,-1-1 0 0 0,0 1 1 0 0,-1 0-1 0 0,-1-1 0 0 0,0 1 1 0 0,-2 0-1 0 0,1 0 0 0 0,-2 0 1 0 0,0 1-1 0 0,-1 0 0 0 0,-1 0 0 0 0,-10-18 1 0 0,9 18-148 0 0,-1 1 0 0 0,-1-1 1 0 0,0 2-1 0 0,-1-1 0 0 0,0 2 1 0 0,-1-1-1 0 0,-1 2 0 0 0,0-1 1 0 0,0 2-1 0 0,-1 0 0 0 0,0 1 1 0 0,-1 0-1 0 0,-25-11 0 0 0,34 18-331 0 0,-1-1 0 0 0,1 2 0 0 0,-1-1 0 0 0,0 1 0 0 0,1 0 0 0 0,-1 0 0 0 0,0 1 0 0 0,0 0 0 0 0,0 0 0 0 0,1 0 0 0 0,-1 1 0 0 0,0 0-1 0 0,0 1 1 0 0,1-1 0 0 0,-1 1 0 0 0,1 0 0 0 0,0 1 0 0 0,-7 3 0 0 0,0 1-1261 0 0</inkml:trace>
</inkml:ink>
</file>

<file path=ppt/ink/ink3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9:30.112"/>
    </inkml:context>
    <inkml:brush xml:id="br0">
      <inkml:brushProperty name="width" value="0.08571" units="cm"/>
      <inkml:brushProperty name="height" value="0.08571" units="cm"/>
      <inkml:brushProperty name="color" value="#E71224"/>
    </inkml:brush>
  </inkml:definitions>
  <inkml:trace contextRef="#ctx0" brushRef="#br0">26 0 12120,'-17'9'3328,"8"2"-8808,10-6 5480,8 1 1229,4-2-1679,2-1 590,2 0-1220,1-1-1258,1 0 2338,9-1 0,-4 0 0,7-1 0</inkml:trace>
</inkml:ink>
</file>

<file path=ppt/ink/ink3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9:30.491"/>
    </inkml:context>
    <inkml:brush xml:id="br0">
      <inkml:brushProperty name="width" value="0.08571" units="cm"/>
      <inkml:brushProperty name="height" value="0.08571" units="cm"/>
      <inkml:brushProperty name="color" value="#E71224"/>
    </inkml:brush>
  </inkml:definitions>
  <inkml:trace contextRef="#ctx0" brushRef="#br0">0 0 9422,'29'5'-450,"0"0"-540,-6-3 361,5-1 629,2 0 0,5 0 0,1 0 0</inkml:trace>
</inkml:ink>
</file>

<file path=ppt/ink/ink3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1:55.551"/>
    </inkml:context>
    <inkml:brush xml:id="br0">
      <inkml:brushProperty name="width" value="0.08571" units="cm"/>
      <inkml:brushProperty name="height" value="0.08571" units="cm"/>
      <inkml:brushProperty name="color" value="#E71224"/>
    </inkml:brush>
  </inkml:definitions>
  <inkml:trace contextRef="#ctx0" brushRef="#br0">1 39 12570,'21'-1'180,"-2"-1"-5751,-5 0 5841,10-1-90,9 0 858,31-2-948,-15 1 90,38 0-90,-39 2 722,19 2-812,-19 0 90,0 2 0,0 0-90,20 3 89,-18-1-89,12 1 90,-23-1 0,-3-1 0,-3 0 90,-2 1 2872,-2-2-2962,-3 1 90,-3-1 0,-2 0 827,-3-1-827,-1 1 90,-3-1-91,-1 0 473,-1-1-382,3 1-181,0-1-89,4-2-269,-2-2-91,-4 0-90,-1-1-270,-3 1-179,0 0-180,1-1-91,1 0-809,1 0-449,1 0 2428,1 0 0,3 0 0,2-1 0</inkml:trace>
</inkml:ink>
</file>

<file path=ppt/ink/ink3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1:56.507"/>
    </inkml:context>
    <inkml:brush xml:id="br0">
      <inkml:brushProperty name="width" value="0.08571" units="cm"/>
      <inkml:brushProperty name="height" value="0.08571" units="cm"/>
      <inkml:brushProperty name="color" value="#E71224"/>
    </inkml:brush>
  </inkml:definitions>
  <inkml:trace contextRef="#ctx0" brushRef="#br0">761 109 7623,'-10'-22'1889,"0"1"-1710,1 7 1,1 3 0,-1 2 0,2 3-90,-1 1 90,0 0 90,-9-1-90,4 2 0,-7 0-90,3 3 89,-1 1 1,-3 2 0,-1 2 0,-4 2 0,-1 1 0,-2 3-90,-1 3 0,0 0 90,-15 12 0,12-5-180,-10 6 90,16-6 0,0 1 0,3-1-1,-6 10 91,8-7-90,-5 7-90,10-7 90,1 1 0,0 0-90,2 1 0,1 1 90,0 0-90,2 1 0,1 1 90,0-1-90,3 0 90,1-1-90,1-1 90,2 0 90,1 12-180,2-9 90,1 8-90,1-12 0,2 0 90,0 0-90,2-1 0,0-1 0,1 0 0,0-2 0,5 9 180,-2-8-180,3 6 90,-2-9 0,0-1 0,1-1-1,1 0 1,1-1 0,1-1 0,1-1 0,2-2 0,2 1 90,14 3-180,-5-5 90,10 3-90,-10-5 90,0-2-90,1 0 90,1-2 0,-2 0 0,-1 0 0,-2-2 0,0 0 0,-2-1 90,-1-1 0,-2-1 89,-1 0-89,0-1 0,-1-1 0,-1-2 90,1 0 0,-1-2-90,0-2 0,-1-1-91,0-2 1,1-3 0,-1-3 90,1-3-90,0-4 90,7-18-90,-6 6-250,4-14 340,-9 11-90,0-2 0,-3-2 90,-2 1-3400,-2-2 3310,-3 4-90,-2-1 90,-3 1-90,-2-1 90,-4-2-90,-2 1-270,-12-15 91,1 15-104,-9-11-437,4 20-89,-4 3-360,-2 4 1169,-59-13 0,37 21 0,4 4 0,0 1 0</inkml:trace>
</inkml:ink>
</file>

<file path=ppt/ink/ink3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1:58.213"/>
    </inkml:context>
    <inkml:brush xml:id="br0">
      <inkml:brushProperty name="width" value="0.08571" units="cm"/>
      <inkml:brushProperty name="height" value="0.08571" units="cm"/>
      <inkml:brushProperty name="color" value="#E71224"/>
    </inkml:brush>
  </inkml:definitions>
  <inkml:trace contextRef="#ctx0" brushRef="#br0">0 118 10951,'5'-20'2428,"-1"3"-1978,2 7-90,1 2 0,2 0-4342,3 1 4432,13-5 679,7 2-1039,2-1-180,1 4-180,-9 4-90,-1 0-269,-2 2-91,-1 0-89,-2 2-2070,3 2 2879,-8 1 0,-1 0 0,-10-2 0</inkml:trace>
</inkml:ink>
</file>

<file path=ppt/ink/ink3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1:58.344"/>
    </inkml:context>
    <inkml:brush xml:id="br0">
      <inkml:brushProperty name="width" value="0.08571" units="cm"/>
      <inkml:brushProperty name="height" value="0.08571" units="cm"/>
      <inkml:brushProperty name="color" value="#E71224"/>
    </inkml:brush>
  </inkml:definitions>
  <inkml:trace contextRef="#ctx0" brushRef="#br0">53 1 8162,'-23'11'1799,"4"-1"-899,9-5-720,12 0-90,1-2 0,13-1-90,0-3-180,5 0 0,2-1-270,4 0-270,2-1-539,0 0 180,1-2 1079,-1 0 0,1-2 0,-1-1 0</inkml:trace>
</inkml:ink>
</file>

<file path=ppt/ink/ink3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1:58.689"/>
    </inkml:context>
    <inkml:brush xml:id="br0">
      <inkml:brushProperty name="width" value="0.08571" units="cm"/>
      <inkml:brushProperty name="height" value="0.08571" units="cm"/>
      <inkml:brushProperty name="color" value="#E71224"/>
    </inkml:brush>
  </inkml:definitions>
  <inkml:trace contextRef="#ctx0" brushRef="#br0">79 1 7623,'23'0'1259,"-4"4"-989,-10 7-180,-3 6 0,-5-2 0,-2 2 0,-1-5 0,-2 7 89,-3 9-89,0 11 0,0-9 0,4 3-90,4-20 0,0 4 0,0-6 0,1 0 0,0-1 270,1 5 360,0-1-1,-1 2-179,-2-3 0,-4-2-180,-4-3-180,-3-3-180,-4-3-450,-2-3-449,0-1-1260,-1-1 2249,2-1 0,7 2 0,3 0 0</inkml:trace>
</inkml:ink>
</file>

<file path=ppt/ink/ink3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01.204"/>
    </inkml:context>
    <inkml:brush xml:id="br0">
      <inkml:brushProperty name="width" value="0.08571" units="cm"/>
      <inkml:brushProperty name="height" value="0.08571" units="cm"/>
      <inkml:brushProperty name="color" value="#E71224"/>
    </inkml:brush>
  </inkml:definitions>
  <inkml:trace contextRef="#ctx0" brushRef="#br0">7 23 7982,'-2'16'2069,"0"2"-7189,1-2 6019,0 11 960,2-3-1230,1 19 501,2-15-681,4 19-179,-2-20 270,8 26-450,-6-28 90,6 19 90,-7-23 3571,-1-1-3391,0-1-450,-9-14 0,1-2 0,-5-12-180,1-4 0,-1-4 90,0-6-90,2-4 91,-1-3-1,3-2 0,2-2-90,1 0 180,3-1-180,1 2 90,2 1 90,3 3 0,1 2-90,2 3 90,1 4-90,1 3 0,0 6 90,1 3 90,-1 4 0,10 8 584,9 48 1,0 11-495,-3-16-392,2 18 0,-8-2 392,-24-37 90,-1 0 0,-3-1 0,-1-2-90,-3-1-1,-1-1-89,-3-1 90,0-2 604,-1-3-604,-2 0-90,0-3-90,-1-1 90,1-3-90,0-1 90,2-3-270,0-1-540,1-2 270,-4-2-989,1-2 540,0-2-181,3-2-4856,3-2 5936,3-3 0,0 4 0,4 0 0</inkml:trace>
</inkml:ink>
</file>

<file path=ppt/ink/ink3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01.546"/>
    </inkml:context>
    <inkml:brush xml:id="br0">
      <inkml:brushProperty name="width" value="0.08571" units="cm"/>
      <inkml:brushProperty name="height" value="0.08571" units="cm"/>
      <inkml:brushProperty name="color" value="#E71224"/>
    </inkml:brush>
  </inkml:definitions>
  <inkml:trace contextRef="#ctx0" brushRef="#br0">0 11 8882,'19'-7'2429,"3"3"-2070,-10 5-89,5 3-4162,-6 2 4072,0 2 950,0 2-1040,-2 1 90,-2 3-90,-1 0-1,-3 2 1,-2 1 3392,-2 1-3392,-2 1 0,-3 0 0,-2 0 0,-1 0 0,-1-1 90,0-1-90,0-2 0,1-2 90,1-1 180,1-2 359,1-1 91,-1 2-630,6-2 0,5-1-180,11-2 89,-1-6-178,3 1-181,-4 0 0,0-1-270,1 1-179,-1 0-1,0 0-269,0 2-91,0-1-989,-2 1-539,1 0 2608,-2 0 0,-5-1 0,-1 0 0</inkml:trace>
</inkml:ink>
</file>

<file path=ppt/ink/ink3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01.807"/>
    </inkml:context>
    <inkml:brush xml:id="br0">
      <inkml:brushProperty name="width" value="0.08571" units="cm"/>
      <inkml:brushProperty name="height" value="0.08571" units="cm"/>
      <inkml:brushProperty name="color" value="#E71224"/>
    </inkml:brush>
  </inkml:definitions>
  <inkml:trace contextRef="#ctx0" brushRef="#br0">35 0 11670,'17'8'4138,"-5"6"-3508,-11 1-181,-1 5 1,-1-3-90,-1 2-3392,1 1 3212,-1 2-1,0 1 1,0 1 0,0 1-90,-1 0-90,0 0-180,-1-1-90,0 0-269,0-2 3301,0-1-3391,0-1-181,0-3 90,0-1 1,0-3-1080,0 0 1799,-1-2 0,3-5 0,-2 0 0</inkml:trace>
</inkml:ink>
</file>

<file path=ppt/ink/ink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31.987"/>
    </inkml:context>
    <inkml:brush xml:id="br0">
      <inkml:brushProperty name="width" value="0.1" units="cm"/>
      <inkml:brushProperty name="height" value="0.1" units="cm"/>
    </inkml:brush>
  </inkml:definitions>
  <inkml:trace contextRef="#ctx0" brushRef="#br0">24 27 572 0 0,'-5'-26'2850'0'0,"5"26"-2825"0"0,0 0 0 0 0,0 0 0 0 0,0 0 0 0 0,0 1 0 0 0,0-1 0 0 0,0 0 0 0 0,0 0 0 0 0,-1 0 0 0 0,1 0 0 0 0,0 0 0 0 0,0 0 0 0 0,0 0 0 0 0,0 0 0 0 0,0 0 0 0 0,0 0 0 0 0,0 0 0 0 0,0 0 0 0 0,0 0 0 0 0,0 0 0 0 0,0 0 0 0 0,0 0 0 0 0,-1 0 0 0 0,1 0 0 0 0,0 0 0 0 0,0 0 0 0 0,0 0 0 0 0,0 0 0 0 0,0 0 0 0 0,0 0 0 0 0,0 0 0 0 0,0 0 0 0 0,0 0 0 0 0,0 0 0 0 0,-1 0 0 0 0,1 0 0 0 0,0 0 0 0 0,0 0 0 0 0,0 0 0 0 0,0 0 0 0 0,0 0 0 0 0,0 0 0 0 0,0 0 0 0 0,0 0 26 0 0,0 0-26 0 0,0 0 0 0 0,0 0 0 0 0,0 0 0 0 0,0 0 0 0 0,0-1 0 0 0,-1 1 0 0 0,1 0 0 0 0,0 0 0 0 0,0 0 0 0 0,0 0 0 0 0,0 0 0 0 0,-5 14 789 0 0,-3 21 191 0 0,7-17-804 0 0,0 0 0 0 0,1 0 0 0 0,2 1 0 0 0,-1-1 1 0 0,2 0-1 0 0,1-1 0 0 0,0 1 0 0 0,1-1 0 0 0,11 27 1 0 0,-11-32-152 0 0,1 0 1 0 0,1-1 0 0 0,-1 0 0 0 0,2 0 0 0 0,-1-1 0 0 0,2 0-1 0 0,-1 0 1 0 0,1-1 0 0 0,1 0 0 0 0,0 0 0 0 0,0-1-1 0 0,0-1 1 0 0,1 1 0 0 0,15 6 0 0 0,-23-12-48 0 0,0-1 1 0 0,0 1-1 0 0,1-1 0 0 0,-1 0 1 0 0,0 0-1 0 0,1 0 0 0 0,-1 0 1 0 0,1 0-1 0 0,-1-1 1 0 0,1 0-1 0 0,-1 0 0 0 0,1 0 1 0 0,0 0-1 0 0,-1 0 0 0 0,1-1 1 0 0,-1 1-1 0 0,1-1 1 0 0,-1 0-1 0 0,0 0 0 0 0,1-1 1 0 0,-1 1-1 0 0,0-1 0 0 0,0 1 1 0 0,0-1-1 0 0,0 0 1 0 0,6-5-1 0 0,-3 1-90 0 0,0-1-1 0 0,-1 0 1 0 0,0 0-1 0 0,0 0 1 0 0,0-1 0 0 0,-1 0-1 0 0,0 0 1 0 0,0 0 0 0 0,3-13-1 0 0,2-4-95 0 0,-1 4 328 0 0,-2 0 0 0 0,6-28-1 0 0,-11 47-115 0 0,-20 23 380 0 0,4 13-340 0 0,2 0 1 0 0,2 1-1 0 0,1 0 0 0 0,1 0 1 0 0,-3 39-1 0 0,11-66-305 0 0,0 0 1 0 0,1-1-1 0 0,0 15 1 0 0,0-19-80 0 0,1 0 0 0 0,-1 0 0 0 0,1 0 0 0 0,-1 0 0 0 0,1-1 0 0 0,0 1 0 0 0,0 0 0 0 0,0 0 0 0 0,1-1-1 0 0,-1 1 1 0 0,1-1 0 0 0,-1 1 0 0 0,3 2 0 0 0,3 0-1691 0 0</inkml:trace>
</inkml:ink>
</file>

<file path=ppt/ink/ink3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02.034"/>
    </inkml:context>
    <inkml:brush xml:id="br0">
      <inkml:brushProperty name="width" value="0.08571" units="cm"/>
      <inkml:brushProperty name="height" value="0.08571" units="cm"/>
      <inkml:brushProperty name="color" value="#E71224"/>
    </inkml:brush>
  </inkml:definitions>
  <inkml:trace contextRef="#ctx0" brushRef="#br0">119 0 10411,'-11'15'1169,"-1"-2"-809,0-5 0,0 0-90,0 1-90,1 0 90,-1 1 89,2-1-3481,1 1 3392,2-1 270,1 1-91,2 4-359,4 1 90,3 0-90,4-1 0,1-4 3302,2 1-3302,1-2-90,1 1 0,0-2 0,0 1-180,-1-2-90,2 1-179,-2-1-91,2-1-90,-1 0-179,1-1-271,-1 0-719,1-2-539,-1-1 2338,1-1 0,-6-1 0,-1 0 0</inkml:trace>
</inkml:ink>
</file>

<file path=ppt/ink/ink3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02.226"/>
    </inkml:context>
    <inkml:brush xml:id="br0">
      <inkml:brushProperty name="width" value="0.08571" units="cm"/>
      <inkml:brushProperty name="height" value="0.08571" units="cm"/>
      <inkml:brushProperty name="color" value="#E71224"/>
    </inkml:brush>
  </inkml:definitions>
  <inkml:trace contextRef="#ctx0" brushRef="#br0">279 10 10501,'16'-8'5217,"-7"7"-4048,-8 4-719,-13 15-180,1-3 90,-5 6-180,2-3 0,0 2-1,-2 2-89,0 1 0,-1 0-270,1 1-89,-1 0-181,0-1-270,0-1 1,0 0-271,0-2-179,1-2-90,1-1-1080,0-4-899,1-2 3238,0-2 0,6-4 0,2-3 0</inkml:trace>
</inkml:ink>
</file>

<file path=ppt/ink/ink3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02.413"/>
    </inkml:context>
    <inkml:brush xml:id="br0">
      <inkml:brushProperty name="width" value="0.08571" units="cm"/>
      <inkml:brushProperty name="height" value="0.08571" units="cm"/>
      <inkml:brushProperty name="color" value="#E71224"/>
    </inkml:brush>
  </inkml:definitions>
  <inkml:trace contextRef="#ctx0" brushRef="#br0">0 40 10231,'10'-18'5757,"1"4"-5127,4 8-1,-1 4-179,3 5-90,-1 2-1,2 3-89,2 3-90,2 1 0,1 4 0,0 0 0,9 12-180,-8-6-180,5 7-180,-13-11-179,-2 0-91,-3-1-90,-1-1-179,-2-1-91,-1-1-179,-2-1-2339,-2-1 3508,-1 2 0,-1-7 0,-1 1 0</inkml:trace>
</inkml:ink>
</file>

<file path=ppt/ink/ink3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03.919"/>
    </inkml:context>
    <inkml:brush xml:id="br0">
      <inkml:brushProperty name="width" value="0.08571" units="cm"/>
      <inkml:brushProperty name="height" value="0.08571" units="cm"/>
      <inkml:brushProperty name="color" value="#E71224"/>
    </inkml:brush>
  </inkml:definitions>
  <inkml:trace contextRef="#ctx0" brushRef="#br0">175 58 9871,'-9'-16'3149,"3"-1"-2790,6 5-269,6 4 0,3 3-90,5 7 90,-3 3 0,-1 3-90,-3 4 90,-3 3-90,-3 3 0,-3-3 0,-1 0 0,1-4 90,-1 1-90,2 0 0,-1 0 0,2 0 0,-1 1 0,2 1 90,0 0 0,1 0-90,1 1 90,1 0 0,0 0-90,0-1 90,1 0 0,-1 0 0,0-2 539,2 8 1,-3-5-90,-1 5-91,-11-7-269,0-5 0,-14-1-90,8-6-90,-6 1-270,6-1-269,-1 0-181,0-1-269,0 1-2699,-8 0 0,5 0 3688,-6 0 0,5-1 0,-2 0 0</inkml:trace>
</inkml:ink>
</file>

<file path=ppt/ink/ink3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22.909"/>
    </inkml:context>
    <inkml:brush xml:id="br0">
      <inkml:brushProperty name="width" value="0.08571" units="cm"/>
      <inkml:brushProperty name="height" value="0.08571" units="cm"/>
      <inkml:brushProperty name="color" value="#E71224"/>
    </inkml:brush>
  </inkml:definitions>
  <inkml:trace contextRef="#ctx0" brushRef="#br0">19 102 12570,'-13'-16'2518,"7"-1"-2428,11 8-90,7-1-90,5 3-179,7-1-271,5 1-180,6 0-269,3 1-1170,4 1-899,1 1 3058,-1 2 0,1 0 0,-2 1 0</inkml:trace>
</inkml:ink>
</file>

<file path=ppt/ink/ink3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24.647"/>
    </inkml:context>
    <inkml:brush xml:id="br0">
      <inkml:brushProperty name="width" value="0.08571" units="cm"/>
      <inkml:brushProperty name="height" value="0.08571" units="cm"/>
      <inkml:brushProperty name="color" value="#E71224"/>
    </inkml:brush>
  </inkml:definitions>
  <inkml:trace contextRef="#ctx0" brushRef="#br0">22 35 11670,'9'-11'3238,"-4"7"-2968,1 11 0,-4 6 0,-2 0-90,1 2 0,-1 3 90,0 2-180,0 3 90,-1 1-1,1 3-89,0 0 90,-2 0-90,1 0-90,0 0 90,-1 0 0,0-1-90,0-1 0,1-3 90,-2 7 0,1-11 0,0 6 450,1-11-181,-1 3 91,0-3-450,-3 0-90,-1-11-90,1-12 90,1-5-90,3-9 1,2 0 89,2-5 0,2-2 0,2-5 0,1-1 90,1-2-90,1 1 0,1 4 90,-1 1-90,1 4 90,0 2-90,1 3 90,-1 2 0,1 3-90,0 4 90,-1 2 90,1 4 90,-1 3-90,5 4-90,-4 4 90,4 5-90,-5 3 90,1 3-90,-2 2 180,0 4-90,-2 1 0,-1 2-1,0 11 1,-4-6 0,0 7-90,-3-10 90,-2-2-90,-2 1 90,-2-1 0,-2 0 0,-2-2-90,-2 0 90,-1-2-90,-2-1 0,1-2 90,-2-2-90,0-1 0,1-2-180,1-2-90,0-1 0,1-2-269,1-2-900,0 0-270,-2-2-540,0-1-2878,-2-3 5127,4-4 0,4 2 0,4 0 0</inkml:trace>
</inkml:ink>
</file>

<file path=ppt/ink/ink3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24.926"/>
    </inkml:context>
    <inkml:brush xml:id="br0">
      <inkml:brushProperty name="width" value="0.08571" units="cm"/>
      <inkml:brushProperty name="height" value="0.08571" units="cm"/>
      <inkml:brushProperty name="color" value="#E71224"/>
    </inkml:brush>
  </inkml:definitions>
  <inkml:trace contextRef="#ctx0" brushRef="#br0">1 43 8252,'20'-15'1979,"-1"2"-1439,-8 6 449,0 2-89,3 2-540,-1 5-1,-1 1 1,-3 5-180,-5 2 90,-2 1-180,-2 2 90,-1 1-90,-2 2 180,-2 3-91,0-1 1,-2 2 0,0-1 0,-1-1-180,1-1 180,0-3-180,1 0 90,1-2-90,0-1 360,1-2 90,0 4-91,3-2-269,4 1 0,3-4 0,5-2 0,-1-4-270,3 0-90,0-1-179,2-1-361,2 0-179,-1 0-181,1-1-1258,0 0-1260,-1-1 3688,1 0 0,1-1 0,0 0 0</inkml:trace>
</inkml:ink>
</file>

<file path=ppt/ink/ink3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25.345"/>
    </inkml:context>
    <inkml:brush xml:id="br0">
      <inkml:brushProperty name="width" value="0.08571" units="cm"/>
      <inkml:brushProperty name="height" value="0.08571" units="cm"/>
      <inkml:brushProperty name="color" value="#E71224"/>
    </inkml:brush>
  </inkml:definitions>
  <inkml:trace contextRef="#ctx0" brushRef="#br0">86 1 10861,'-17'17'1439,"1"0"-1079,7-5-90,1 3-90,-1 1-1,2 2 1,1 1 0,0 0-90,2 1 0,2-1 0,0 0-90,2 0 90,1 0-90,1-2 90,0 0-90,2-1 90,0-2 0,1-1-90,1-3 90,1-1-90,1-3 90,10-5-90,-4-3-90,7-3 90,-6-4 90,0-1-90,1-1 180,0-2 89,0 1 451,3-4-360,-4 4-90,1-2 0,-7 7-1,0 0-89,0 0 90,1 2-90,1 4-90,-3 7 0,-1 3-90,-3 8 90,-1 0-540,-2 7 0,0-4-89,0 0-1080,-2-7-720,1 5-2608,-1 0 4947,1 2 0,0-9 0,0-4 0</inkml:trace>
</inkml:ink>
</file>

<file path=ppt/ink/ink3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25.594"/>
    </inkml:context>
    <inkml:brush xml:id="br0">
      <inkml:brushProperty name="width" value="0.08571" units="cm"/>
      <inkml:brushProperty name="height" value="0.08571" units="cm"/>
      <inkml:brushProperty name="color" value="#E71224"/>
    </inkml:brush>
  </inkml:definitions>
  <inkml:trace contextRef="#ctx0" brushRef="#br0">280 0 12570,'-11'21'2608,"-7"5"-2248,3-13 0,-6 6-90,6-5-90,-2 1 0,0 2-270,-8 9-270,6-6-270,-5 6-359,9-8-91,0-1-1348,1-1 2428,-5 2 0,4-3 0,-5 1 0</inkml:trace>
</inkml:ink>
</file>

<file path=ppt/ink/ink3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25.783"/>
    </inkml:context>
    <inkml:brush xml:id="br0">
      <inkml:brushProperty name="width" value="0.08571" units="cm"/>
      <inkml:brushProperty name="height" value="0.08571" units="cm"/>
      <inkml:brushProperty name="color" value="#E71224"/>
    </inkml:brush>
  </inkml:definitions>
  <inkml:trace contextRef="#ctx0" brushRef="#br0">0 14 14279,'18'-8'3508,"-4"2"-2968,-6 16-181,-3-1-89,2 3 0,0 4-90,1 1 0,1 2-90,1 3-180,0 2-180,0 2-180,0-1-269,-1 0-181,-1-2-269,0-1-360,0 0-1170,-1-1-1798,0-2 4497,-2 0 0,1-1 0,0 0 0</inkml:trace>
</inkml:ink>
</file>

<file path=ppt/ink/ink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32.335"/>
    </inkml:context>
    <inkml:brush xml:id="br0">
      <inkml:brushProperty name="width" value="0.1" units="cm"/>
      <inkml:brushProperty name="height" value="0.1" units="cm"/>
    </inkml:brush>
  </inkml:definitions>
  <inkml:trace contextRef="#ctx0" brushRef="#br0">300 1 892 0 0,'0'0'2294'0'0,"-9"16"307"0"0,-95 88 481 0 0,63-61-4319 0 0,-61 52 0 0 0,99-93 1049 0 0,-27 17-2792 0 0,19-15 2157 0 0</inkml:trace>
</inkml:ink>
</file>

<file path=ppt/ink/ink3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26.435"/>
    </inkml:context>
    <inkml:brush xml:id="br0">
      <inkml:brushProperty name="width" value="0.08571" units="cm"/>
      <inkml:brushProperty name="height" value="0.08571" units="cm"/>
      <inkml:brushProperty name="color" value="#E71224"/>
    </inkml:brush>
  </inkml:definitions>
  <inkml:trace contextRef="#ctx0" brushRef="#br0">11 1 11311,'0'23'2248,"0"-4"-1888,-1-3 90,0-2-90,1 2 359,-1 10-449,0-6-90,1 8 0,-1-8 180,1 8-270,-1-7 0,1 6-1,0-10 1,-1-2 270,1-2 450,0 3 89,0 0 540,-1 0-1439,-1-13 0,2-10-90,-1-10 90,4-6-89,2 3 89,1-4-90,2-2 90,3-1-90,0 1 90,2-1 0,1 2 0,0 2-90,0 2 90,0 3-90,0 3 90,0 2 0,0 3 0,0 2 0,-1 4 0,0 3 0,-1 3 0,1 2 0,-1 6 90,0 1 0,0 5 0,-2 1 0,-2 2-1,0 3 91,-1 12-180,-3-7 90,0 9-90,-4-10 90,-3 10 0,-1-9 0,-2 8 0,-2-13-90,-1-2 90,-2-1-90,-1-1 90,-2-3-90,-1-1 90,0-1-90,0-2 90,0-2-90,2-2 0,-1-2-720,2-1-269,-5-1-720,3-2-720,-4-4-1618,5-3 4047,2-5 0,6 5 0,3-1 0</inkml:trace>
</inkml:ink>
</file>

<file path=ppt/ink/ink3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26.712"/>
    </inkml:context>
    <inkml:brush xml:id="br0">
      <inkml:brushProperty name="width" value="0.08571" units="cm"/>
      <inkml:brushProperty name="height" value="0.08571" units="cm"/>
      <inkml:brushProperty name="color" value="#E71224"/>
    </inkml:brush>
  </inkml:definitions>
  <inkml:trace contextRef="#ctx0" brushRef="#br0">1 8 8612,'21'-6'3868,"-1"5"-2969,-4 5-179,-3 6-450,-6 5 0,-3-1 89,-4 2-89,-2-5 0,-2 2 90,0-1-180,-2 0 0,1 0 0,-1-2-90,2 0 0,-1-1 89,1-1-89,-1 2 270,0 0-180,2 2 0,5-3-720,6-1-629,6-5 179,5-2-179,-2-1-180,-1-2-720,-4-1-899,1 0 2968,0-1 0,3-3 0,1 0 0</inkml:trace>
</inkml:ink>
</file>

<file path=ppt/ink/ink3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26.882"/>
    </inkml:context>
    <inkml:brush xml:id="br0">
      <inkml:brushProperty name="width" value="0.08571" units="cm"/>
      <inkml:brushProperty name="height" value="0.08571" units="cm"/>
      <inkml:brushProperty name="color" value="#E71224"/>
    </inkml:brush>
  </inkml:definitions>
  <inkml:trace contextRef="#ctx0" brushRef="#br0">46 1 11490,'14'16'4408,"-3"2"-3958,-8 2-180,-2-2 89,-2 0-179,0-3 0,-1 0 0,-1 2-90,-1-1-90,0 1-180,-1 0-270,0-1-89,-1 0-91,0 0-359,-1-2-91,0 0-179,1-1-900,0-2 2159,0-1 0,3-5 0,1-2 0</inkml:trace>
</inkml:ink>
</file>

<file path=ppt/ink/ink3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27.168"/>
    </inkml:context>
    <inkml:brush xml:id="br0">
      <inkml:brushProperty name="width" value="0.08571" units="cm"/>
      <inkml:brushProperty name="height" value="0.08571" units="cm"/>
      <inkml:brushProperty name="color" value="#E71224"/>
    </inkml:brush>
  </inkml:definitions>
  <inkml:trace contextRef="#ctx0" brushRef="#br0">141 0 10591,'7'12'3688,"-2"-4"-3418,-15 6 0,1-6-4342,-1 1 4252,-1 0 769,-1 1-859,0-2 90,-15 11-90,13-9-90,-10 7 0,14-10 3752,2 0-3392,3 3-1,7-2-179,8 1 0,1-2-90,2 0-3302,5 2 3302,-3-2 0,4 3-90,-4-2 0,0 1-270,1-1-180,-2 0-179,-1-1-181,0 1 3033,-2-1-9059,4 1 6836,-2-1 0,-4-2 0,-2-2 0</inkml:trace>
</inkml:ink>
</file>

<file path=ppt/ink/ink3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27.376"/>
    </inkml:context>
    <inkml:brush xml:id="br0">
      <inkml:brushProperty name="width" value="0.08571" units="cm"/>
      <inkml:brushProperty name="height" value="0.08571" units="cm"/>
      <inkml:brushProperty name="color" value="#E71224"/>
    </inkml:brush>
  </inkml:definitions>
  <inkml:trace contextRef="#ctx0" brushRef="#br0">163 1 14729,'-4'16'1079,"-1"-1"-809,-3-5 90,-6 7-180,2-3-360,-10 13-270,9-11-90,-5 6-359,5-8-181,2-1-1438,0-1-1080,1-3 3598,-1 0 0,5-4 0,2-2 0</inkml:trace>
</inkml:ink>
</file>

<file path=ppt/ink/ink3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27.547"/>
    </inkml:context>
    <inkml:brush xml:id="br0">
      <inkml:brushProperty name="width" value="0.08571" units="cm"/>
      <inkml:brushProperty name="height" value="0.08571" units="cm"/>
      <inkml:brushProperty name="color" value="#E71224"/>
    </inkml:brush>
  </inkml:definitions>
  <inkml:trace contextRef="#ctx0" brushRef="#br0">1 0 15808,'20'1'1799,"-4"0"-1529,-6 9 0,-2-1-90,0 3-91,1 0 1,0 1-180,1 1-269,0 0-811,3 6 451,-4-5-451,2 3-89,-4-6-1259,-1-2 2518,0-1 0,-4-4 0,1-2 0</inkml:trace>
</inkml:ink>
</file>

<file path=ppt/ink/ink3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27.837"/>
    </inkml:context>
    <inkml:brush xml:id="br0">
      <inkml:brushProperty name="width" value="0.08571" units="cm"/>
      <inkml:brushProperty name="height" value="0.08571" units="cm"/>
      <inkml:brushProperty name="color" value="#E71224"/>
    </inkml:brush>
  </inkml:definitions>
  <inkml:trace contextRef="#ctx0" brushRef="#br0">202 14 9691,'19'-7'3419,"-1"2"-2790,-2 4 181,-3 1-271,-2 5-179,-3 1-90,-5 4-180,-4 3 0,-1-2-90,-3 1 90,2-2 0,-1 0-90,0 2 0,0 1 0,1 1 0,0 1 0,1 1 0,1 0-90,0 0 90,2 1-90,0 1 90,0-2-90,1 1 0,-1-2 0,0-1 0,0 4 180,-2-5-90,-2 2 90,-2-8-90,-2 0 90,-1-3-90,-2 0 90,-1-2-270,-3-2-180,-3 0-179,-2-2-541,-2-1-1438,-4-2-1350,-2-1 3868,-2-2 0,-4 1 0,-2-2 0</inkml:trace>
</inkml:ink>
</file>

<file path=ppt/ink/ink3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30.245"/>
    </inkml:context>
    <inkml:brush xml:id="br0">
      <inkml:brushProperty name="width" value="0.08571" units="cm"/>
      <inkml:brushProperty name="height" value="0.08571" units="cm"/>
      <inkml:brushProperty name="color" value="#E71224"/>
    </inkml:brush>
  </inkml:definitions>
  <inkml:trace contextRef="#ctx0" brushRef="#br0">47 12 9691,'-17'1'3149,"1"1"-2160,3 0-719,13 2-90,1 0 0,14 1-90,3-2 0,8 0 90,7 0-91,9 1-465,6 0 376,9 0 89,4 1 1,7 1-1060,3-1 1060,1 1-90,1-1 0,1 0 0,1 1 90,-1-2-180,-1 1 180,-2-2 0,-7-1-90,-4-2 180,-7 0-90,-4-1 90,-7-1 0,-5 0 89,-6-2 1,-4 0-90,-4 0 0,-4-2-90,-2 0-90,-3-1-540,0-4-483,-5 3-2755,-1-6 842,-10 2 2936,-1 1 0,-1 4 0,1 4 0</inkml:trace>
</inkml:ink>
</file>

<file path=ppt/ink/ink3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0:14.551"/>
    </inkml:context>
    <inkml:brush xml:id="br0">
      <inkml:brushProperty name="width" value="0.08571" units="cm"/>
      <inkml:brushProperty name="height" value="0.08571" units="cm"/>
      <inkml:brushProperty name="color" value="#E71224"/>
    </inkml:brush>
  </inkml:definitions>
  <inkml:trace contextRef="#ctx0" brushRef="#br0">62 95 8702,'-18'-8'2878,"3"0"-2248,7 2 449,0 1-269,-2-4-630,8-2 0,2 1-90,11-2 0,7 6-90,6-1-180,5 2-180,4 0-90,2 3-359,2 1-91,-1 2-269,-1 2-450,-1 2-180,-4 2 1799,-3 1 0,-3 1 0,-2 1 0</inkml:trace>
</inkml:ink>
</file>

<file path=ppt/ink/ink3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0:14.697"/>
    </inkml:context>
    <inkml:brush xml:id="br0">
      <inkml:brushProperty name="width" value="0.08571" units="cm"/>
      <inkml:brushProperty name="height" value="0.08571" units="cm"/>
      <inkml:brushProperty name="color" value="#E71224"/>
    </inkml:brush>
  </inkml:definitions>
  <inkml:trace contextRef="#ctx0" brushRef="#br0">38 0 8882,'-17'7'3418,"-2"0"-3328,18-3-90,2-2-90,14-2-90,6-1 0,3-1-180,5 1-179,2-1-1,4 1-90,-1 1-719,2-1-3212,-1 1 4561,2-1 0,1 0 0,1 0 0</inkml:trace>
</inkml:ink>
</file>

<file path=ppt/ink/ink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32.725"/>
    </inkml:context>
    <inkml:brush xml:id="br0">
      <inkml:brushProperty name="width" value="0.1" units="cm"/>
      <inkml:brushProperty name="height" value="0.1" units="cm"/>
    </inkml:brush>
  </inkml:definitions>
  <inkml:trace contextRef="#ctx0" brushRef="#br0">1 10 524 0 0,'2'0'1110'0'0,"4"0"-712"0"0,-1 0-1 0 0,1 1 0 0 0,-1 0 1 0 0,1 1-1 0 0,-1-1 0 0 0,0 1 1 0 0,1 0-1 0 0,-1 0 0 0 0,0 0 1 0 0,0 1-1 0 0,-1 0 1 0 0,1 0-1 0 0,6 5 0 0 0,11 9 317 0 0,25 25 0 0 0,-45-40-670 0 0,19 19 169 0 0,-1 1 0 0 0,28 39 0 0 0,2 15-5361 0 0,-45-68 3392 0 0</inkml:trace>
  <inkml:trace contextRef="#ctx0" brushRef="#br0" timeOffset="1">565 4 556 0 0,'6'-3'2850'0'0,"-5"3"-2647"0"0,-1 0 1 0 0,0 0-1 0 0,1 0 1 0 0,-1 0 0 0 0,2 0-1 0 0,0 2 50 0 0,-1 1 0 0 0,1-1 0 0 0,-1 1 1 0 0,1-1-1 0 0,-1 1 0 0 0,0-1 0 0 0,0 1 0 0 0,0 0 0 0 0,0 0 0 0 0,0-1 1 0 0,-1 1-1 0 0,1 0 0 0 0,-1 3 0 0 0,3 47 1089 0 0,-3-30-1031 0 0,2 98 275 0 0,-3-101-1436 0 0,-1-1 0 0 0,-5 22-1 0 0,3-14-2417 0 0,1-16 1081 0 0</inkml:trace>
</inkml:ink>
</file>

<file path=ppt/ink/ink3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0:14.909"/>
    </inkml:context>
    <inkml:brush xml:id="br0">
      <inkml:brushProperty name="width" value="0.08571" units="cm"/>
      <inkml:brushProperty name="height" value="0.08571" units="cm"/>
      <inkml:brushProperty name="color" value="#E71224"/>
    </inkml:brush>
  </inkml:definitions>
  <inkml:trace contextRef="#ctx0" brushRef="#br0">1 25 10141,'21'-17'2249,"-5"9"-1979,-12 14-180,-3 9-4252,-3 1 4252,0 3 770,1-3-770,-1 2-90,1 1 90,0 1-180,-1 12-720,1 15 270,0-9-179,-1 4-181,1-21-449,0-3 3392,0 0-2043,0-3 0,1-7 0,-1-3 0</inkml:trace>
</inkml:ink>
</file>

<file path=ppt/ink/ink3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0:15.215"/>
    </inkml:context>
    <inkml:brush xml:id="br0">
      <inkml:brushProperty name="width" value="0.08571" units="cm"/>
      <inkml:brushProperty name="height" value="0.08571" units="cm"/>
      <inkml:brushProperty name="color" value="#E71224"/>
    </inkml:brush>
  </inkml:definitions>
  <inkml:trace contextRef="#ctx0" brushRef="#br0">1 2 7982,'19'-2'1350,"-1"2"-991,-8 6-89,1 1 90,2 2-180,0 3-3302,2 1 3302,0 3 269,7 9-89,8 12-180,-6-6-180,1 2 90,-13-16 0,-2-2 90,0-1 3572,-2-2-3213,-1-2 181,0 0 629,-1-2-89,1 0-811,2-6-269,1-6 0,-1-6-90,-3-5 90,-1 1-90,-1-2 0,-1-1 0,0 0 0,0-1 0,-1 0-90,-1 0-450,0-10-719,0 6-540,-1-6-180,1 10-1080,2 6 2969,4 4 0,11 4 0,4 2 0</inkml:trace>
</inkml:ink>
</file>

<file path=ppt/ink/ink3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0:15.390"/>
    </inkml:context>
    <inkml:brush xml:id="br0">
      <inkml:brushProperty name="width" value="0.08571" units="cm"/>
      <inkml:brushProperty name="height" value="0.08571" units="cm"/>
      <inkml:brushProperty name="color" value="#E71224"/>
    </inkml:brush>
  </inkml:definitions>
  <inkml:trace contextRef="#ctx0" brushRef="#br0">176 0 8162,'21'6'3868,"-6"2"-3148,-7 1-450,-9 5-1,-4-2-89,-3 1 0,-1-2-90,-1 2 0,-2 0-90,-1 1-90,-1 0-180,1 0-89,-1 1-181,0 0-270,0 0-179,0-1-630,-1 0-180,0-1 1799,1-2 0,-3 0 0,0-2 0</inkml:trace>
</inkml:ink>
</file>

<file path=ppt/ink/ink3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0:15.562"/>
    </inkml:context>
    <inkml:brush xml:id="br0">
      <inkml:brushProperty name="width" value="0.08571" units="cm"/>
      <inkml:brushProperty name="height" value="0.08571" units="cm"/>
      <inkml:brushProperty name="color" value="#E71224"/>
    </inkml:brush>
  </inkml:definitions>
  <inkml:trace contextRef="#ctx0" brushRef="#br0">0 22 10141,'13'-12'2339,"0"3"-2159,0 9 0,0 2 0,2 3-90,-3 1-1,1 1 1,1 3 0,0 1-90,1 2-180,-1 0-89,-1 2-181,0-1-270,0 2-89,-1 0-900,-1 0-180,-2 1 1889,0-3 0,0 2 0,0-2 0</inkml:trace>
</inkml:ink>
</file>

<file path=ppt/ink/ink3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0:16.003"/>
    </inkml:context>
    <inkml:brush xml:id="br0">
      <inkml:brushProperty name="width" value="0.08571" units="cm"/>
      <inkml:brushProperty name="height" value="0.08571" units="cm"/>
      <inkml:brushProperty name="color" value="#E71224"/>
    </inkml:brush>
  </inkml:definitions>
  <inkml:trace contextRef="#ctx0" brushRef="#br0">1 110 8882,'16'-7'2069,"1"4"-1709,-8 7-1,1 3 271,0 8-360,-3-2 0,3 6 0,-4-3 179,1 9-269,-2-6-90,1 7 90,-3-8 0,0 0-90,-1-1 0,0 0 0,-1-1 180,0-2 539,0 3 1,0-3-451,-4 2-179,-1-11-90,-5-9-90,2-6 0,0-6-90,3 0 0,1-2 0,1-4-89,3-2-1,2-4 90,4-1-90,4-4 90,2 1 0,5 0 0,2 2 0,2 3 0,3 4 0,0 4 0,0 4 90,-1 5-90,0 4 90,-1 4 0,0 4-90,0 4 90,-1 3 0,-1 4 90,0 3-90,-2 2 90,-2 4 0,-1 1-90,-3 2 0,-2 0 90,-2 1 0,-3-1 0,-2 0 0,-4-1-90,-1 0 90,-3-1 0,-8 6-90,1-7 90,-6 3-90,2-10 90,-1-2-90,-1-2 0,1-2-90,0-3-90,1-2-270,-1-2 0,0-2-179,0-2-91,-1-1-269,1-2-1,1-1-989,0-2-449,2 0 2428,1-2 0,1-4 0,-1 0 0</inkml:trace>
</inkml:ink>
</file>

<file path=ppt/ink/ink3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0:16.263"/>
    </inkml:context>
    <inkml:brush xml:id="br0">
      <inkml:brushProperty name="width" value="0.08571" units="cm"/>
      <inkml:brushProperty name="height" value="0.08571" units="cm"/>
      <inkml:brushProperty name="color" value="#E71224"/>
    </inkml:brush>
  </inkml:definitions>
  <inkml:trace contextRef="#ctx0" brushRef="#br0">8 0 8432,'6'22'1889,"-3"0"-1709,-4-8 90,-1 1-4432,0-4 4432,0 0 770,-1 3-771,0 0 91,1 4-180,1-3 0,3-2-90,6-2 3392,0-3-3482,4-1 0,-2-3 0,1-1-180,0 0-180,1 0-90,-1 0-809,0 0-720,4 0 1979,-2-1 0,-3 0 0,-3-1 0</inkml:trace>
</inkml:ink>
</file>

<file path=ppt/ink/ink3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0:16.603"/>
    </inkml:context>
    <inkml:brush xml:id="br0">
      <inkml:brushProperty name="width" value="0.08571" units="cm"/>
      <inkml:brushProperty name="height" value="0.08571" units="cm"/>
      <inkml:brushProperty name="color" value="#E71224"/>
    </inkml:brush>
  </inkml:definitions>
  <inkml:trace contextRef="#ctx0" brushRef="#br0">109 0 9332,'-21'13'1439,"2"-1"-1079,9-3-180,1 1 89,0 2-89,0 0 0,2 2-90,0 0-3302,2 1 3302,0 1-90,1-1 90,2 0 0,0-1 0,2 0-90,1-1 90,0-1 3302,2-1-3302,0-1 0,2-2-180,5-1 90,4-4-90,2-2 90,2-4 0,-4-3-90,2-1 90,0-1 90,0-2 90,1 0-90,-2 0 269,0 1-89,-2 0 0,-1 1-90,-2 0 0,0 2 90,-2 0-180,3 0 0,-2 0 0,4 4-270,-3 4-540,-2 8-629,-3 5 449,-4 5-179,-1-3-450,-1 0-90,0-4 1619,-1-1 0,1-5 0,1-1 0</inkml:trace>
</inkml:ink>
</file>

<file path=ppt/ink/ink3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0:16.819"/>
    </inkml:context>
    <inkml:brush xml:id="br0">
      <inkml:brushProperty name="width" value="0.08571" units="cm"/>
      <inkml:brushProperty name="height" value="0.08571" units="cm"/>
      <inkml:brushProperty name="color" value="#E71224"/>
    </inkml:brush>
  </inkml:definitions>
  <inkml:trace contextRef="#ctx0" brushRef="#br0">204 1 12570,'-1'17'629,"-2"0"-449,-5-8 0,-2 3-180,-1 1-90,-1 1-90,-1 1-89,0 0-271,0 1-360,-2-1-179,0 0-2069,-9 5 3148,5-7 0,-8 2 0,7-7 0</inkml:trace>
</inkml:ink>
</file>

<file path=ppt/ink/ink3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0:16.988"/>
    </inkml:context>
    <inkml:brush xml:id="br0">
      <inkml:brushProperty name="width" value="0.08571" units="cm"/>
      <inkml:brushProperty name="height" value="0.08571" units="cm"/>
      <inkml:brushProperty name="color" value="#E71224"/>
    </inkml:brush>
  </inkml:definitions>
  <inkml:trace contextRef="#ctx0" brushRef="#br0">0 20 12030,'20'-12'2519,"1"4"-2249,-7 10-1,4 4 1,-4 1-90,1 2-3392,2 1 3212,0 3 90,-1 1-270,-1 0-90,0 1-180,-2 1-809,4 7 360,-6-5 3211,2 4-4201,-7-8-539,-1-2 2428,-1 0 0,-2-6 0,-1-1 0</inkml:trace>
</inkml:ink>
</file>

<file path=ppt/ink/ink3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0:17.419"/>
    </inkml:context>
    <inkml:brush xml:id="br0">
      <inkml:brushProperty name="width" value="0.08571" units="cm"/>
      <inkml:brushProperty name="height" value="0.08571" units="cm"/>
      <inkml:brushProperty name="color" value="#E71224"/>
    </inkml:brush>
  </inkml:definitions>
  <inkml:trace contextRef="#ctx0" brushRef="#br0">0 97 7713,'21'5'1799,"-3"1"-1260,-8 1-89,-2 2 0,-1 1-90,-2 2-91,-1 2 1,-1 0 0,0 2 0,-2 1-90,0 1 90,0 0 0,0 10-91,-1-7-89,1 6 0,-1-9 0,0 4 0,0-5 270,0 6 450,-1-7-271,0 2-359,-5-20-90,3 0-90,-4-17 90,5 4-180,0-3 0,1-1 0,1-4 0,1-2-90,2-5 90,1 0 0,1-2 0,2 1 1,2 1-1,1 1 90,2 2-90,1 3 0,3 2 90,0 4-90,2 4 90,0 3-90,0 4 90,-1 3 0,1 4 0,0 3-90,0 3 90,0 3 0,-2 3 0,4 11 0,-6-3 90,3 19-180,-10-4 90,-3 10 90,-4-9-90,-5-4 90,-1-10-90,-6 7 90,-4 0 0,-8 4-90,4-9-180,0-5-630,0-7 91,5-3-4858,-9 0 5577,7-8 0,4 1 0,3-3 0</inkml:trace>
</inkml:ink>
</file>

<file path=ppt/ink/ink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33.084"/>
    </inkml:context>
    <inkml:brush xml:id="br0">
      <inkml:brushProperty name="width" value="0.1" units="cm"/>
      <inkml:brushProperty name="height" value="0.1" units="cm"/>
    </inkml:brush>
  </inkml:definitions>
  <inkml:trace contextRef="#ctx0" brushRef="#br0">1 31 1368 0 0,'17'-6'1296'0'0,"-2"0"-264"0"0,1 0-200 0 0,3 2-180 0 0,1 0-147 0 0,2 1-101 0 0,-1 1-68 0 0,2 2-160 0 0,-1 2-252 0 0,1-2-180 0 0,-2 3-344 0 0,0 1-161 0 0,-5 0-799 0 0,-1 2 616 0 0</inkml:trace>
  <inkml:trace contextRef="#ctx0" brushRef="#br0" timeOffset="1">59 263 1716 0 0,'-13'8'1473'0'0,"-8"9"5509"0"0,33-16-6841 0 0,189-21-1300 0 0,-116 9-2872 0 0,-52 7 1313 0 0</inkml:trace>
</inkml:ink>
</file>

<file path=ppt/ink/ink3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0:17.693"/>
    </inkml:context>
    <inkml:brush xml:id="br0">
      <inkml:brushProperty name="width" value="0.08571" units="cm"/>
      <inkml:brushProperty name="height" value="0.08571" units="cm"/>
      <inkml:brushProperty name="color" value="#E71224"/>
    </inkml:brush>
  </inkml:definitions>
  <inkml:trace contextRef="#ctx0" brushRef="#br0">49 1 7353,'18'3'2159,"-4"3"-1710,-5 5-269,-7 3 90,-4-1 0,-4 1 0,0-3-90,-3-1 0,1 1-1,-1-1 1,0-1-90,1 0 0,0-1 0,2 0 90,-3 1 0,2-1-180,3 4-90,6-2-180,7 1-180,2-5-719,5 1 360,-5-3-451,4 0 361,-3-2 899,0 0 0,-5-1 0,-1-1 0</inkml:trace>
</inkml:ink>
</file>

<file path=ppt/ink/ink3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0:17.853"/>
    </inkml:context>
    <inkml:brush xml:id="br0">
      <inkml:brushProperty name="width" value="0.08571" units="cm"/>
      <inkml:brushProperty name="height" value="0.08571" units="cm"/>
      <inkml:brushProperty name="color" value="#E71224"/>
    </inkml:brush>
  </inkml:definitions>
  <inkml:trace contextRef="#ctx0" brushRef="#br0">1 1 9602,'22'0'2698,"-2"3"-2248,-10 2-180,-1 2 89,-3 0-179,0 2 90,-1 1-90,0 2 0,0 1-90,-1 2 90,0 0-90,-2 2-90,0 0 90,0 1 0,-1 1-180,-2 0-90,1 0-180,-2 1-90,0-2-179,0 0-271,-1-2-89,1 0-2789,-1-2 3778,1 2 0,1-9 0,0 1 0</inkml:trace>
</inkml:ink>
</file>

<file path=ppt/ink/ink3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0:18.049"/>
    </inkml:context>
    <inkml:brush xml:id="br0">
      <inkml:brushProperty name="width" value="0.08571" units="cm"/>
      <inkml:brushProperty name="height" value="0.08571" units="cm"/>
      <inkml:brushProperty name="color" value="#E71224"/>
    </inkml:brush>
  </inkml:definitions>
  <inkml:trace contextRef="#ctx0" brushRef="#br0">63 2 9332,'-17'-1'1979,"1"2"-1530,4 8-89,2 4-90,4 2-90,5 2-90,3-2 0,5 1-180,1-5-90,3 2-180,2-1-180,3 0-359,1-1-630,1 0-270,1-2 1799,1-2 0,3-2 0,1-1 0</inkml:trace>
</inkml:ink>
</file>

<file path=ppt/ink/ink3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0:18.228"/>
    </inkml:context>
    <inkml:brush xml:id="br0">
      <inkml:brushProperty name="width" value="0.08571" units="cm"/>
      <inkml:brushProperty name="height" value="0.08571" units="cm"/>
      <inkml:brushProperty name="color" value="#E71224"/>
    </inkml:brush>
  </inkml:definitions>
  <inkml:trace contextRef="#ctx0" brushRef="#br0">164 0 10051,'11'8'1439,"-4"2"-1349,-10 4 0,-3 0 90,-2-2-270,-1 1-3482,-2 2 3213,-2 0-101,-1 0-1699,-11 6 900,5-6 1259,-7 2 0,5-7 0,-1-1 0</inkml:trace>
</inkml:ink>
</file>

<file path=ppt/ink/ink3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0:18.417"/>
    </inkml:context>
    <inkml:brush xml:id="br0">
      <inkml:brushProperty name="width" value="0.08571" units="cm"/>
      <inkml:brushProperty name="height" value="0.08571" units="cm"/>
      <inkml:brushProperty name="color" value="#E71224"/>
    </inkml:brush>
  </inkml:definitions>
  <inkml:trace contextRef="#ctx0" brushRef="#br0">1 11 11670,'20'-6'1889,"-1"2"-1349,-8 8-90,1 2-91,3 2 1,1 2-3482,2 3 3392,1 1-90,8 11-360,0 0-1169,10 14 539,-14-14-89,-1 0-1,-14-15 1,0 0-2699,-2-3 4446,2-1 0,-4-3 0,0-1 0</inkml:trace>
</inkml:ink>
</file>

<file path=ppt/ink/ink3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0:18.736"/>
    </inkml:context>
    <inkml:brush xml:id="br0">
      <inkml:brushProperty name="width" value="0.08571" units="cm"/>
      <inkml:brushProperty name="height" value="0.08571" units="cm"/>
      <inkml:brushProperty name="color" value="#E71224"/>
    </inkml:brush>
  </inkml:definitions>
  <inkml:trace contextRef="#ctx0" brushRef="#br0">1 21 9871,'11'-13'3418,"2"5"-2788,-7 10-270,2 8-90,-4 1 0,0 2-91,-1-3 1,0 1 0,0 0-90,0 1 0,0-1-90,-1 1 180,1-1-90,0 4 90,0-3 0,2 3-270,2-7-90,2-6 90,1-4 0,1-6 0,-1 0 0,1-1 90,0-1 0,1 0 180,0 0-90,0 1 0,-1 0 0,-1 1-90,-1 1 90,-1 1 0,3 0 90,2 4-90,3 2 90,1 6-1,-4 1-89,-1 3 0,-5-1 0,1 1-90,-1 2-90,-1 0-90,0 0-179,-1 1-91,-1 0-90,-1-1-1169,-1 0-1709,-1 5 3418,-2-2 0,1-3 0,-2-4 0</inkml:trace>
</inkml:ink>
</file>

<file path=ppt/ink/ink3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0:47.562"/>
    </inkml:context>
    <inkml:brush xml:id="br0">
      <inkml:brushProperty name="width" value="0.08571" units="cm"/>
      <inkml:brushProperty name="height" value="0.08571" units="cm"/>
      <inkml:brushProperty name="color" value="#E71224"/>
    </inkml:brush>
  </inkml:definitions>
  <inkml:trace contextRef="#ctx0" brushRef="#br0">395 1085 9422,'-14'7'1978,"7"1"-1798,9 0 0,5-2 0,2 0-90,2-1 0,3 0 0,2 0 0,2-1 0,2 0-90,2 0 0,1-1 0,1 0 90,0-1-180,1 0 90,-1-1 0,1-1-90,-1-1 0,1 0 90,-1-1 0,0-1-180,10-5 180,-7 0-90,7-3 90,-8 0-90,-2-1 0,0-2 90,0-2-90,1-2 90,0-2-180,0-3 90,10-13 90,-9 8 0,6-10 0,-13 13 0,0-1 0,-4 2 0,1-2 0,-3 1 0,0-1-89,-1-1-1,-1 1 0,-1-2-90,-1 1 90,0-2-270,3-13 270,-4 8-90,3-11 90,-5 14-90,-1-1 0,-1 0 90,-1 1 1,-1 2-91,-1 1 180,-2 1-90,-1 2 90,-2 0-180,-5-9 90,1 9 90,-10-13 0,4 16 0,-5-4 0,3 10 0,0 2 0,-4 1 0,1 2-90,-3 1 90,-1 1-90,-1 3 180,-2 0-180,0 2 90,-1 2 0,-1 1 0,-17 4 90,11 0-90,-14 4 90,13 0 0,0 2 0,-2 2 0,0 3 0,0 0 0,1 3 0,0 1-364,1 2 364,0 3 180,-13 13-180,11-6 0,-8 11 0,15-11 0,2 2 90,1 2-188,-9 16 98,9-11-90,-5 13 90,12-16 0,1 1 0,1 0-90,1 0 90,2-1 89,0 1-89,1 0 0,0-1 0,2 0 0,0 1 90,2-3-90,0-1 0,2-2-90,0 0 90,2-1 0,0-1 0,2-2-90,1-1 90,2-2-90,1 1 90,2-2 269,2 1-359,1-1 192,8 10-102,-1-8-180,6 7 180,-2-11-180,2 0 180,1-2-90,1-1 0,1 0 0,2-2 0,0-1 0,1-1 0,1-1 0,13 3 0,-9-5 90,10 2-90,-13-7 0,0-1 0,-1 0 0,1-3 0,1 0 0,12-3 90,-7-1-90,10-3 0,-11 0 0,0-2 0,-1-1 0,0-2 90,0-2-90,-1-1 0,0-3 0,-2-2 0,1-1 0,-1-4-90,-1-1 90,-1-3 0,-1-2 0,0-3 0,-2-2-90,9-22 90,-8 9 0,6-14 0,-9 11 0,-3 1-492,-1-1 492,-1-2 0,-3 3 0,-2-2 0,-2 0 0,-2-22 0,-4 18-90,-4-15-180,-4 25-3139,-4 2 3049,-4 3-1439,-4 4 989,-5 3-1163,-3 3 354,-4 4 1666,-3 4 0,-2 2 1,-2 3-1</inkml:trace>
</inkml:ink>
</file>

<file path=ppt/ink/ink3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0:49.259"/>
    </inkml:context>
    <inkml:brush xml:id="br0">
      <inkml:brushProperty name="width" value="0.08571" units="cm"/>
      <inkml:brushProperty name="height" value="0.08571" units="cm"/>
      <inkml:brushProperty name="color" value="#E71224"/>
    </inkml:brush>
  </inkml:definitions>
  <inkml:trace contextRef="#ctx0" brushRef="#br0">1 98 8612,'7'-19'1259,"0"2"-899,0 9 0,1 0 0,2 0-180,1 0 179,1 1-179,1 0 90,1 2-90,0 0 90,0 2 0,-1 1-180,4 2 0,-5 1 0,4 3 0,-5 1-90,-2 2-90,0 2 90,-1 2-90,0 2-90,-2 2-90,-1 1 0,0 3-90,-2 2-179,1 2-1,-2 1-90,-1 1-719,0 0 0,-1 0 1349,0-1 0,-2 2 0,0 0 0</inkml:trace>
</inkml:ink>
</file>

<file path=ppt/ink/ink3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0:50.869"/>
    </inkml:context>
    <inkml:brush xml:id="br0">
      <inkml:brushProperty name="width" value="0.08571" units="cm"/>
      <inkml:brushProperty name="height" value="0.08571" units="cm"/>
      <inkml:brushProperty name="color" value="#E71224"/>
    </inkml:brush>
  </inkml:definitions>
  <inkml:trace contextRef="#ctx0" brushRef="#br0">804 187 7263,'1'-20'1259,"-1"1"-989,-2 6-90,-1-1 0,-1 0 90,-4-6-180,0 5 0,-3-2-90,1 5 89,-3 2-89,-2 0 0,-2 2 0,-4 1 0,-1 3 0,-4 1 0,-3 3 90,-1 3 0,-23 10 0,12 1 0,-14 9 0,14 0 90,-16 17-90,13-6 0,-11 14 0,22-15 0,2 2-289,4-1 199,2 2 180,2 2-90,1 2 90,3 3-90,2 1 0,3 2 0,2 2 90,3 2-90,4-1 90,2 2-501,4-1 501,4 0 0,2 0-90,4-1 0,4 2 0,3-1 65,19 20 25,10-2-101,2-2-79,4-11-499,-13-21 499,1-3 0,0-4 191,1-4-191,-2-4 0,1-3 0,2-4 90,-1-3 0,-1-4-67,2-4 67,0-5-90,2-4 90,5-7 0,0-5-2812,2-7 2722,-1-6 90,-3-6-173,-2-5 173,-3-5 90,-6-4-180,-3-3 180,-8-3-180,-5-1-1761,-8 3 1671,-6 0-180,-8 4-207,-8-3-152,-8-1-2340,-28-27 1214,2 21 1755,10 21 0,-4-1 0,-9 0 0,-3 0 0,-6-5 0,-1 0 0</inkml:trace>
</inkml:ink>
</file>

<file path=ppt/ink/ink3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48.402"/>
    </inkml:context>
    <inkml:brush xml:id="br0">
      <inkml:brushProperty name="width" value="0.08571" units="cm"/>
      <inkml:brushProperty name="height" value="0.08571" units="cm"/>
      <inkml:brushProperty name="color" value="#E71224"/>
    </inkml:brush>
  </inkml:definitions>
  <inkml:trace contextRef="#ctx0" brushRef="#br0">31 1258 8612,'-16'-7'2699,"2"1"-2340,18 4-179,16 1-90,6 2 0,11 0 90,-8-1-90,5-1 90,6 1-90,4-2-1651,5 0 1651,3 1-574,35 0 574,-17 0 0,27 1-1012,-25 1 1012,-1 2 0,1-2-90,-2 3 0,-1-2 90,-1 1-204,-4-1 204,28 2 201,-21-3-291,19 1 90,-27-1-90,-3 0 90,0-1-90,0 1 0,-1-2 265,0 2-175,-1-1-90,0 0 0,-2 1 0,0 0 0,-2-1 90,23 2-90,-20 0 90,17 0-90,-26 0 0,0 0 0,-5-1 90,-2 1 691,-3-1-691,-2 1-90,0-1 90,-1 1 49,-1-1-49,11-1-90,-11 0 90,8 0-90,-13 0 90,-1-1 1069,1 0-1159,-1 0 635,-1 0-635,-1 0 260,0 0-260,-1 0 0,-3 0 0,0 0 0,5 0 0,5 1 0,-5-1 0,-1 0 0,-10 0 0,-1 1 0,4 0 0,-2 0 0,3 1 90,-5 0-90,1 0 0,-4-1 0,1 1 0,0 0 0,0 0 0,2 1 0,0-1 0,1 0 0,0 0 0,0 1 0,0-1 90,8 1-90,-6 0 0,5-1 0,-7 0 0,1 0 0,-1 0 0,9 0 0,-6 1 89,6-2-89,2 1 0,3-1 0,1 1 0,0 0 0,-9-1 0,1 1 90,-1-1-90,1 0 90,1 0-90,-1 1 90,-1-1-90,8 0 90,-7 0-90,6 1 0,-10-1 0,0 0 0,-1 0 0,0 0 90,0 0-90,5-1 90,-5 0 0,4 0 0,-7 0-90,0 0 90,0-1 0,0 1 0,0 0 0,1-1 0,-1 0 0,7-1 0,1-1-90,-1 1-3212,-4 0 3392,-3 0-91,0 0-89,-1-1 90,2-2 0,-6 2-90,3-3 0,0-1 3482,-3 1-3482,2-3 0,-2 2 0,-1-2 0,6-7 0,-3 2 0,5-6 0,-6 3-90,1 0 90,0-2 0,0-2 0,0 0 0,-2 0 0,-1 1 0,0 0-90,-1-1 90,-1 0 0,0 0 0,-1 0 0,0 0 0,1-10 0,-2 8-90,1-8 90,-2 10 0,1 1-89,-1-1 89,-1 0 0,2 1-180,-2-1 90,1 1 0,-1 0 0,0 0 0,0 1 0,-1-1 0,1 1 0,-1 0-90,1-9 180,-2 8-90,2-6 90,-2 10-90,0-1 90,-1 2 0,1 1 0,0 1 0,-1 0 0,0 1 0,1 0 0,-1 0 0,0-4 0,1 0 0,-2-3 0,1 2 0,-1 2-90,-1 1 90,-1 1 0,-2 0 90,-3 2-180,0 2 90,-1 1 0,1 4 0,0 0 0,-2 0 0,-1 0 0,-1 1 0,-1-1 0,-2 1 0,0 0 0,-1 0 0,-1 1 0,0 0 0,0 0-90,-1 0 90,0 0-90,0 0 90,-2 1 0,-1 0 0,0 0-90,-2 0 90,-12-1 0,8 1-90,-8 0 90,10 0-90,-1 1 90,0 0-89,-1 0 89,0 0-90,-1 0 90,0 0-90,0 0 90,-1 0-180,-12 0 180,9 0-90,-9-1 90,10 1 0,2 0-90,-3-1 90,1 0 0,-1 0 0,0 0-90,0 0 90,0 1 0,-1-2 0,1 1-90,-16-1 90,10 2 0,-11-2-90,14 2 90,0 0-90,0-1 90,1 0 0,-1 1-90,2-1 90,-1 0 0,2 0 0,1 0-90,-1-1 90,3 2 0,-3-1 0,-11 0-90,10 0 90,-12 0 0,16 0 0,-2 1-90,1 1 90,-1-1 0,1 1 0,-2-1 0,2 1-90,-1 1 90,1-1 0,-14 1 0,12 0 0,-9-1-90,13 1 90,1 0 0,0 0 0,2 0 0,0 0 0,0 0 0,2 0 0,-1 1 0,0-1-90,-9 2 90,7-2 0,-7 2 0,10-1 0,0-1 0,1 1-90,-1-1 1,2 0 89,-1 0 0,1 0 0,0 0 0,0-1-90,-1 0 90,0 0 0,-11 0-90,7-1 90,-7 0 0,10 1 0,1-2 0,2 1 0,-2 0-90,1 0 180,-1-1-180,2 1 180,-1 0-180,1 0 90,-10-1 90,6 1-180,-16 0 90,16 1 0,-7 0 0,9 0 0,-1 0 90,-1 1-90,0 0 0,-1 0 0,0 0 0,0 1 0,-2 0 0,-1 0 0,-2 1 0,-3 0 0,0 1 0,-2 1 0,-1 0 0,-2 0 0,-2 1 0,-1 0 0,2 0 0,2 1 0,1-1 0,2 0 90,-28 6-90,22-5 0,-20 5 0,29-6 0,1 0 0,2 0 0,2-1 0,1-1 0,2 1 0,0-1 0,3-1 0,1 1 90,1-1-90,1 0 0,2 0-180,0-1-90,2 1-90,1-1-360,1 0-89,0 1-2609,1-1 3418,-2 1 0,6-2 0,0 1 0</inkml:trace>
</inkml:ink>
</file>

<file path=ppt/ink/ink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58.683"/>
    </inkml:context>
    <inkml:brush xml:id="br0">
      <inkml:brushProperty name="width" value="0.1" units="cm"/>
      <inkml:brushProperty name="height" value="0.1" units="cm"/>
    </inkml:brush>
  </inkml:definitions>
  <inkml:trace contextRef="#ctx0" brushRef="#br0">8 211 1348 0 0,'-8'5'4445'0'0,"18"-4"-4276"0"0,-1-1 0 0 0,1 0-1 0 0,0 0 1 0 0,-1-1 0 0 0,1 0 0 0 0,13-3-1 0 0,4-1 27 0 0,1478-181 2045 0 0,-1446 179-2223 0 0,80-5-551 0 0,-114 12-197 0 0,1 0 0 0 0,-1 2-1 0 0,35 5 1 0 0,-39 0-1564 0 0</inkml:trace>
</inkml:ink>
</file>

<file path=ppt/ink/ink3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49.564"/>
    </inkml:context>
    <inkml:brush xml:id="br0">
      <inkml:brushProperty name="width" value="0.08571" units="cm"/>
      <inkml:brushProperty name="height" value="0.08571" units="cm"/>
      <inkml:brushProperty name="color" value="#E71224"/>
    </inkml:brush>
  </inkml:definitions>
  <inkml:trace contextRef="#ctx0" brushRef="#br0">31 1 14459,'-2'27'1259,"-1"1"-1079,-1-4 90,0 4-90,0 2-90,0 3 90,1 2-180,1-1 89,0 2 1,1-1-90,0-2 90,0-1-180,1-2-89,1-2-181,-1 0-90,1-4-90,0-1 1,0-3-2340,-1 2 2879,1-5 0,0-4 0,-1-7 0</inkml:trace>
</inkml:ink>
</file>

<file path=ppt/ink/ink3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49.894"/>
    </inkml:context>
    <inkml:brush xml:id="br0">
      <inkml:brushProperty name="width" value="0.08571" units="cm"/>
      <inkml:brushProperty name="height" value="0.08571" units="cm"/>
      <inkml:brushProperty name="color" value="#E71224"/>
    </inkml:brush>
  </inkml:definitions>
  <inkml:trace contextRef="#ctx0" brushRef="#br0">1 14 10861,'10'19'809,"0"1"-539,-3-1 0,1 4 0,1 3-90,3 5-261,0 1 261,1 2 77,6 16-167,-5-13-90,3 9 90,-5-18 0,-1-1 0,0-1 90,-1-3 0,0-3 260,-1-2-80,-1-3 282,-2-1 78,0-3 269,-1-1-269,2-1-450,0-8-90,0-2 90,1-8-181,-3-3 181,1-4-90,0-3 0,-1-3 180,0-1-180,-1-3 0,-1 0 0,0-3-90,-1 1 0,0-1-1,-1 0 1,-1 0 0,1 1-90,-2 1 0,1 3-180,0 1-179,0 3-1,-1 1-180,1 2-179,0 2-91,1 2 1,0 0-91,0 2-89,2 1-1,2 2-89,0 0-1170,2 2-809,1 1 2210,2 1 0,-5 2 0,0 1 0</inkml:trace>
</inkml:ink>
</file>

<file path=ppt/ink/ink3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50.080"/>
    </inkml:context>
    <inkml:brush xml:id="br0">
      <inkml:brushProperty name="width" value="0.08571" units="cm"/>
      <inkml:brushProperty name="height" value="0.08571" units="cm"/>
      <inkml:brushProperty name="color" value="#E71224"/>
    </inkml:brush>
  </inkml:definitions>
  <inkml:trace contextRef="#ctx0" brushRef="#br0">292 0 11400,'-6'23'1979,"-1"-2"-1619,-5-7 90,-3 2-270,0 1 90,-3 2-90,1 0 89,-8 11-89,6-6-180,-5 8 0,7-9-539,-4 11-1,5-8-90,-2 6-269,6-11-181,1-2-809,1 0 1889,-4 1 0,8-10 0,-2 0 0</inkml:trace>
</inkml:ink>
</file>

<file path=ppt/ink/ink3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50.256"/>
    </inkml:context>
    <inkml:brush xml:id="br0">
      <inkml:brushProperty name="width" value="0.08571" units="cm"/>
      <inkml:brushProperty name="height" value="0.08571" units="cm"/>
      <inkml:brushProperty name="color" value="#E71224"/>
    </inkml:brush>
  </inkml:definitions>
  <inkml:trace contextRef="#ctx0" brushRef="#br0">0 38 11041,'9'-19'3148,"-1"4"-2878,3 12-90,-2 3 359,16 16-359,-10-4-360,40 47-179,-33-32-181,22 27-1124,-32-35 584,-1-1-989,-1-1-899,-2-1 2968,-1-1 0,-3-7 0,-2-3 0</inkml:trace>
</inkml:ink>
</file>

<file path=ppt/ink/ink3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50.737"/>
    </inkml:context>
    <inkml:brush xml:id="br0">
      <inkml:brushProperty name="width" value="0.08571" units="cm"/>
      <inkml:brushProperty name="height" value="0.08571" units="cm"/>
      <inkml:brushProperty name="color" value="#E71224"/>
    </inkml:brush>
  </inkml:definitions>
  <inkml:trace contextRef="#ctx0" brushRef="#br0">0 247 9332,'16'-2'2968,"0"4"-2428,-9 5-1,1 4-179,-3 0 0,-1 2-90,0 2 629,3 18-809,-4-10 90,3 13 0,-5-17 180,2 9-270,-2-7 0,0 5 0,-1-10 180,0-2 629,0 4 0,0-2 181,-1 2-990,-5-13-90,2-5 0,-5-12 0,6-2 0,1-3-90,0-4 90,2-4-90,1-5 0,2-2 0,3-6-90,2-1 90,4-2-90,2-1 90,2 2-300,3 1 300,2 2-90,0 4 180,2 3-90,-1 5 0,0 3 0,-2 7 90,-1 2 0,0 6 0,-2 3-90,0 4 90,0 3 0,0 5 0,6 11 0,-7 0 0,4 9 0,-8-5 0,-2 1 0,-2 1 0,-3-2 0,0 2 0,-3-2 90,-1 0 121,-2-1-121,-4 10-90,-1-8 0,-4 6 0,1-11 90,-1-2-90,-2-1 0,0-2 0,-2-1-90,1-2-540,-5 0-629,-2-3-270,1-1-630,-3-4-2968,5-4 5127,-3-3 0,9 2 0,4-2 0</inkml:trace>
</inkml:ink>
</file>

<file path=ppt/ink/ink39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51.042"/>
    </inkml:context>
    <inkml:brush xml:id="br0">
      <inkml:brushProperty name="width" value="0.08571" units="cm"/>
      <inkml:brushProperty name="height" value="0.08571" units="cm"/>
      <inkml:brushProperty name="color" value="#E71224"/>
    </inkml:brush>
  </inkml:definitions>
  <inkml:trace contextRef="#ctx0" brushRef="#br0">66 0 8432,'20'0'2609,"-5"4"-2250,-12 9-89,-4 2 0,-4 2 0,-2-2-90,-1 1 90,-1 1-90,0-1-90,0 0 90,0-1-91,0-1 1,2-1 0,0-1-90,2-1 90,-1-1 180,1-1 360,0 3-270,3 0-181,3 0 1,7-2-449,5-6-271,2-1 0,4-3-269,-4 0-91,1 0-1169,-4-2-539,2 1 2608,0-2 0,4-2 0,0 1 0</inkml:trace>
</inkml:ink>
</file>

<file path=ppt/ink/ink3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51.424"/>
    </inkml:context>
    <inkml:brush xml:id="br0">
      <inkml:brushProperty name="width" value="0.08571" units="cm"/>
      <inkml:brushProperty name="height" value="0.08571" units="cm"/>
      <inkml:brushProperty name="color" value="#E71224"/>
    </inkml:brush>
  </inkml:definitions>
  <inkml:trace contextRef="#ctx0" brushRef="#br0">81 1 10591,'16'6'2608,"-6"4"-2428,-13 3 0,-5 2 0,2-2-90,-2 2 0,0 2 0,0 0-90,0 1 90,0 1 0,1 0 0,0 0-90,1 0 90,1 0-90,0-1 0,1-2 0,0 0 90,1-2-90,1-1 0,-1-2 180,1 3 89,0-2-179,4-1-90,2-8 0,3-4 0,1-5 90,-1-1-90,0 1 180,0 0 0,0 0 0,0 0 0,1-2-90,0 1 0,3-1-90,-2 2 0,1 2 0,2 2 0,-1 3 0,2 3 90,-2 2-90,1 2-360,-1 1-450,0 0-1528,-2-1 2338,-1-1 0,-4-3 0,-1-1 0</inkml:trace>
</inkml:ink>
</file>

<file path=ppt/ink/ink3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51.683"/>
    </inkml:context>
    <inkml:brush xml:id="br0">
      <inkml:brushProperty name="width" value="0.08571" units="cm"/>
      <inkml:brushProperty name="height" value="0.08571" units="cm"/>
      <inkml:brushProperty name="color" value="#E71224"/>
    </inkml:brush>
  </inkml:definitions>
  <inkml:trace contextRef="#ctx0" brushRef="#br0">231 0 10771,'13'12'2968,"-5"-3"-2518,-10 6-180,-4-4-4162,0 1 4162,-2 2 769,-1 2-769,-7 9-90,2-4-180,-5 6 90,4-7-270,0 0-90,-1-1-269,-1-1-181,1-1 3302,0-2-3751,0-1-810,0-2-809,1-2 2788,0-1 0,7-5 0,2 0 0</inkml:trace>
</inkml:ink>
</file>

<file path=ppt/ink/ink3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51.867"/>
    </inkml:context>
    <inkml:brush xml:id="br0">
      <inkml:brushProperty name="width" value="0.08571" units="cm"/>
      <inkml:brushProperty name="height" value="0.08571" units="cm"/>
      <inkml:brushProperty name="color" value="#E71224"/>
    </inkml:brush>
  </inkml:definitions>
  <inkml:trace contextRef="#ctx0" brushRef="#br0">0 16 10591,'17'-10'3058,"-1"5"-2788,-4 9 0,0 3-90,-3 1 0,1 2 0,1 2-90,0 1-90,1 2 0,-1 1-90,-1 0-90,0 0-90,0 0-270,-1-1 90,0 0-269,0-2-91,-1 0-179,0-1-630,-1 0-180,1-2 1799,0-1 0,-4-5 0,-1-1 0</inkml:trace>
</inkml:ink>
</file>

<file path=ppt/ink/ink3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52.276"/>
    </inkml:context>
    <inkml:brush xml:id="br0">
      <inkml:brushProperty name="width" value="0.08571" units="cm"/>
      <inkml:brushProperty name="height" value="0.08571" units="cm"/>
      <inkml:brushProperty name="color" value="#E71224"/>
    </inkml:brush>
  </inkml:definitions>
  <inkml:trace contextRef="#ctx0" brushRef="#br0">1 195 10141,'17'-6'3148,"-4"6"-2788,-8 15 0,-3 1-4252,-2 3 4252,0-3 1219,0 18-1399,0-12 0,0 14 0,0-19 0,0 0-90,-1-1 3392,1-3-3212,0 0 629,-1 2-179,1-1 89,-2 1-629,-2-11-180,1-9 0,-2-7-90,3-6 0,2 0 0,2-5 0,2-3 0,2-6 0,4-3 90,3-3-90,3 1 90,2 1-90,2 1 90,2 4-90,1 2-364,1 3 454,-1 5-90,1 3 90,-3 5 0,-1 3-90,-2 5 90,-1 2 0,-1 3 0,-2 4 0,-1 2 365,-1 3-365,-1 4 0,-3 2 0,-1 2 0,-1 1 0,-3 0 90,-1 1-90,-2 0 0,-1 1 90,-1 0-90,-2 0 89,-2 1-89,-1-1 0,-1 0-89,-2-2-181,-1 0-90,-1-2-180,-1-1-809,-8 3 539,4-6-89,-5 2-180,7-7-181,0-2-3147,1-2 4407,-3-3 0,9 1 0,-1-3 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18.166"/>
    </inkml:context>
    <inkml:brush xml:id="br0">
      <inkml:brushProperty name="width" value="0.1" units="cm"/>
      <inkml:brushProperty name="height" value="0.1" units="cm"/>
    </inkml:brush>
  </inkml:definitions>
  <inkml:trace contextRef="#ctx0" brushRef="#br0">379 10 976 0 0,'30'-9'3984'0'0,"-30"9"-3915"0"0,1 0 0 0 0,-1 0 0 0 0,0 0 0 0 0,0 0 0 0 0,0 0 0 0 0,0-1 0 0 0,1 1 0 0 0,-1 0 0 0 0,0 0 0 0 0,0 0 0 0 0,0 0 1 0 0,1 0-1 0 0,-1 0 0 0 0,0 0 0 0 0,0 0 0 0 0,0 0 0 0 0,0 0 0 0 0,3 2 1174 0 0,-3-2-1174 0 0,1 1 0 0 0,-1-1 0 0 0,-11 12 1021 0 0,-218 166 847 0 0,223-173-2114 0 0,-4 3-773 0 0,-1 0 0 0 0,0-1 0 0 0,-1 0 0 0 0,1-1 0 0 0,-23 8 0 0 0,16-9-1449 0 0</inkml:trace>
  <inkml:trace contextRef="#ctx0" brushRef="#br0" timeOffset="1">0 48 212 0 0,'17'-12'8160'0'0,"-13"11"-7418"0"0,7 5-149 0 0,-1 1 1 0 0,1 0 0 0 0,-1 0 0 0 0,0 1 0 0 0,15 13 0 0 0,47 44 330 0 0,-43-37-852 0 0,16 24-1328 0 0,-34-36-953 0 0,1-1 1 0 0,17 16 0 0 0,-18-22-1180 0 0</inkml:trace>
</inkml:ink>
</file>

<file path=ppt/ink/ink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59.088"/>
    </inkml:context>
    <inkml:brush xml:id="br0">
      <inkml:brushProperty name="width" value="0.1" units="cm"/>
      <inkml:brushProperty name="height" value="0.1" units="cm"/>
    </inkml:brush>
  </inkml:definitions>
  <inkml:trace contextRef="#ctx0" brushRef="#br0">41 166 1028 0 0,'-38'15'3646'0'0,"36"-14"-3142"0"0,6-1-23 0 0,71-8 801 0 0,81-19 1 0 0,-67 10-780 0 0,35-5-178 0 0,288-47 864 0 0,4 31-2731 0 0,-399 38 521 0 0,1 0-1 0 0,-1 1 1 0 0,1 1 0 0 0,20 4 0 0 0</inkml:trace>
</inkml:ink>
</file>

<file path=ppt/ink/ink4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52.676"/>
    </inkml:context>
    <inkml:brush xml:id="br0">
      <inkml:brushProperty name="width" value="0.08571" units="cm"/>
      <inkml:brushProperty name="height" value="0.08571" units="cm"/>
      <inkml:brushProperty name="color" value="#E71224"/>
    </inkml:brush>
  </inkml:definitions>
  <inkml:trace contextRef="#ctx0" brushRef="#br0">1 27 8072,'22'-11'1889,"-1"2"-1439,-8 5 360,0 2-181,2 2 91,2 9-540,-6 1-90,-2 11-90,-11-6 90,-1 0-90,0-4 90,0 0 0,0-1-1,0 0 1,-1 4-90,1-1 90,2 3 0,4-3-90,2-3 0,5-2 90,-1-4-90,3 0 0,1-2 0,3 0-180,2 0 0,1-2-179,1 0-91,1-2 0,1 0-90,1 0-89,0-2-1,0 0-359,10-3 629,-9 0 0,7 0 180,-10 1 0,-3 1 180,0 0 90,-1 1 90,-1 0 90,-1 1 90,0 0 0,-2 1 269,-1 0 271,4 1 89,-2 2-269,1 2-91,-4 4-359,-6 4 0,-4 0-180,-3 1 90,-3-1-90,-1 1 0,-2 2 0,-1 1 0,-2 0-180,0 2-180,-2-2-719,-7 8 269,4-7-359,-5 6-720,5-9-270,1-1 2069,-1-1 0,-1-2 0,0 0 0</inkml:trace>
</inkml:ink>
</file>

<file path=ppt/ink/ink4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52.870"/>
    </inkml:context>
    <inkml:brush xml:id="br0">
      <inkml:brushProperty name="width" value="0.08571" units="cm"/>
      <inkml:brushProperty name="height" value="0.08571" units="cm"/>
      <inkml:brushProperty name="color" value="#E71224"/>
    </inkml:brush>
  </inkml:definitions>
  <inkml:trace contextRef="#ctx0" brushRef="#br0">1 11 10771,'16'-8'2878,"1"6"-2608,-5 7 90,1 3-4342,-2 1 4162,0 2 859,2 2-949,-1 1 0,0 2 0,0 0 0,-1 2-90,0-1 3212,0 1-3392,-2 0-179,1-1-181,-1 0 0,-1-1-269,0-1-91,-1-1-1079,-1-1-449,1-1 2428,0-1 0,-3-5 0,-1-2 0</inkml:trace>
</inkml:ink>
</file>

<file path=ppt/ink/ink4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53.738"/>
    </inkml:context>
    <inkml:brush xml:id="br0">
      <inkml:brushProperty name="width" value="0.08571" units="cm"/>
      <inkml:brushProperty name="height" value="0.08571" units="cm"/>
      <inkml:brushProperty name="color" value="#E71224"/>
    </inkml:brush>
  </inkml:definitions>
  <inkml:trace contextRef="#ctx0" brushRef="#br0">224 0 8162,'-18'7'2159,"0"0"-1709,1-2 90,-1 0-181,0 0 181,-7 2-360,7-2 0,-4 3 0,8-3-90,1 1 0,2-2 90,1 2 89,-1 1-89,4 1 0,3 2-180,10 1 90,2-2-90,5 0 0,-1-3 90,2 1-180,-1-1-90,2 0-90,1 0-179,0 0-181,2 1-270,0 0-89,1 0-540,0-1 0,0 1 1529,0-1 0,3 1 0,0-2 0</inkml:trace>
</inkml:ink>
</file>

<file path=ppt/ink/ink4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53.942"/>
    </inkml:context>
    <inkml:brush xml:id="br0">
      <inkml:brushProperty name="width" value="0.08571" units="cm"/>
      <inkml:brushProperty name="height" value="0.08571" units="cm"/>
      <inkml:brushProperty name="color" value="#E71224"/>
    </inkml:brush>
  </inkml:definitions>
  <inkml:trace contextRef="#ctx0" brushRef="#br0">0 65 8252,'12'-14'1979,"0"1"-1529,-2 6-180,2 0 0,1 1-91,2 0 91,1 2-180,1 1-180,0 0-359,0 2-271,0 1-719,0 1-270,-3 0 1709,-2 2 0,-5-2 0,-3 0 0</inkml:trace>
</inkml:ink>
</file>

<file path=ppt/ink/ink4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54.032"/>
    </inkml:context>
    <inkml:brush xml:id="br0">
      <inkml:brushProperty name="width" value="0.08571" units="cm"/>
      <inkml:brushProperty name="height" value="0.08571" units="cm"/>
      <inkml:brushProperty name="color" value="#E71224"/>
    </inkml:brush>
  </inkml:definitions>
  <inkml:trace contextRef="#ctx0" brushRef="#br0">0 1 6273,'29'18'0</inkml:trace>
</inkml:ink>
</file>

<file path=ppt/ink/ink4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54.318"/>
    </inkml:context>
    <inkml:brush xml:id="br0">
      <inkml:brushProperty name="width" value="0.08571" units="cm"/>
      <inkml:brushProperty name="height" value="0.08571" units="cm"/>
      <inkml:brushProperty name="color" value="#E71224"/>
    </inkml:brush>
  </inkml:definitions>
  <inkml:trace contextRef="#ctx0" brushRef="#br0">486 0 11041,'-5'19'1889,"-1"-2"-1350,-4-3-89,-1 3-90,-3 2-4342,-2 3 4252,-2 2 735,-1 2-735,-12 14-180,7-9 0,-8 10 0,9-14 0,0 0-90,0-1 0,-1-2-90,0 0-270,1-2-90,0-2 2206,-7 3-2925,7-7-810,-7 2-630,11-9 2622,1-3 0,9-2 0,1-3 0</inkml:trace>
</inkml:ink>
</file>

<file path=ppt/ink/ink4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54.514"/>
    </inkml:context>
    <inkml:brush xml:id="br0">
      <inkml:brushProperty name="width" value="0.08571" units="cm"/>
      <inkml:brushProperty name="height" value="0.08571" units="cm"/>
      <inkml:brushProperty name="color" value="#E71224"/>
    </inkml:brush>
  </inkml:definitions>
  <inkml:trace contextRef="#ctx0" brushRef="#br0">1 9 10861,'16'-6'3688,"1"4"-3059,-5 6-89,1 4-90,-1 1-90,-1 3-91,3 2 1,-2 1-90,1 2 0,0 2-90,0 0 90,-1 1-180,-1 0-270,-1 0-90,-1-1-179,0 0-1,-2-1 0,1-2-269,-2 0-1,0-2-89,-1 0-181,0-1-3417,-1-2 4497,2 1 0,-3-7 0,0 2 0</inkml:trace>
</inkml:ink>
</file>

<file path=ppt/ink/ink4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54.796"/>
    </inkml:context>
    <inkml:brush xml:id="br0">
      <inkml:brushProperty name="width" value="0.08571" units="cm"/>
      <inkml:brushProperty name="height" value="0.08571" units="cm"/>
      <inkml:brushProperty name="color" value="#E71224"/>
    </inkml:brush>
  </inkml:definitions>
  <inkml:trace contextRef="#ctx0" brushRef="#br0">167 47 8972,'19'-13'2069,"-2"3"-1620,-8 3 91,0 2-90,0-1 0,1 2-181,0 2-179,-4 9 90,-6 16-90,-2-4-90,-2 9 90,1-12 0,1 0-90,-1 2 0,1 0 90,0 0-90,0 1 0,0-1 90,0 2-90,0-2 90,0 1-90,0-2 90,0-1 90,0-1 0,-1-1 0,0-3 0,-2 0-1,-1-2-89,-3 0 90,0-3-90,-2-1 0,1-1 0,-2-2-90,-1 0 0,1-1-180,-1 0-180,0-1-269,0-1-1080,-6-1 539,4 0-629,-4-1-539,6 1 2338,1 0 0,5 1 0,2 0 0</inkml:trace>
</inkml:ink>
</file>

<file path=ppt/ink/ink4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56.070"/>
    </inkml:context>
    <inkml:brush xml:id="br0">
      <inkml:brushProperty name="width" value="0.08571" units="cm"/>
      <inkml:brushProperty name="height" value="0.08571" units="cm"/>
      <inkml:brushProperty name="color" value="#E71224"/>
    </inkml:brush>
  </inkml:definitions>
  <inkml:trace contextRef="#ctx0" brushRef="#br0">40 0 7892,'-4'30'2339,"-1"1"-1619,2-3-91,0 3-89,-1 5-90,1 5 0,0 2-4252,0 5 4162,0 1-1,1 2 891,0 0-891,0 1 91,1 0-90,0 0-390,1 0 210,0-1 0,2 0 0,1-1-90,1 0 0,1 0 0,2-3-180,1-1 90,3-2-270,1-3-90,2-2 0,3-4 1,3-3-181,2-3-90,4-5-269,0-5-360,3-4-810,1-5-630,2-4 2699,1-5 0,5-7 0,1-3 0</inkml:trace>
</inkml:ink>
</file>

<file path=ppt/ink/ink4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4:05.293"/>
    </inkml:context>
    <inkml:brush xml:id="br0">
      <inkml:brushProperty name="width" value="0.08571" units="cm"/>
      <inkml:brushProperty name="height" value="0.08571" units="cm"/>
      <inkml:brushProperty name="color" value="#E71224"/>
    </inkml:brush>
  </inkml:definitions>
  <inkml:trace contextRef="#ctx0" brushRef="#br0">447 1288 8792,'4'8'2069,"-4"-3"-1979,23 3-90,-9-5 90,2 0 0,3 0-90,1 0 0,4 1 0,17 2 90,-7-1-90,16 3 90,6-1-90,-10 0 89,34 3-89,-12-2-685,1-1 595,-4-1 180,-20-3-180,2 0 180,-2-1-417,1 0 327,-1 0 0,-3 0-90,2-1 90,-4 1 90,1-1-180,-3 1 0,18-1 90,-13 1-179,12-1 89,-16 0-90,0-1 90,-1 0-90,1 1 180,-1 0-180,1-1 180,0 1 0,1-1 0,-1 1-90,0-1 0,17 1 180,-14 0-180,14 1 90,-19-2 0,1 2 0,0-2-90,1 1 0,-1 0-90,0 0 180,1 0-180,0-1-2370,0 1 2460,1-1-5,-1 0 5,21 0 0,-13 1 90,14-1-90,-19 1 90,-3-1 0,0 1-90,17 1 180,-13 0-180,12 0 180,-15 1-180,-1-1 90,0 1 0,-2 0 0,3 0-90,-1 1 180,1-1-90,18 2 0,-14-1 0,14 1 0,-17-2-180,15 1 90,-14-2 3215,12 1-3215,-16-2-90,0-1 443,-1 0-443,23-2 90,-14-1-163,16-1 253,-19 0 90,-2-1-180,1 1 270,-3-1-90,14-2 0,0-2-90,0 1 0,-5 0 0,-1-2 90,-12 3-90,11-4 90,-15 3 0,-1 0-90,1 0 90,0 0 0,-1-1 253,1 0-253,0 0 90,13-4 0,-9 2-90,9-2 89,3-1 1,-12 4-90,12-4 90,-17 4-90,0 0 0,2 0 0,-2-1 0,3-1 90,-2 0 90,16-8-270,-11 4 90,10-5-90,-16 6 0,1-1-3302,-3 1 3212,0-1-168,-2 2 258,0-1 90,-1 0-180,1 1 180,1-1-180,-1 1 90,11-6 90,-8 4-180,8-4 180,-12 6-180,-1-1 180,0 0-180,-1 0 180,-2 0-90,-1-1 0,-1 0 0,-2 0 0,-1 0 0,-2 0 90,-1-1 3220,0 0-3220,-1 0 519,-1-1-609,2-9 0,-4 6 90,1-6 0,-5 8 0,-1 1 0,-2 0 0,0 1-90,-2-1 0,-1 0 90,-3-7-90,0 6 0,-4-6 90,0 7-90,-1 1 0,-2-1 0,-2 2 0,-2-2 0,-2 2 0,-2-1 0,-1 2 0,-3-1 0,0 3 0,-3-1 0,-1 2 0,-3-1 0,-3 2 0,-3 0 0,-1 1 90,-2 1-90,-1 1 0,-1 0 0,-1 1 0,-21-2 90,14 3-553,-15-2 463,20 4-90,0-1 90,1 0 0,1 1 0,2 1 0,-2-1 0,5 1 90,-5-1-90,-17-1 0,11 1-3239,-15-2 3239,18 3 90,-2-2-861,0 1 771,-2 0-41,0 0 41,-24-3-2017,-6 0 2017,0 0 90,6-1 1837,23 3-1927,-1 1 745,2-1-655,-1 0-180,1 1 226,0-1-226,0 1 180,0 0-180,0-1 3362,0 1-3272,1 0 0,-1 0 0,1 1-90,0-1-3182,-1 1 3362,1 1-90,0-1-96,1 1 96,-1 0 0,1 0 0,-21 1 0,2 0 0,-1 1 90,11 0-180,19 1 90,0 1 0,1 0-90,1 0 90,0 1 3225,1 0-3135,-14 3-90,11-2 0,-11 2 0,15-1 90,0-1-180,-1 1 180,0 0-180,-1-1 180,1 0-90,-2-1 0,1 1-90,0 0 180,-1-1-180,0 1 292,-1-1-202,0 0 0,0 1 0,0-1 0,1 0-90,0 0 90,0 0 0,1 1 0,0-1 0,0 1 0,1 0 90,1-1-180,-1 2 180,0-1-90,-14 3-90,10-1 90,-13 3 0,14-3 0,-2 1 0,0 0-90,-18 4 90,14-2-277,-15 1 187,19-2 0,-1-1 0,0 0 0,1 0 381,0 0-291,0 0-90,2-1 90,1 0-90,2 0 90,-1 0-90,1-1 90,0 1-90,0-1 90,0 1-90,1-1 0,-1 0 0,1 1 0,-14 1 0,11-1 1,-11 2-1,15-3 90,1 1-90,-1-1 90,1 1-90,0 1 378,1-1-288,0 1-90,0 0 90,1 1 0,-12 7 0,10-3 0,-9 5 0,12-2 0,-7 8-90,8-3-270,-3 5-179,13-7-631,2 1 91,3-1 1079,2 1 0,1 2 0,2 1 0</inkml:trace>
</inkml:ink>
</file>

<file path=ppt/ink/ink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59.529"/>
    </inkml:context>
    <inkml:brush xml:id="br0">
      <inkml:brushProperty name="width" value="0.1" units="cm"/>
      <inkml:brushProperty name="height" value="0.1" units="cm"/>
    </inkml:brush>
  </inkml:definitions>
  <inkml:trace contextRef="#ctx0" brushRef="#br0">36 5 1104 0 0,'-8'-4'2862'0'0,"6"5"-2712"0"0,1 0 1 0 0,0 1 0 0 0,0-1 0 0 0,-1 0 0 0 0,1 1-1 0 0,0-1 1 0 0,0 1 0 0 0,0 0 0 0 0,0-1 0 0 0,0 1-1 0 0,1 0 1 0 0,-1-1 0 0 0,0 1 0 0 0,1 0-1 0 0,0 0 1 0 0,-1-1 0 0 0,1 1 0 0 0,0 3 0 0 0,-3 42 1073 0 0,2-36-1012 0 0,1 159 1226 0 0,-1 0-4458 0 0,-1-152 1034 0 0,-3-2-309 0 0</inkml:trace>
</inkml:ink>
</file>

<file path=ppt/ink/ink4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9:49.346"/>
    </inkml:context>
    <inkml:brush xml:id="br0">
      <inkml:brushProperty name="width" value="0.08571" units="cm"/>
      <inkml:brushProperty name="height" value="0.08571" units="cm"/>
      <inkml:brushProperty name="color" value="#E71224"/>
    </inkml:brush>
  </inkml:definitions>
  <inkml:trace contextRef="#ctx0" brushRef="#br0">40 0 10591,'-4'25'1529,"2"-1"-6740,1-6 5571,1 2 0,0 2 1409,0 2-1499,-1 2-1,1 1 1,0 0-90,-1 0 949,1-1-949,-1 1 0,1-3 90,0 9 3302,0-9-3482,-1 5 0,1-11 0,-1-3 270,1 0 539,0 2-179,-1-2-181,-1 1-269,-3-10-270,-1-10 0,-1-7-180,3-7 90,2-3-89,2-3-1,2-5 0,3-4 0,3-3 0,3-2 0,3 2-3302,3 2 3302,1 2-2,3 2 2,2 4 180,-1 5-90,1 3 0,-1 5 0,0 4 3436,-1 4-3346,1 3 139,-1 5-229,2 4 90,-1 4 0,0 4 0,-1 6-90,-1 4 90,-2 4 0,-2 4 0,-3-1 0,0 15 0,-7-11 90,0 10-90,-6-16 179,-2 0 1,-3 0 0,-2-1 0,-2 0 90,-3-3-90,-2-1 0,-2-2-90,0-3 90,0-3-90,-1-2 89,-5 0-89,6-7-90,-6 2 0,8-8-90,0-1-89,1-2-91,0-1-180,0-2-90,1-2-179,1-1-1,1-3-179,2 0-1,1-2-269,3-1-990,1-1-899,3-1 3058,1-2 0,3-5 0,1-1 0</inkml:trace>
</inkml:ink>
</file>

<file path=ppt/ink/ink4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9:49.630"/>
    </inkml:context>
    <inkml:brush xml:id="br0">
      <inkml:brushProperty name="width" value="0.08571" units="cm"/>
      <inkml:brushProperty name="height" value="0.08571" units="cm"/>
      <inkml:brushProperty name="color" value="#E71224"/>
    </inkml:brush>
  </inkml:definitions>
  <inkml:trace contextRef="#ctx0" brushRef="#br0">0 4 7803,'21'-2'1799,"-2"1"-1350,-8 3 1,0 2 0,-1 2-90,0 1-3303,-2 3 3303,-2 1 0,-2 1-180,-2 1 90,-1 2 179,-5 7-179,1-4-90,-3 5 3392,0-6-3302,-2 4-180,2-5 0,-1 3-90,2-7 180,1-2 179,-1 2-89,1-1-90,3 3-90,5-5-90,7-2-450,4-2-359,2-1-360,1-1-541,1 0 721,1 0-450,-4 0-180,-1-2 1619,-4 1 0,-5-2 0,0 0 0</inkml:trace>
</inkml:ink>
</file>

<file path=ppt/ink/ink4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9:49.979"/>
    </inkml:context>
    <inkml:brush xml:id="br0">
      <inkml:brushProperty name="width" value="0.08571" units="cm"/>
      <inkml:brushProperty name="height" value="0.08571" units="cm"/>
      <inkml:brushProperty name="color" value="#E71224"/>
    </inkml:brush>
  </inkml:definitions>
  <inkml:trace contextRef="#ctx0" brushRef="#br0">89 21 8882,'13'-12'4228,"-9"4"-3959,-20 16-89,3-1 0,-10 12-90,13-6 90,1 2-90,0 2 0,2-1 0,1 2 0,2-2 0,0 1 0,2 1-90,0-3 90,2 1-90,0-3 90,1 0-90,0-1 90,2-1-1,0-2-89,4-1 0,5-5 0,0-2 0,3-5-3302,-4-3 3302,3-1-1025,0-1 1025,0-2 0,-1 1 0,-1-1 0,-2 1 0,0 1 2884,-1 1-2884,-1 0 1443,0 2-1532,1-1 89,0 2 0,1 3 0,-1 5 0,-1 7 0,-2 0 0,-1 4 0,-3-3-90,0 1-90,0 0-90,-1 1-180,0 1 0,0-1-179,-1 1-181,1-1-1798,-1 0 2608,0 4 0,1-8 0,-1 1 0</inkml:trace>
</inkml:ink>
</file>

<file path=ppt/ink/ink4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9:50.546"/>
    </inkml:context>
    <inkml:brush xml:id="br0">
      <inkml:brushProperty name="width" value="0.08571" units="cm"/>
      <inkml:brushProperty name="height" value="0.08571" units="cm"/>
      <inkml:brushProperty name="color" value="#E71224"/>
    </inkml:brush>
  </inkml:definitions>
  <inkml:trace contextRef="#ctx0" brushRef="#br0">295 0 10051,'-11'22'2699,"0"-2"-2070,0-5-89,-1 1 0,-2 1-180,1 0-3483,-2 3 3393,0-1 0,-1 2-90,1 0 0,-1 0 0,-5 9-270,6-8-90,-5 6 3212,9-10-3482,-1-1-179,2-2-91,0-1-89,1-3-451,1 0-3057,1-3 4317,-4-2 0,6-3 0,-1-2 0</inkml:trace>
</inkml:ink>
</file>

<file path=ppt/ink/ink4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9:50.734"/>
    </inkml:context>
    <inkml:brush xml:id="br0">
      <inkml:brushProperty name="width" value="0.08571" units="cm"/>
      <inkml:brushProperty name="height" value="0.08571" units="cm"/>
      <inkml:brushProperty name="color" value="#E71224"/>
    </inkml:brush>
  </inkml:definitions>
  <inkml:trace contextRef="#ctx0" brushRef="#br0">1 0 11940,'17'5'1799,"-1"2"-1259,-5 4-180,2 4-1,1 3-179,2 4 90,1 3-90,1 2-90,1 3 90,-1 0-90,0 0-90,-2-1 180,-2-1-270,-1-2-180,-1-1-90,-1-1-180,-2-2-179,-1-2-181,-1-2-269,0-2-900,-2-2-629,0-2 2698,0-2 0,-2-5 0,-1-1 0</inkml:trace>
</inkml:ink>
</file>

<file path=ppt/ink/ink4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9:53.507"/>
    </inkml:context>
    <inkml:brush xml:id="br0">
      <inkml:brushProperty name="width" value="0.08571" units="cm"/>
      <inkml:brushProperty name="height" value="0.08571" units="cm"/>
      <inkml:brushProperty name="color" value="#E71224"/>
    </inkml:brush>
  </inkml:definitions>
  <inkml:trace contextRef="#ctx0" brushRef="#br0">44 27 9691,'2'7'3958,"-1"-4"-3598,-1 28 90,-1-9-90,0 2-91,-1 2 1,1 1-90,0 1 90,-1-1-90,1 0 180,-1 9-180,-1-2-90,1-1-1,0-8 181,1-10 720,0-3-91,0 4 1,-1-4-810,-4-5-90,2-7-90,-2-9 0,3-5-90,0-2-90,2-5 90,1-3-90,2-6 0,3-4 1,4-3 89,3-1 0,3 0 0,2 3 0,2 2 90,2 4-90,0 4 90,0 5 0,-1 5 0,1 4 0,-1 4 0,-1 4 90,1 4-90,8 11 90,-6 2 0,5 9 0,-11 1-89,-1 4 178,-3 1-89,-1 4 90,-2-2 90,-4 1 0,-1-2 360,-4 11-360,-2-11 90,-4 9-90,-3-14 89,-1 0-89,-2-2 0,-2-4 0,0-1 0,-1-4 0,1-2-90,-1-3 0,0-2-90,0-2 90,1-2-90,-1-2-90,1-2-90,-1-1-90,0-2-180,1-1 1,1-2-991,-5-4 631,6 2-91,-3-5-359,7 5-2339,1-6 630,3 3 2968,1-4 0,3 9 0,0 1 0</inkml:trace>
</inkml:ink>
</file>

<file path=ppt/ink/ink4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9:53.921"/>
    </inkml:context>
    <inkml:brush xml:id="br0">
      <inkml:brushProperty name="width" value="0.08571" units="cm"/>
      <inkml:brushProperty name="height" value="0.08571" units="cm"/>
      <inkml:brushProperty name="color" value="#E71224"/>
    </inkml:brush>
  </inkml:definitions>
  <inkml:trace contextRef="#ctx0" brushRef="#br0">1 10 7892,'21'-5'2069,"-1"1"-1709,-9 4 90,1 1 0,-2 2-91,0 1 1,-1 2 0,-1 1 0,-2 1-90,0 2-1,-3 0 361,0 1-360,-3 6-90,0-4 90,-2 4-90,-1-2 89,0 0 181,0 2 180,0-3-360,0-1-90,5-2-180,3-2-270,4-3-540,7-3-269,0 0 449,5-1 90,-3-1 1,-1-1-3303,-4-1 3392,-1 0 180,0-1 1,0 1-91,-1-1 0,3 0 630,0 1 539,1 1 3393,-1 2-3393,-3 4-539,-1 5 270,-3 5-270,-3 0-90,-1 2 0,-2-3-90,-1 1 89,0 1-89,0 1-90,-1 1 90,0 0 0,-1 0-90,-1 0-180,1 0-89,-1-1-91,-1 1-989,0 5-540,-1-1-1889,0-2 3778,0-2 0,4-12 0,-1-1 0</inkml:trace>
</inkml:ink>
</file>

<file path=ppt/ink/ink4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9:54.166"/>
    </inkml:context>
    <inkml:brush xml:id="br0">
      <inkml:brushProperty name="width" value="0.08571" units="cm"/>
      <inkml:brushProperty name="height" value="0.08571" units="cm"/>
      <inkml:brushProperty name="color" value="#E71224"/>
    </inkml:brush>
  </inkml:definitions>
  <inkml:trace contextRef="#ctx0" brushRef="#br0">127 1 11670,'-20'1'810,"1"0"-720,7 3 90,-1-1-90,3 0 0,-1 1 0,2 0 0,0 0 89,-1 3 1,3 1-90,1 5 0,6-3 0,4 2 90,3-3-90,2 2 0,3-1 0,1 2 0,1-1 0,0 0 0,1 0-90,0 0-90,-2-1-180,1-1-90,-2 0-269,-1-1-1170,4 3 0,-5-3 1799,4 0 0,-10-5 0,0-1 0</inkml:trace>
</inkml:ink>
</file>

<file path=ppt/ink/ink4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9:54.578"/>
    </inkml:context>
    <inkml:brush xml:id="br0">
      <inkml:brushProperty name="width" value="0.08571" units="cm"/>
      <inkml:brushProperty name="height" value="0.08571" units="cm"/>
      <inkml:brushProperty name="color" value="#E71224"/>
    </inkml:brush>
  </inkml:definitions>
  <inkml:trace contextRef="#ctx0" brushRef="#br0">330 0 11490,'-21'21'3059,"-22"24"-2789,22-21-91,-18 19 1,21-19-90,1 1-90,-2 1-180,1 3-89,0-3-901,-5 11 361,6-12-361,-5 8-719,8-14-539,0-3 2428,1-3 0,6-6 0,1-3 0</inkml:trace>
</inkml:ink>
</file>

<file path=ppt/ink/ink4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9:54.780"/>
    </inkml:context>
    <inkml:brush xml:id="br0">
      <inkml:brushProperty name="width" value="0.08571" units="cm"/>
      <inkml:brushProperty name="height" value="0.08571" units="cm"/>
      <inkml:brushProperty name="color" value="#E71224"/>
    </inkml:brush>
  </inkml:definitions>
  <inkml:trace contextRef="#ctx0" brushRef="#br0">1 12 10411,'17'-7'2968,"-3"2"-2428,-1 11-90,-2 2-90,2 3-1,2 3-179,1 2 90,0 3-180,2 2 90,0 3-90,0-1 0,0 2 0,-2 0 0,-1-2-90,0 1-180,-3-3-180,0 0 0,-2-3-269,-1-1-1,-1-1-180,-1-3 91,0-1-2249,-2-1 2968,3-2 0,-5-4 0,2-1 0</inkml:trace>
</inkml:ink>
</file>

<file path=ppt/ink/ink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59.903"/>
    </inkml:context>
    <inkml:brush xml:id="br0">
      <inkml:brushProperty name="width" value="0.1" units="cm"/>
      <inkml:brushProperty name="height" value="0.1" units="cm"/>
    </inkml:brush>
  </inkml:definitions>
  <inkml:trace contextRef="#ctx0" brushRef="#br0">4 264 1368 0 0,'-1'-3'274'0'0,"0"-1"-1"0"0,1 1 1 0 0,-1 0 0 0 0,1-1 0 0 0,0 1-1 0 0,0 0 1 0 0,0-1 0 0 0,0 1-1 0 0,1 0 1 0 0,-1-1 0 0 0,1 1-1 0 0,0 0 1 0 0,0 0 0 0 0,0-1-1 0 0,3-3 1 0 0,-1 1-55 0 0,0 1 0 0 0,1-1 0 0 0,0 1 0 0 0,0 0 0 0 0,1 1 0 0 0,-1-1 0 0 0,9-6-1 0 0,7-3 4 0 0,0 2-1 0 0,1 0 0 0 0,31-13 1 0 0,-46 22-95 0 0,35-15-120 0 0,1 2 0 0 0,0 2 0 0 0,1 2 0 0 0,1 1 0 0 0,0 3 0 0 0,77-6 0 0 0,-115 14-310 0 0,1-1 0 0 0,-1 1 1 0 0,1 1-1 0 0,-1-1 0 0 0,1 1 0 0 0,-1 0 0 0 0,1 1 0 0 0,6 2 1 0 0,-11-3-256 0 0,-1-1 465 0 0,-1 0 1 0 0,1 0 0 0 0,-1 0-1 0 0,1 0 1 0 0,-1 1 0 0 0,1-1-1 0 0,-1 0 1 0 0,1 0 0 0 0,-1 0-1 0 0,0 1 1 0 0,1-1 0 0 0,-1 0-1 0 0,0 1 1 0 0,1-1 0 0 0,-1 0-1 0 0,0 1 1 0 0,1-1 0 0 0,-1 1-1 0 0,0-1 1 0 0,1 0 0 0 0,-1 1-1 0 0,0 0 1 0 0,3 6-657 0 0</inkml:trace>
</inkml:ink>
</file>

<file path=ppt/ink/ink4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49:55.280"/>
    </inkml:context>
    <inkml:brush xml:id="br0">
      <inkml:brushProperty name="width" value="0.08571" units="cm"/>
      <inkml:brushProperty name="height" value="0.08571" units="cm"/>
      <inkml:brushProperty name="color" value="#E71224"/>
    </inkml:brush>
  </inkml:definitions>
  <inkml:trace contextRef="#ctx0" brushRef="#br0">1 19 9691,'14'-13'4138,"-2"7"-3598,-3 12-90,-3 2-181,0 5 91,-1-2-180,-1 2 90,1 1 360,7 25-540,-6-20 89,5 18 1,-7-23 450,0-1 0,0 1-720,2-9 0,0-9 0,1-5 0,0-6 0,-1-1 0,2 0 0,0-1 90,1 0-90,0 2 90,-2 0-90,0 3 0,-1 2 0,0 0 0,0 0 0,1 3 90,1 5 0,1 6 0,-2 4 0,-1 3 0,-1-1 0,3 6 0,-1-3 0,2 4 90,3 0 0,-3-6-90,4 2 90,-4-8-90,6-4 0,-1-2 0,4-3 0,-2-2 0,-1-2 90,2-3-90,-2 1 180,1-2 0,-2 0 360,3-4-181,-5 5-89,2-2-90,-6 6 0,-1 0 0,1 0-90,1 0 0,4 4-90,-2 6 0,2 8 90,-5 2-90,-1 2 0,-2-2-90,-1 2 0,-1-1-90,-1 2 0,0-1-180,-1 0-809,-2 7 359,0-5-89,-1 4-91,-1-6-179,-1-1-1439,0-1-1260,-1-1 3868,-2-2 0,4-4 0,-1-3 0</inkml:trace>
</inkml:ink>
</file>

<file path=ppt/ink/ink4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21.918"/>
    </inkml:context>
    <inkml:brush xml:id="br0">
      <inkml:brushProperty name="width" value="0.08571" units="cm"/>
      <inkml:brushProperty name="height" value="0.08571" units="cm"/>
      <inkml:brushProperty name="color" value="#E71224"/>
    </inkml:brush>
  </inkml:definitions>
  <inkml:trace contextRef="#ctx0" brushRef="#br0">0 31 15088,'20'-9'360,"3"1"-270,1 5-540,50-2-359,-18 3-626,24-1 715,-36 3 106,-17 1-2085,8 1 631,-10-1 2068,5 1 0,-20-2 0,-2 1 0</inkml:trace>
</inkml:ink>
</file>

<file path=ppt/ink/ink4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2:22.140"/>
    </inkml:context>
    <inkml:brush xml:id="br0">
      <inkml:brushProperty name="width" value="0.08571" units="cm"/>
      <inkml:brushProperty name="height" value="0.08571" units="cm"/>
      <inkml:brushProperty name="color" value="#E71224"/>
    </inkml:brush>
  </inkml:definitions>
  <inkml:trace contextRef="#ctx0" brushRef="#br0">20 20 9871,'-15'10'4678,"11"-1"-4049,6-4-179,10-2 0,4-5-90,4 0-1,5-1-179,3-1 90,4 0-180,0 0-90,1 0-180,11 0-90,-12 0 1,7 0-271,-17 2 180,-2 0-180,-3 0 1,-2 1-1080,-2-1 1619,1 1 0,-7 0 0,0 0 0</inkml:trace>
</inkml:ink>
</file>

<file path=ppt/ink/ink4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4:15.984"/>
    </inkml:context>
    <inkml:brush xml:id="br0">
      <inkml:brushProperty name="width" value="0.08571" units="cm"/>
      <inkml:brushProperty name="height" value="0.08571" units="cm"/>
      <inkml:brushProperty name="color" value="#E71224"/>
    </inkml:brush>
  </inkml:definitions>
  <inkml:trace contextRef="#ctx0" brushRef="#br0">1150 218 8612,'-8'-21'2249,"-1"0"-1710,-1 4-179,2 6-180,-2-3 90,3 8-180,0-1 90,-1 0-90,0 0 90,-2 0-180,-2 0 90,0 0 0,-2 1-90,0-1 0,-3 0 90,-9-2-90,4 2 0,-8-2 0,8 3 0,-1 0 90,-1 1-90,-1 0 0,1 1 89,-12-1-89,8 3 90,-8-1-90,11 3 90,0 1-90,0 1 0,0 1 0,-1 2 0,-1 1 0,0 2 0,0 0 0,0 2 90,1 0-90,1 2 0,0 1 0,0 1 90,-9 8 0,6-2 0,-7 6 0,10-5 0,2 1-90,0 1 0,3 0 90,-1 3 0,1 1-90,2 2 90,-6 15-90,7-9 0,-8 25 0,9-8 0,2-1 0,4-2 90,5-14-90,1 0 0,2 1-3392,1 0 3482,3 0 0,4 17-90,1-11-92,5 13 92,0-17 90,2-2-90,3 0 90,3-2-90,2-1 90,4-2-90,1-1 90,3-3-90,1-1 180,3-3-90,1-2 0,2-1 90,2-4 0,0-1-90,2-3 90,0-2-1,1-1 91,1-2-90,1-3 0,0-1 90,1-3 0,1-2 0,0-2 269,19-10-858,-12-1 589,14-8 90,-18-1-90,-2-3 0,-1-3-1,-3-4-89,-1-3 0,-3-4 0,-2-3 0,-3-3 90,-3-4-180,-3-2 90,-4-1-950,1-25 950,-10 20-371,-1-16 281,-11 24-90,-6 1 0,-14-29-180,-2 21-154,-15-21-25,1 27-181,-6 4-180,-6 1-89,-6 5-91,-5 4-269,-4 4-90,-4 4-270,-3 6-990,-2 6-1349,-1 5 3868,0 6 0,-10 5 0,-3 3 0</inkml:trace>
</inkml:ink>
</file>

<file path=ppt/ink/ink4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3:43.622"/>
    </inkml:context>
    <inkml:brush xml:id="br0">
      <inkml:brushProperty name="width" value="0.08571" units="cm"/>
      <inkml:brushProperty name="height" value="0.08571" units="cm"/>
      <inkml:brushProperty name="color" value="#E71224"/>
    </inkml:brush>
  </inkml:definitions>
  <inkml:trace contextRef="#ctx0" brushRef="#br0">11 0 10501,'-4'22'2069,"1"-4"-7370,3 0 7910,0 80-2429,1-56 614,-1 10 0,0 1-164,0 4-540,-1-26 770,1 22-771,-1-34 1,0 5 0,1-6 3302,-1 7-3841,0-8-3959,1 0-269,5-8 4677,1-10 0,0-1 0,-2-5 0</inkml:trace>
</inkml:ink>
</file>

<file path=ppt/ink/ink4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3:44.150"/>
    </inkml:context>
    <inkml:brush xml:id="br0">
      <inkml:brushProperty name="width" value="0.08571" units="cm"/>
      <inkml:brushProperty name="height" value="0.08571" units="cm"/>
      <inkml:brushProperty name="color" value="#E71224"/>
    </inkml:brush>
  </inkml:definitions>
  <inkml:trace contextRef="#ctx0" brushRef="#br0">0 67 9512,'1'-19'1349,"2"3"-1079,5 7-180,4 2 0,1 2-90,1 1 89,-1 2-89,-1 0 90,9 1-90,-4 0 90,6 0-90,-7 1 0,-1 0 0,0 0 0,-1 0 90,0 1 180,-1-1 0,3 0 180,0 1 179,1 0 181,-3 0-270,0 0-91,-2-1 91,1 2-90,-4 1 0,-1 4-360,-2 5 179,-3 0-89,0 2 90,-1 0-90,0 1 180,-1 2-180,0 1 0,0 2-1,0 0 1,-1 1-90,0 0 90,0 1-90,0 1 90,0 0-90,0 0 0,-1 0 90,0-2 0,0 0 0,0 0-90,-1-2 90,0 0-1,-1-2-89,0 0 180,-2 4-90,0-6-90,-2 4 0,0-8 0,-1-1 0,-1-2-90,-2-1 90,-2-1-90,-1-2 0,-1-1 0,-1 0 90,-1-2-270,-8-1 0,5-1-180,-5-2-90,7 1-89,2-2-181,0 1-89,1-1-271,0 0-1618,-3-2-1,4 1-1618,-1-2 4317,5 1 0,5 3 0,1 0 0</inkml:trace>
</inkml:ink>
</file>

<file path=ppt/ink/ink4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3:45.154"/>
    </inkml:context>
    <inkml:brush xml:id="br0">
      <inkml:brushProperty name="width" value="0.08571" units="cm"/>
      <inkml:brushProperty name="height" value="0.08571" units="cm"/>
      <inkml:brushProperty name="color" value="#E71224"/>
    </inkml:brush>
  </inkml:definitions>
  <inkml:trace contextRef="#ctx0" brushRef="#br0">1 907 13469,'9'-17'540,"1"0"-450,-2 8-90,0 0 90,-1 2-90,-1-1 90,1 0 0,0-1 90,1 0-90,0 0-90,0-1 90,1 1 0,-1-1-90,1 1 89,5-6-89,-2 4 0,3-5 0,-3 4 0,1 0 90,0 0-90,1 0 0,0 0 0,1 0 0,0 0 0,6-5 90,-4 4-90,4-5 0,-6 7 0,0 0 0,0 0 0,0 1 0,0-1 90,-1 1-90,0 1 0,0 1 0,0-1 0,1 0 90,7-4-90,-5 4 90,6-4-90,-7 4 90,0 0-90,0-1 0,1 0 90,1 0-90,-1-1 0,7-5 0,-5 4 0,12-11 0,-14 9 90,6-3-90,-8 4 90,-2 2 0,1-1 0,-2 2 0,-1-1-90,-1 1 90,0 1-90,0-1 0,-1 1 90,0-1-90,-1 2 90,0 0-90,-1 0 90,0 1-90,0 0 90,-1 0-90,1 0 0,-1 0 90,1 1-90,1-3 0,2 0 0,2-1 0,0 0 0,-2 1 0,2 1 0,-1 0 0,2 0 0,0 0 0,2 1 0,-1 0 90,1-1-90,1 1 0,-1-1 0,-1 1 0,-1 0-450,-2 0-8365,-2 2 8815,-10 2 0,2 0 0,-7 3 0</inkml:trace>
</inkml:ink>
</file>

<file path=ppt/ink/ink4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3:45.705"/>
    </inkml:context>
    <inkml:brush xml:id="br0">
      <inkml:brushProperty name="width" value="0.08571" units="cm"/>
      <inkml:brushProperty name="height" value="0.08571" units="cm"/>
      <inkml:brushProperty name="color" value="#E71224"/>
    </inkml:brush>
  </inkml:definitions>
  <inkml:trace contextRef="#ctx0" brushRef="#br0">0 814 12210,'18'-11'360,"1"0"-270,-4 1 0,4-2 0,1-1-90,4-4 0,1-1 90,3-3-90,0-2 0,1-1 0,0-1 0,1-2 269,12-13-89,-9 10 0,8-8-90,-13 13 360,10-10-360,-9 10 90,6-7 0,-12 12 0,-2 2-1,1 0 1,-1 0-90,1 0 180,9-6-180,-6 5 0,7-6 0,-10 9-90,0 0 90,0 1-90,0 0 0,-3 2 0,0 0 0,-2 1 0,-1 1 90,0 0-90,4-3 0,-5 4 0,2-1 0,-7 4 0,-1 0-180,-1 2-360,2-3-449,-1 2-3868,1-2 4857,-7-1 0,0 5 0,-4-1 0</inkml:trace>
</inkml:ink>
</file>

<file path=ppt/ink/ink4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3:47.480"/>
    </inkml:context>
    <inkml:brush xml:id="br0">
      <inkml:brushProperty name="width" value="0.08571" units="cm"/>
      <inkml:brushProperty name="height" value="0.08571" units="cm"/>
      <inkml:brushProperty name="color" value="#E71224"/>
    </inkml:brush>
  </inkml:definitions>
  <inkml:trace contextRef="#ctx0" brushRef="#br0">92 0 9781,'4'9'4318,"-2"-7"-4138,-1 31 0,-2-15-90,-1 3 0,0 1 90,-2 13-91,0-8 1,-1 9 0,-1 1 0,0-10-90,-5 21-270,4-21-89,-3 7-181,2-12-90,1-1-179,1-1-271,0-2-808,0-1 1888,2-3 0,2-7 0,0-2 0</inkml:trace>
</inkml:ink>
</file>

<file path=ppt/ink/ink4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3:47.704"/>
    </inkml:context>
    <inkml:brush xml:id="br0">
      <inkml:brushProperty name="width" value="0.08571" units="cm"/>
      <inkml:brushProperty name="height" value="0.08571" units="cm"/>
      <inkml:brushProperty name="color" value="#E71224"/>
    </inkml:brush>
  </inkml:definitions>
  <inkml:trace contextRef="#ctx0" brushRef="#br0">161 17 9691,'17'-9'3329,"0"1"-2790,-10 11-359,-3 4 0,-5 4-90,-4 3 90,-2-3-90,-2 3 0,0 0-90,-2 2-3302,0 0 3392,-1 1-90,0 0 0,0 0 0,0 0-90,1-1-90,0 0-90,1 0 3302,0-2-3482,1-1-89,0-2-1,2 0-1169,0-3-1349,-3 1 3058,1-7 0,2 2 0,2-5 0</inkml:trace>
</inkml:ink>
</file>

<file path=ppt/ink/ink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1:00.262"/>
    </inkml:context>
    <inkml:brush xml:id="br0">
      <inkml:brushProperty name="width" value="0.1" units="cm"/>
      <inkml:brushProperty name="height" value="0.1" units="cm"/>
    </inkml:brush>
  </inkml:definitions>
  <inkml:trace contextRef="#ctx0" brushRef="#br0">266 10 1488 0 0,'-5'-2'341'0'0,"0"1"0"0"0,0-1 1 0 0,0 1-1 0 0,0 0 0 0 0,-1 0 0 0 0,1 0 0 0 0,0 1 0 0 0,-1-1 0 0 0,1 1 0 0 0,0 1 1 0 0,0-1-1 0 0,-1 1 0 0 0,1 0 0 0 0,0 0 0 0 0,0 1 0 0 0,0-1 0 0 0,-6 3 1 0 0,-4 3 137 0 0,-1 0 0 0 0,1 1 0 0 0,1 1 1 0 0,-15 10-1 0 0,22-14-315 0 0,0 1 1 0 0,0 0-1 0 0,0 0 1 0 0,1 1 0 0 0,-1 0-1 0 0,1 0 1 0 0,1 0-1 0 0,0 1 1 0 0,-8 15-1 0 0,11-20-123 0 0,1 0-1 0 0,0 0 1 0 0,0 0-1 0 0,0 0 1 0 0,1 0 0 0 0,-1 1-1 0 0,1-1 1 0 0,-1 0-1 0 0,1 0 1 0 0,0 1-1 0 0,1-1 1 0 0,-1 0 0 0 0,0 1-1 0 0,1-1 1 0 0,0 0-1 0 0,0 0 1 0 0,0 0-1 0 0,0 0 1 0 0,0 1 0 0 0,1-1-1 0 0,-1-1 1 0 0,1 1-1 0 0,0 0 1 0 0,0 0-1 0 0,0-1 1 0 0,0 1 0 0 0,0-1-1 0 0,0 1 1 0 0,1-1-1 0 0,4 3 1 0 0,6 4-158 0 0,-1-1 1 0 0,2 0-1 0 0,-1-1 1 0 0,1 0-1 0 0,0-2 0 0 0,0 1 1 0 0,25 5-1 0 0,-19-7-1995 0 0,0 0 0 0 0,35 1 0 0 0,-33-5-1143 0 0</inkml:trace>
</inkml:ink>
</file>

<file path=ppt/ink/ink4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3:47.870"/>
    </inkml:context>
    <inkml:brush xml:id="br0">
      <inkml:brushProperty name="width" value="0.08571" units="cm"/>
      <inkml:brushProperty name="height" value="0.08571" units="cm"/>
      <inkml:brushProperty name="color" value="#E71224"/>
    </inkml:brush>
  </inkml:definitions>
  <inkml:trace contextRef="#ctx0" brushRef="#br0">0 62 8702,'5'-22'3148,"-1"3"-2518,1 6-90,3 6-361,2 7 1,0 4-90,1 5 630,19 30-720,-13-17 90,17 25-90,-21-26 90,-1 1-270,0 0-90,-2-1-180,0-2-179,-1 1-181,-1-2-1169,0 1-719,0-3 2698,-1 0 0,1-1 0,0 1 0</inkml:trace>
</inkml:ink>
</file>

<file path=ppt/ink/ink4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3:48.109"/>
    </inkml:context>
    <inkml:brush xml:id="br0">
      <inkml:brushProperty name="width" value="0.08571" units="cm"/>
      <inkml:brushProperty name="height" value="0.08571" units="cm"/>
      <inkml:brushProperty name="color" value="#E71224"/>
    </inkml:brush>
  </inkml:definitions>
  <inkml:trace contextRef="#ctx0" brushRef="#br0">1 1 12480,'16'3'1529,"-3"0"-1169,-9 13-90,-2-1 89,0 2-179,0 1 0,0 2-90,1 2 180,0 11-180,0-6 0,0 8 0,0-10-180,-1 0-180,1-1-90,-1 0-359,0-2-1080,1 7-450,-1-8-899,1 5 3148,-1-11 0,0-7 0,-1-2 0</inkml:trace>
</inkml:ink>
</file>

<file path=ppt/ink/ink4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3:48.310"/>
    </inkml:context>
    <inkml:brush xml:id="br0">
      <inkml:brushProperty name="width" value="0.08571" units="cm"/>
      <inkml:brushProperty name="height" value="0.08571" units="cm"/>
      <inkml:brushProperty name="color" value="#E71224"/>
    </inkml:brush>
  </inkml:definitions>
  <inkml:trace contextRef="#ctx0" brushRef="#br0">274 1 11400,'-2'18'1260,"-3"-1"-1080,-5-6 90,-2 1-91,-2 1-89,-2 0 0,-2 0 0,0 0 0,-1 0-180,1-1-180,0 0 91,1-2-361,0 0 0,1-1-269,2-2-900,0-1 1709,2-2 0,-4-2 0,-1-3 0</inkml:trace>
</inkml:ink>
</file>

<file path=ppt/ink/ink4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3:48.468"/>
    </inkml:context>
    <inkml:brush xml:id="br0">
      <inkml:brushProperty name="width" value="0.08571" units="cm"/>
      <inkml:brushProperty name="height" value="0.08571" units="cm"/>
      <inkml:brushProperty name="color" value="#E71224"/>
    </inkml:brush>
  </inkml:definitions>
  <inkml:trace contextRef="#ctx0" brushRef="#br0">1 0 12210,'17'10'1169,"-2"1"-899,-9 0 0,1 1-90,2 3 0,-1 2 0,2 1 0,1 1-720,11 20 0,-9-14-5666,22 34 6206,-21-38 0,10 16 0,-13-23 0</inkml:trace>
</inkml:ink>
</file>

<file path=ppt/ink/ink4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3:48.960"/>
    </inkml:context>
    <inkml:brush xml:id="br0">
      <inkml:brushProperty name="width" value="0.08571" units="cm"/>
      <inkml:brushProperty name="height" value="0.08571" units="cm"/>
      <inkml:brushProperty name="color" value="#E71224"/>
    </inkml:brush>
  </inkml:definitions>
  <inkml:trace contextRef="#ctx0" brushRef="#br0">1 1 12300,'14'14'1349,"-3"-2"-1079,-7 4-90,-2-3 90,1 0-180,0 2 90,-1 0-90,1 1 0,0 0 269,3 23-179,-2-16 180,3 16-450,-4-25-90,1-13 90,0-3-180,0-13 180,0-1 0,2-3 90,0-2 0,0-1 90,2 0 0,-1 1 0,0 1 0,-1 2 0,0 2-90,-2 2 0,1 2-90,3-4 90,-2 12 90,4 1-90,-4 12 0,-1 1 0,1-1 90,-1 0-90,2 0 90,0 1 90,6 4 0,-3-4 0,4 2 0,-2-5-90,-1-2 90,1-1-90,1-3-1,1 0 91,1-2-90,2-1 90,-1-1-90,0-1 90,0 0 0,-2 0-90,3-1 0,-4 1-90,4-1 0,-6 4 0,2 1-90,-2 6-90,-4 2-90,-1 2-90,-2 0-89,0 1-91,-1 2-1079,2 8-1889,-2 4 90,1 0 3418,-3-2 0,-1-14 0,0-2 0</inkml:trace>
</inkml:ink>
</file>

<file path=ppt/ink/ink4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3:49.419"/>
    </inkml:context>
    <inkml:brush xml:id="br0">
      <inkml:brushProperty name="width" value="0.08571" units="cm"/>
      <inkml:brushProperty name="height" value="0.08571" units="cm"/>
      <inkml:brushProperty name="color" value="#E71224"/>
    </inkml:brush>
  </inkml:definitions>
  <inkml:trace contextRef="#ctx0" brushRef="#br0">34 13 9871,'7'-12'3508,"-2"11"-3058,1 16-180,-4 10-4252,-1-2 4432,0 19-270,-1-7 780,0 13-781,-1-11-89,0 1 0,0 0 0,-1 0 90,-1 17-180,0-13 0,-1 12-270,1-17-179,-1-1-91,0-2-180,0-1-1528,-2 8 359,1-14-450,-1 4 3177,2-16 0,1-7 0,1-3 0</inkml:trace>
</inkml:ink>
</file>

<file path=ppt/ink/ink4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3:49.934"/>
    </inkml:context>
    <inkml:brush xml:id="br0">
      <inkml:brushProperty name="width" value="0.08571" units="cm"/>
      <inkml:brushProperty name="height" value="0.08571" units="cm"/>
      <inkml:brushProperty name="color" value="#E71224"/>
    </inkml:brush>
  </inkml:definitions>
  <inkml:trace contextRef="#ctx0" brushRef="#br0">1 263 8522,'5'-20'2429,"1"2"-1890,2-1-179,2 2 0,5 0-90,4 1 0,8-1 0,6 2-91,6 1 91,9 0-90,5 1-90,9 2-923,5 1 923,5 1 0,3 2-90,5-1 0,1 2-90,4 1 90,2 0-90,2 1 90,3 1-3176,3-1 3086,1 2 0,2-1-319,-1 1 319,0 0-1192,-1 1 1282,0 1-90,-3 0 441,-1 0-262,-14 1 1,-1-1 0,15 1-45,-22-1 0,-5 1 45,-11-2 90,-4 1 64,-7 0-154,-4-1 90,-6 1-90,-3 0 1421,-3 0-1421,-3 1 52,-1 1 38,-2 0 3228,-1 1-3139,-2 2-89,1 2 0,-2 2 225,0 3-225,-2 1 0,0 3-90,-1 3 180,6 14-90,-6-5-90,5 13-1,-7-9 91,4 20-90,-5-12 180,8 46-180,-10-42-617,3 27 617,-5-32-3188,-2-1 3188,0 1 0,2 14 0,-3-12-90,1 11 0,-3-16 0,-3 22 0,-1-21 90,-8 27-90,-1-36 0,-34 22 0,13-28 0,-57 11 0,27-23-283,0-6 1,-8-1 327,-2-5 0,-3-1-45,-1 1 0,-1-1 0,-4-2 0,-4-1-30,13 2 0,-4-1 0,6 0-60,3 1 0,-2 1-300,-23-2 1,-11 0-1,14 1 120,31 3 0,4 0-290,-33-1 1,4 1-250,-1 2-1,3 1-89,4 0 1723,3 2-2803,4-1-1133,8 1 3112,4-1 0,8 0 0,1-1 0</inkml:trace>
</inkml:ink>
</file>

<file path=ppt/ink/ink4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3:51.264"/>
    </inkml:context>
    <inkml:brush xml:id="br0">
      <inkml:brushProperty name="width" value="0.08571" units="cm"/>
      <inkml:brushProperty name="height" value="0.08571" units="cm"/>
      <inkml:brushProperty name="color" value="#E71224"/>
    </inkml:brush>
  </inkml:definitions>
  <inkml:trace contextRef="#ctx0" brushRef="#br0">1 1 10591,'19'9'-1079,"-2"-1"-5841,-5-6 6020,1-1 1252,1 0 0,-6-1 1,-2 0-1</inkml:trace>
</inkml:ink>
</file>

<file path=ppt/ink/ink4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3:51.379"/>
    </inkml:context>
    <inkml:brush xml:id="br0">
      <inkml:brushProperty name="width" value="0.08571" units="cm"/>
      <inkml:brushProperty name="height" value="0.08571" units="cm"/>
      <inkml:brushProperty name="color" value="#E71224"/>
    </inkml:brush>
  </inkml:definitions>
  <inkml:trace contextRef="#ctx0" brushRef="#br0">1 1 11400,'22'11'0,"1"-3"-449,-2-7-181,4 0-809,2 0-90,5-1 1529,0-1 0,4-1 0,1 0 0</inkml:trace>
</inkml:ink>
</file>

<file path=ppt/ink/ink4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3:52.036"/>
    </inkml:context>
    <inkml:brush xml:id="br0">
      <inkml:brushProperty name="width" value="0.08571" units="cm"/>
      <inkml:brushProperty name="height" value="0.08571" units="cm"/>
      <inkml:brushProperty name="color" value="#E71224"/>
    </inkml:brush>
  </inkml:definitions>
  <inkml:trace contextRef="#ctx0" brushRef="#br0">18 0 11670,'0'27'1260,"0"-2"-901,-2-7 1,0 2-90,0 1 0,1 2 0,0 2 0,0-1-91,0 1 1,0-2 0,1 0-90,-1-2 0,1-1 0,0-1 0,-1-2 0,1-2 90,0-1 0,0 4-360,0-4 0,-2-6-90,1-8 90,0-14 0,2-2 0,0-5 91,1-1-1,1-3 90,1-1 0,-1 2 90,1 0-1,0 3 1,-1 2-90,0 2 0,0 2 90,-1 2-180,1 0 90,4 9 0,0 5 0,1 7 0,0 5 90,3 4-90,-1-4 90,5 5 0,-3-5-90,0-2 90,0-1-90,0-1 90,0-2-90,1-1 90,-2-2-90,1-3 0,0-1-90,0-3 180,0-2-180,1-3 180,-1-2 0,1-2 90,-1 0 90,-1-1 90,-2 1-91,0 0 91,1-2-180,-2 3 0,2-3-90,-4 7-90,2 3 0,-2 8 90,0 4-90,-3 5 0,0 0 90,1 2-90,-1 2-180,1 2-180,0 2-719,0 12 269,-1-7-359,-1 8-360,-2-10-630,-1-1-899,-1 0 3058,-1 0 0,-2 1 0,0-1 0</inkml:trace>
</inkml:ink>
</file>

<file path=ppt/ink/ink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1:00.602"/>
    </inkml:context>
    <inkml:brush xml:id="br0">
      <inkml:brushProperty name="width" value="0.1" units="cm"/>
      <inkml:brushProperty name="height" value="0.1" units="cm"/>
    </inkml:brush>
  </inkml:definitions>
  <inkml:trace contextRef="#ctx0" brushRef="#br0">0 7 316 0 0,'0'0'3436'0'0,"8"-4"-27"0"0,3 1-3093 0 0,1 6-2276 0 0,-9 4-1153 0 0</inkml:trace>
</inkml:ink>
</file>

<file path=ppt/ink/ink4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3:52.227"/>
    </inkml:context>
    <inkml:brush xml:id="br0">
      <inkml:brushProperty name="width" value="0.08571" units="cm"/>
      <inkml:brushProperty name="height" value="0.08571" units="cm"/>
      <inkml:brushProperty name="color" value="#E71224"/>
    </inkml:brush>
  </inkml:definitions>
  <inkml:trace contextRef="#ctx0" brushRef="#br0">66 63 8792,'-18'2'6206,"3"-2"-4676,-2 0-181,4-2-1079,10-1-1,8 0 1,14-2-180,19 1-90,-4 0-180,16-1-89,-11 0-181,0 1-270,-1-1-269,-4 1-271,0 0-359,-4 0-809,-2 0-1080,-4 1 3508,-4 0 0,-9 1 0,-4 2 0</inkml:trace>
</inkml:ink>
</file>

<file path=ppt/ink/ink4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3:52.400"/>
    </inkml:context>
    <inkml:brush xml:id="br0">
      <inkml:brushProperty name="width" value="0.08571" units="cm"/>
      <inkml:brushProperty name="height" value="0.08571" units="cm"/>
      <inkml:brushProperty name="color" value="#E71224"/>
    </inkml:brush>
  </inkml:definitions>
  <inkml:trace contextRef="#ctx0" brushRef="#br0">43 0 9871,'-22'9'4138,"3"-1"-3508,17 1-91,7-3 1,12 2-90,7-4 0,6 0-91,4-1-89,1-1 0,3 0-90,-1 0-90,0-1-90,0 1-180,-4-2-180,-3 1-3957,21-1-1260,-25 0 5577,17 0 0,-36 0 0,-1 0 0</inkml:trace>
</inkml:ink>
</file>

<file path=ppt/ink/ink4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4:08.824"/>
    </inkml:context>
    <inkml:brush xml:id="br0">
      <inkml:brushProperty name="width" value="0.08571" units="cm"/>
      <inkml:brushProperty name="height" value="0.08571" units="cm"/>
      <inkml:brushProperty name="color" value="#E71224"/>
    </inkml:brush>
  </inkml:definitions>
  <inkml:trace contextRef="#ctx0" brushRef="#br0">57 28 10501,'-24'-8'4407,"4"1"-3237,8 3-990,11 0-90,4 1 90,12 1-180,4 2 179,5 0-179,7 1 90,6-1-90,5 2 0,4 1 0,1 0-269,1 1-271,0 0-520,-1 1 251,-1 0-360,-2 0-1170,-4 0-1259,-3-1 3598,-7-1 0,1 0 0,-2 0 0</inkml:trace>
</inkml:ink>
</file>

<file path=ppt/ink/ink4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4:09.495"/>
    </inkml:context>
    <inkml:brush xml:id="br0">
      <inkml:brushProperty name="width" value="0.08571" units="cm"/>
      <inkml:brushProperty name="height" value="0.08571" units="cm"/>
      <inkml:brushProperty name="color" value="#E71224"/>
    </inkml:brush>
  </inkml:definitions>
  <inkml:trace contextRef="#ctx0" brushRef="#br0">41 1 12660,'6'23'1349,"-1"0"-1079,-8-2 90,1 2-91,-1 3-89,1 4 0,-1 1-90,1 3 0,1 0 0,-1 0 0,1 1 0,-1-1-90,1-2 90,-1 0-180,0-3-360,-1 11 1,1-14-181,-1 8 0,1-15-269,0-2-91,-1-2-3327,1-3 4317,-2-1 0,2-5 0,-1-2 0</inkml:trace>
</inkml:ink>
</file>

<file path=ppt/ink/ink4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4:09.837"/>
    </inkml:context>
    <inkml:brush xml:id="br0">
      <inkml:brushProperty name="width" value="0.08571" units="cm"/>
      <inkml:brushProperty name="height" value="0.08571" units="cm"/>
      <inkml:brushProperty name="color" value="#E71224"/>
    </inkml:brush>
  </inkml:definitions>
  <inkml:trace contextRef="#ctx0" brushRef="#br0">1 27 8612,'6'-18'3418,"5"10"-3058,-4 7-90,4 10 269,2 11-269,-1-1-90,5 9 0,0-1 90,1 0-180,1 4 0,1 0 90,0 1-90,1-2-90,-1 1 90,0-2-90,-2-3 90,0-1-90,-1-3 0,-2-3 90,-1-2 179,0-2 91,-2-2 90,-1-2-90,0-3 359,-1-1 1,3-3-360,0-5-90,-2-3 89,0-6 1,-5 0-90,0-3-90,-1-2 90,-1-2 90,-1-1 89,-1-2-89,-1 0-90,-1-1 0,0-1-90,-1 0-90,0-1 89,-1 1-89,1 1 0,-2 1-90,2 2-90,-2 1-179,2 2-91,-1 2-810,1 0-359,-1-1-90,1 2-450,2-1-179,5 4-1,4 5-899,1 3 3148,3 2 0,-7-1 0,-2 1 0</inkml:trace>
</inkml:ink>
</file>

<file path=ppt/ink/ink4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4:10.007"/>
    </inkml:context>
    <inkml:brush xml:id="br0">
      <inkml:brushProperty name="width" value="0.08571" units="cm"/>
      <inkml:brushProperty name="height" value="0.08571" units="cm"/>
      <inkml:brushProperty name="color" value="#E71224"/>
    </inkml:brush>
  </inkml:definitions>
  <inkml:trace contextRef="#ctx0" brushRef="#br0">198 1 10951,'21'8'4047,"-7"3"-3687,-13 2 0,-6 2-90,-3 0-90,-3 1 0,-1 3 0,-2 0-90,-1 2-1,0 0 1,0 1-90,0-1-179,0 1-181,-1-1-180,2-1-180,0-1-179,2-3-270,0 0-1080,1-2-1079,0-2 3328,2-2 0,3-5 0,2-2 0</inkml:trace>
</inkml:ink>
</file>

<file path=ppt/ink/ink4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4:10.185"/>
    </inkml:context>
    <inkml:brush xml:id="br0">
      <inkml:brushProperty name="width" value="0.08571" units="cm"/>
      <inkml:brushProperty name="height" value="0.08571" units="cm"/>
      <inkml:brushProperty name="color" value="#E71224"/>
    </inkml:brush>
  </inkml:definitions>
  <inkml:trace contextRef="#ctx0" brushRef="#br0">1 24 11311,'10'-14'3508,"0"5"-3059,1 12-89,-1 4 0,2 6-90,-1 0 0,2 4-91,1 2 1,1 2 90,13 24-360,-8-14-180,10 16-89,-14-20-361,-1-4-269,0 1-181,0-3-1348,0 0-1170,-1-2 3688,0-2 0,1-2 0,0 0 0</inkml:trace>
</inkml:ink>
</file>

<file path=ppt/ink/ink4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4:10.852"/>
    </inkml:context>
    <inkml:brush xml:id="br0">
      <inkml:brushProperty name="width" value="0.08571" units="cm"/>
      <inkml:brushProperty name="height" value="0.08571" units="cm"/>
      <inkml:brushProperty name="color" value="#E71224"/>
    </inkml:brush>
  </inkml:definitions>
  <inkml:trace contextRef="#ctx0" brushRef="#br0">146 56 9512,'-19'3'1799,"0"2"-1350,7 3 1,-2 3-90,1 2-4252,1 1 4342,1 3 769,1 0-949,2 1-90,0 1 0,2 0 0,1 0 269,-1 23 3303,5-20-3482,0 21-90,5-32 0,4-1-90,4-8 0,-2-5 0,3-4 90,-3-1 0,0-3-1,0 0 181,0-1-90,0 1 0,-1-1 0,-1 1 0,3-4-91,-4 5-89,2-2 0,-2 2-90,0 1 0,0-1 0,0 2-899,0 7 359,0 3 450,-4-4 0,-1-2 0,-4-11 0,2 1 90,0-6 0,2 6 0,0-4-90,2 5 90,0-1 0,1 0 0,1 2-89,0 0 89,2 1 0,0 2 0,1 1 0,0 2 0,5 3 0,-4 3 89,5 3 1,-4 2 90,-1 4-90,1 2 90,-1 3-90,0 3 0,-2 2 90,1 1-90,-2 2 0,-1 1 0,-2 0 0,0 1 0,-2-2 0,-2 1 0,0-3 0,-2 0-1,-2-1 1,-2 0 0,-2-1-90,-1-1 90,-2-2-90,0-1 0,-1-3 90,-6 1-180,5-5-180,-4 1-629,6-6 359,-4-2-899,4-1-540,-6-4-1349,8-2 3328,0-5 0,7-4 0,3-2 0</inkml:trace>
</inkml:ink>
</file>

<file path=ppt/ink/ink4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4:11.234"/>
    </inkml:context>
    <inkml:brush xml:id="br0">
      <inkml:brushProperty name="width" value="0.08571" units="cm"/>
      <inkml:brushProperty name="height" value="0.08571" units="cm"/>
      <inkml:brushProperty name="color" value="#E71224"/>
    </inkml:brush>
  </inkml:definitions>
  <inkml:trace contextRef="#ctx0" brushRef="#br0">93 33 8432,'11'-14'4678,"-1"-2"-4409,-15 14 451,1 1-450,-16 19 0,8-1-90,-5 10 89,6-4-89,0 2 0,2 3 0,1 0-90,2-1 0,1 0 90,1 9-90,3-10-90,0 6 90,2-12-90,0-3 90,2-1-90,1-1 90,1-3-90,0-3 0,2-2 90,1-2-90,7-4 180,4-4-1,0-2 91,1-3 0,-7 1 360,6-3-450,-6 3 179,7-4-179,-11 6-90,6-2 0,-3 5-90,0 3 90,1 7-180,-4 4-899,-1 5-270,-1 0-540,-2 2-720,-2 0-2428,0-2 4947,-1-2 0,0-6 0,-1-4 0</inkml:trace>
</inkml:ink>
</file>

<file path=ppt/ink/ink4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4:11.585"/>
    </inkml:context>
    <inkml:brush xml:id="br0">
      <inkml:brushProperty name="width" value="0.08571" units="cm"/>
      <inkml:brushProperty name="height" value="0.08571" units="cm"/>
      <inkml:brushProperty name="color" value="#E71224"/>
    </inkml:brush>
  </inkml:definitions>
  <inkml:trace contextRef="#ctx0" brushRef="#br0">19 1 10231,'16'2'2339,"-3"4"-2159,-11 9 0,-3 0 0,-2 2-91,-3-4-3391,1 0 3392,-2 0 90,-1 5 0,0 0 0,1 1 0,2 0-90,12 4 0,-2-8 3302,9 4-3392,-4-13-180,1-1-90,0-1 0,1 0-90,-1-2-269,1 1-1080,-1-2-1799,3 1 3508,0-1 0,-3 0 0,-4-1 0</inkml:trace>
</inkml:ink>
</file>

<file path=ppt/ink/ink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1:01.662"/>
    </inkml:context>
    <inkml:brush xml:id="br0">
      <inkml:brushProperty name="width" value="0.1" units="cm"/>
      <inkml:brushProperty name="height" value="0.1" units="cm"/>
    </inkml:brush>
  </inkml:definitions>
  <inkml:trace contextRef="#ctx0" brushRef="#br0">292 3 844 0 0,'0'0'101'0'0,"1"-1"202"0"0,-1 1-202 0 0,0 0 0 0 0,1 0 0 0 0,-1 0 0 0 0,0 0 0 0 0,1-1 0 0 0,-1 1 0 0 0,0 0 0 0 0,0 0 1 0 0,1 0-1 0 0,-1 0 0 0 0,0 0 0 0 0,1 0 0 0 0,-1 0 0 0 0,0 0 0 0 0,1-1 0 0 0,-1 1 0 0 0,0 0 0 0 0,1 1 0 0 0,-1-1 0 0 0,0 0 0 0 0,1 0 0 0 0,-1 0 0 0 0,1 0 0 0 0,-1 4 100 0 0,1 0-1 0 0,-1 1 1 0 0,0-1 0 0 0,0 0 0 0 0,-1 0-1 0 0,1 1 1 0 0,-1-1 0 0 0,0 0-1 0 0,0 0 1 0 0,0 0 0 0 0,-1 0 0 0 0,-1 4-1 0 0,-27 51 934 0 0,25-50-951 0 0,-101 161 1574 0 0,-19 37-2158 0 0,124-204 257 0 0,-19 41-1215 0 0,19-41 1101 0 0,0-1 0 0 0,1 1 0 0 0,-1 0 0 0 0,0-1 0 0 0,1 1 0 0 0,0 0 0 0 0,0 0 0 0 0,0 0 0 0 0,0-1 0 0 0,0 1 0 0 0,0 0 0 0 0,1 0 0 0 0,-1 0 0 0 0,2 3 0 0 0,2 1-920 0 0</inkml:trace>
</inkml:ink>
</file>

<file path=ppt/ink/ink4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4:12.535"/>
    </inkml:context>
    <inkml:brush xml:id="br0">
      <inkml:brushProperty name="width" value="0.08571" units="cm"/>
      <inkml:brushProperty name="height" value="0.08571" units="cm"/>
      <inkml:brushProperty name="color" value="#E71224"/>
    </inkml:brush>
  </inkml:definitions>
  <inkml:trace contextRef="#ctx0" brushRef="#br0">323 1 14908,'-10'18'1710,"-2"0"-1441,-6-2 1,-4 3-90,-2 2 90,-1 2-4432,0 1 4342,0 0 401,2 1-581,1-3-180,3 0-450,-4 5 91,7-7-271,-3 2 3120,9-9-3479,2-2-4666,1-3 5835,-1 0 0,5-4 0,-1-2 0</inkml:trace>
</inkml:ink>
</file>

<file path=ppt/ink/ink4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4:12.709"/>
    </inkml:context>
    <inkml:brush xml:id="br0">
      <inkml:brushProperty name="width" value="0.08571" units="cm"/>
      <inkml:brushProperty name="height" value="0.08571" units="cm"/>
      <inkml:brushProperty name="color" value="#E71224"/>
    </inkml:brush>
  </inkml:definitions>
  <inkml:trace contextRef="#ctx0" brushRef="#br0">1 19 12390,'15'-14'3598,"-1"10"-3328,-5 12 0,-1 7-91,-1 0 1,1 2-90,2 2 0,0 2 0,0 2-90,2 2-180,-1-1-179,0 1-91,0-2-180,-1-1-269,0-2-271,0-1-179,0 0-720,0-2-629,-1-2 2698,-1-2 0,-3-7 0,-2-1 0</inkml:trace>
</inkml:ink>
</file>

<file path=ppt/ink/ink4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4:13.233"/>
    </inkml:context>
    <inkml:brush xml:id="br0">
      <inkml:brushProperty name="width" value="0.08571" units="cm"/>
      <inkml:brushProperty name="height" value="0.08571" units="cm"/>
      <inkml:brushProperty name="color" value="#E71224"/>
    </inkml:brush>
  </inkml:definitions>
  <inkml:trace contextRef="#ctx0" brushRef="#br0">1 124 10141,'8'-16'3598,"1"-1"-1889,-3 9-899,3 5-450,-2 6-91,1 4 1,-2 4 0,-1 0 270,5 13-450,-3-8 0,3 10 0,-4-12 0,-1 0-90,1-1 89,-2-1-89,1-1 90,-2-2 0,2 3 0,0-2-90,4-4-90,-2-4-90,3-8 1,-2-3-91,0-5 90,1-2 0,1-5 90,1-1 0,1-3 0,-1 1 0,0-1 180,0 2 0,-1 1 0,-2 4 0,0 1-90,-2 4 180,0 0 719,0 1-449,-1 12-270,-1 5 90,-1 9-90,-2 4 0,1-2 0,1 1-1,0 2 1,1 0-90,1 1 0,0-1 0,1-1 90,1 4-90,-1-6-90,2 3 90,-2-9 0,0-2 0,4 0-90,2-5 0,4-3 90,-3-3 180,0-3 179,-5 0 91,0 1 360,0-1-271,1 0-359,0 0 180,0 1-180,1 4-180,-4 5 89,0 4-89,-4 3-90,0 0 90,0 3-180,-1 2-89,0 1-181,0 2-270,0 1 0,-1 0-179,-1 1-181,0 0-89,1 0-270,-2 0-270,0 1-360,-1-2-1259,0 0-2069,0-1 5307,-1-2 0,-2 2 0,0 0 0</inkml:trace>
</inkml:ink>
</file>

<file path=ppt/ink/ink4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4:19.091"/>
    </inkml:context>
    <inkml:brush xml:id="br0">
      <inkml:brushProperty name="width" value="0.08571" units="cm"/>
      <inkml:brushProperty name="height" value="0.08571" units="cm"/>
      <inkml:brushProperty name="color" value="#E71224"/>
    </inkml:brush>
  </inkml:definitions>
  <inkml:trace contextRef="#ctx0" brushRef="#br0">84 68 7713,'-28'-4'4047,"8"0"-3147,-3 0-271,10 1-269,18-2 0,25-2-180,18-1-1246,25 0 1246,-1 2-90,9 0-865,6 1 865,4 1-1238,3 2 1238,3 1-90,0 1 90,1 2-90,-2-1-180,-4 2-90,-3 0-269,-5-1-181,-7 0-648,-10-2 199,-7 1-211,-12-1-958,-6-1 2597,-10 0 0,-3-1 0,-4 0 1</inkml:trace>
</inkml:ink>
</file>

<file path=ppt/ink/ink4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4:19.358"/>
    </inkml:context>
    <inkml:brush xml:id="br0">
      <inkml:brushProperty name="width" value="0.08571" units="cm"/>
      <inkml:brushProperty name="height" value="0.08571" units="cm"/>
      <inkml:brushProperty name="color" value="#E71224"/>
    </inkml:brush>
  </inkml:definitions>
  <inkml:trace contextRef="#ctx0" brushRef="#br0">163 0 8072,'-40'6'2159,"3"0"-4732,7-1 3113,6 1 1454,6 0-1544,7 3 500,9-3-500,10 3-90,11-3 90,12 1-1,16 1 1340,11-1-1475,-7-1 1,4-1-1061,31 3 881,-27-2 0,1-1-1089,28 3 1044,2 0 89,2-1-89,-9 0 0,2-1-45,-32-2 0,-1-1-45,29 3 0,-4-2 90,-9 0-90,-5-2-463,-11 0 463,-7 0 263,-7-2-173,-7 1 754,-5-1-844,-4-1 1022,-4 0-1382,-3-1 93,-3-2-1712,-4 0-4736,-6-2 6715,-8 0 0,-9 1 0,-5 0 0</inkml:trace>
</inkml:ink>
</file>

<file path=ppt/ink/ink4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3:50.474"/>
    </inkml:context>
    <inkml:brush xml:id="br0">
      <inkml:brushProperty name="width" value="0.08571" units="cm"/>
      <inkml:brushProperty name="height" value="0.08571" units="cm"/>
      <inkml:brushProperty name="color" value="#E71224"/>
    </inkml:brush>
  </inkml:definitions>
  <inkml:trace contextRef="#ctx0" brushRef="#br0">3 32 10591,'-2'-9'450,"2"5"-2159,24-3-270,-2 4 1979,2 1 0,4-2 0,0 2 0</inkml:trace>
</inkml:ink>
</file>

<file path=ppt/ink/ink4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3:50.595"/>
    </inkml:context>
    <inkml:brush xml:id="br0">
      <inkml:brushProperty name="width" value="0.08571" units="cm"/>
      <inkml:brushProperty name="height" value="0.08571" units="cm"/>
      <inkml:brushProperty name="color" value="#E71224"/>
    </inkml:brush>
  </inkml:definitions>
  <inkml:trace contextRef="#ctx0" brushRef="#br0">21 0 9871,'-15'17'2429,"9"-2"-2249,11-9 0,8-1-180,5-3-270,4 0 0,7-1-360,2 0-269,4-1-630,1 0-180,0-2 1709,0 1 0,1-2 0,1-1 0</inkml:trace>
</inkml:ink>
</file>

<file path=ppt/ink/ink4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3:56.168"/>
    </inkml:context>
    <inkml:brush xml:id="br0">
      <inkml:brushProperty name="width" value="0.08571" units="cm"/>
      <inkml:brushProperty name="height" value="0.08571" units="cm"/>
      <inkml:brushProperty name="color" value="#E71224"/>
    </inkml:brush>
  </inkml:definitions>
  <inkml:trace contextRef="#ctx0" brushRef="#br0">39 18 6633,'-14'-8'-113,"0"1"1,9 5 0,0 1-1</inkml:trace>
</inkml:ink>
</file>

<file path=ppt/ink/ink4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3:56.495"/>
    </inkml:context>
    <inkml:brush xml:id="br0">
      <inkml:brushProperty name="width" value="0.08571" units="cm"/>
      <inkml:brushProperty name="height" value="0.08571" units="cm"/>
      <inkml:brushProperty name="color" value="#E71224"/>
    </inkml:brush>
  </inkml:definitions>
  <inkml:trace contextRef="#ctx0" brushRef="#br0">264 35 6903,'-24'-2'720,"1"1"-451,8-2 1,-1-1-180,-2 0 90,1 0 0,0-1 0,1 1-90,3 0 90,0 2 180,1 0-1,2 4-89,0 5 0,3 2 0,2 5 0,0 0 0,1 4-1,0 4-89,-1 6 90,1 3-3392,0 4 3302,1 5 90,-1 3-425,1 3 335,1 2 0,-1 0 0,1 1 90,0 0-90,0 0 180,2-1-180,-1-4-1,1-1 1,1-4 0,-1-1-180,2-2 180,-1-3-180,0-1 90,1-5 0,-1 0-90,1-4-180,0-1-180,0-3-179,0-3 1831,0-3-1292,1-1 0,-2-6 0,2-1 0</inkml:trace>
</inkml:ink>
</file>

<file path=ppt/ink/ink4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3:57.341"/>
    </inkml:context>
    <inkml:brush xml:id="br0">
      <inkml:brushProperty name="width" value="0.08571" units="cm"/>
      <inkml:brushProperty name="height" value="0.08571" units="cm"/>
      <inkml:brushProperty name="color" value="#E71224"/>
    </inkml:brush>
  </inkml:definitions>
  <inkml:trace contextRef="#ctx0" brushRef="#br0">32 171 8252,'-9'-18'1529,"0"2"-899,4 7-180,0-2-180,2-1-90,3-1-180,4 3 179,5 1-89,2 3 0,5 1 0,2 0 0,5 0-90,3 0 0,4 1 90,3 1-90,3 0 90,3 1-90,3 0 90,2 1-90,1 0 0,-2 1-90,-1 0 180,-2 0-180,-1 1-3212,-2-1 3212,1 1 153,-3 0-153,-2 0 180,-3-1-180,-3 1 180,-1-1-180,-2 0 3558,-3 0-3558,-1 0 221,-1 0-221,-1-1 180,-1-1-180,-1 1 90,7-2 90,-8 1-180,6-2 180,-8 2-180,-1 0 180,-1 0-90,0 0 0,4-1 0,-1 1 0,2-1 0,-1 1 0,-3 0 0,0 1 0,2 0-180,-2 1 90,3 1 1350,-3 1-1,-9 0-1259,-10-2 0,0 7 0,-4 0 90,11 7-90,0 5 0,0-3 90,-1 4-90,1-3 90,-2 14-90,0 8 90,-1 18 0,1-9-90,0 3 0,1-15 0,1 0 0,-1 0 0,1 1 0,-1 0 89,0 0-89,1-1 90,-1 1-90,1-1 180,-1 15-90,0-14 0,0 10 90,-1-18-90,1-1 0,0-1 0,-1-2 0,0-2-90,1-1 90,-1-4 0,0 6-90,1-8 90,-2 4 0,2-8 0,-2 2 0,0 0 0,-3 0-90,0-2 0,-2-4-180,-1-2-90,-1-2-90,-2-1 180,-2-1-90,-9 0 180,5-1 0,-5 1-90,8-1 1,-2 1-181,-1 0 90,-1 0-180,-1 0 0,-1 1-89,-1 0-91,-1 0-89,1 1-91,-1 0-719,0-1-90,0 1 1619,1-2 0,-3 1 0,0 0 0</inkml:trace>
</inkml:ink>
</file>

<file path=ppt/ink/ink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1:02.028"/>
    </inkml:context>
    <inkml:brush xml:id="br0">
      <inkml:brushProperty name="width" value="0.1" units="cm"/>
      <inkml:brushProperty name="height" value="0.1" units="cm"/>
    </inkml:brush>
  </inkml:definitions>
  <inkml:trace contextRef="#ctx0" brushRef="#br0">312 0 880 0 0,'0'0'972'0'0,"-3"2"-50"0"0,-2 1-633 0 0,-1 1 1 0 0,1-1-1 0 0,0 1 0 0 0,0 1 0 0 0,0-1 1 0 0,1 1-1 0 0,-6 6 0 0 0,-29 44 736 0 0,21-29-697 0 0,-61 101 384 0 0,-15 20-3260 0 0,77-128 1277 0 0,1-1 341 0 0</inkml:trace>
</inkml:ink>
</file>

<file path=ppt/ink/ink4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3:57.922"/>
    </inkml:context>
    <inkml:brush xml:id="br0">
      <inkml:brushProperty name="width" value="0.08571" units="cm"/>
      <inkml:brushProperty name="height" value="0.08571" units="cm"/>
      <inkml:brushProperty name="color" value="#E71224"/>
    </inkml:brush>
  </inkml:definitions>
  <inkml:trace contextRef="#ctx0" brushRef="#br0">1 1 10321,'4'15'4947,"-2"-6"-4497,2 40-90,-3-15-90,0 6 0,0 4-4252,1 4 4162,-1 0 90,1 1 679,0 0-769,-1-1-2094,0-1 2004,0-3 0,0-2-149,-1-3 149,0-2-90,0-2 2461,-1-2-2551,0-2-90,0-4-270,-1-1 0,1-3 2690,-1-3-3949,0 3-1764,-1-7 3473,-1 3 0,2-13 0,0-1 0</inkml:trace>
</inkml:ink>
</file>

<file path=ppt/ink/ink4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3:58.371"/>
    </inkml:context>
    <inkml:brush xml:id="br0">
      <inkml:brushProperty name="width" value="0.08571" units="cm"/>
      <inkml:brushProperty name="height" value="0.08571" units="cm"/>
      <inkml:brushProperty name="color" value="#E71224"/>
    </inkml:brush>
  </inkml:definitions>
  <inkml:trace contextRef="#ctx0" brushRef="#br0">1 306 7443,'2'-19'2608,"0"0"-2158,1 1 0,1 1-180,2 0-1,1 0-3481,4 0 3392,3 0-90,3 1 270,33-13-450,-15 11 180,44-13-549,-34 18 459,16 0 90,-17 5-180,2 2 180,0 1-349,1 1 349,1 0-90,20 1 0,-17 0 0,12 1 0,-23 0 90,-4 0 3081,-1 1-2812,7-1-179,-12 1 0,4 0 758,-15 0-668,0 1 181,-3 0-91,0 0-90,-3 1 359,6 3-269,-5 0 0,3 3-90,-6 1 0,-1 3-1,-1 3 1,0 2-90,-1 5 0,-1 4-90,-2 4 90,0 4 90,1 22-180,-3-9-3392,1 17 3392,-2-16 0,-2 2-233,0 0 143,-3 21-2192,0-17 2282,-2 14-114,-2-23 383,-14 31-179,5-28 90,-23 34-180,14-48 0,-12 7 90,7-17-90,-20 3 0,8-8-90,-14 2 90,15-10-90,-17-1-90,16-4-180,-11-3-270,19-2 1955,2-3-2314,3-1-1573,-8-5-406,12 2 1594,-6-4 1284,12 3 0,1-2 0,-1 1 0</inkml:trace>
</inkml:ink>
</file>

<file path=ppt/ink/ink4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3:59.278"/>
    </inkml:context>
    <inkml:brush xml:id="br0">
      <inkml:brushProperty name="width" value="0.08571" units="cm"/>
      <inkml:brushProperty name="height" value="0.08571" units="cm"/>
      <inkml:brushProperty name="color" value="#E71224"/>
    </inkml:brush>
  </inkml:definitions>
  <inkml:trace contextRef="#ctx0" brushRef="#br0">0 21 12120,'7'17'1619,"-2"0"-1169,-3-3-90,-2 3-1,1 1-89,0 1 90,0 1-3482,0 1 3842,1 17-453,-2-6-87,2 6-90,-2-14 180,0-10 360,0 3 179,0-1 2853,0 2-3482,-3-12 182,0-9-362,-1-9 0,2-7 0,2-1 90,1-2-90,5-16 0,-1 7-90,4-9 180,-1 11-180,2 3 90,-1 2 0,2 2 0,-1 3-90,2 2 90,1 2 0,-1 3 0,2 3 0,-1 3 0,1 3 0,8 5 0,-4 3 180,14 13-90,-14-1 0,6 9 90,-10-4-90,-2 3-1,-2 1 1,-2 0 0,-3 2-90,-3-2 180,-1 1-180,-2 0 90,-2-1 90,-3 10-180,-1-10 90,-2 7-90,1-12 90,-1-3-90,-1-1 0,0-2 0,0-3-180,1-2-90,-1-2-719,0-2-360,-2-3-540,-5-6 809,5-2 1,-1-6-90,9 3-1170,1-2-989,1-1 3328,2-3 0,0-3 0,2-3 0</inkml:trace>
</inkml:ink>
</file>

<file path=ppt/ink/ink4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3:59.541"/>
    </inkml:context>
    <inkml:brush xml:id="br0">
      <inkml:brushProperty name="width" value="0.08571" units="cm"/>
      <inkml:brushProperty name="height" value="0.08571" units="cm"/>
      <inkml:brushProperty name="color" value="#E71224"/>
    </inkml:brush>
  </inkml:definitions>
  <inkml:trace contextRef="#ctx0" brushRef="#br0">0 19 8792,'19'-8'1709,"-2"1"-899,-6 5-1,4 1-539,1 2 180,0 1-180,-2 3-1,-6 0 91,0 1 180,-1 1 89,-1 4-179,-2 2-90,-1 5-180,-3-2-90,0 0 270,-1-3-1,1 1-179,4-4-90,6-1-90,0-4 90,4-1-180,-3-3-90,1 1-179,0-2-91,1 0-180,0-1 1,0 0-271,-1-1 1,1-1-91,0 0-989,1-1-629,-1 0 2608,0-2 0,3-1 0,0-1 0</inkml:trace>
</inkml:ink>
</file>

<file path=ppt/ink/ink4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3:59.752"/>
    </inkml:context>
    <inkml:brush xml:id="br0">
      <inkml:brushProperty name="width" value="0.08571" units="cm"/>
      <inkml:brushProperty name="height" value="0.08571" units="cm"/>
      <inkml:brushProperty name="color" value="#E71224"/>
    </inkml:brush>
  </inkml:definitions>
  <inkml:trace contextRef="#ctx0" brushRef="#br0">116 8 9332,'18'-6'3778,"-1"5"-3059,-11 7-539,-3 7 90,-6 2-180,-4 0 90,0 0-90,-2 0-3392,0 2 3481,-2 2-89,1-1-90,-1 1 90,0-1-90,0 1 0,1-1-90,0-1-89,1-1 3301,0-1-3482,2-1-90,1-2-90,1-1-629,0 0-360,1 1-990,1-2 2519,1 3 0,2-7 0,1-1 0</inkml:trace>
</inkml:ink>
</file>

<file path=ppt/ink/ink4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4:00.164"/>
    </inkml:context>
    <inkml:brush xml:id="br0">
      <inkml:brushProperty name="width" value="0.08571" units="cm"/>
      <inkml:brushProperty name="height" value="0.08571" units="cm"/>
      <inkml:brushProperty name="color" value="#E71224"/>
    </inkml:brush>
  </inkml:definitions>
  <inkml:trace contextRef="#ctx0" brushRef="#br0">146 11 11041,'-22'-6'1529,"3"2"-1169,7 7 89,0 3-89,-1 1 0,0 3-90,1 2 90,1 1-91,1 3 541,-2 25-630,7-17-90,0 20 90,9-23-90,1 0-90,3-1 90,1-2-90,1-2 90,2-2 0,0-2-90,1-3 89,0-2-89,-1-3 180,2-2 0,0-3-90,1-1 270,1-4 0,0 0 0,2-3-1,-2 0 181,0-1 0,-2 1 359,4-3-539,-6 4 90,1-1-270,-2 2 90,-2 2-181,4 3 1,-4 7-90,-1 8 0,-4 0-90,0 9-89,-2-8-181,1 6 0,-2-6-90,0 0-269,0 0-91,0 0-89,0 0-1710,-1-1-1529,1 3 4138,0-1 0,-1-4 0,2-4 0</inkml:trace>
</inkml:ink>
</file>

<file path=ppt/ink/ink4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4:00.346"/>
    </inkml:context>
    <inkml:brush xml:id="br0">
      <inkml:brushProperty name="width" value="0.08571" units="cm"/>
      <inkml:brushProperty name="height" value="0.08571" units="cm"/>
      <inkml:brushProperty name="color" value="#E71224"/>
    </inkml:brush>
  </inkml:definitions>
  <inkml:trace contextRef="#ctx0" brushRef="#br0">159 0 12660,'-1'8'4677,"3"-4"-4497,-19 17 0,7-9-90,-1 1 0,-1 2-180,0 0-270,-1 0-90,0 0-269,1 0-271,-1-1-359,2-2-1259,0 0-1350,2-4 3958,1-1 0,4-4 0,0-1 0</inkml:trace>
</inkml:ink>
</file>

<file path=ppt/ink/ink4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4:00.521"/>
    </inkml:context>
    <inkml:brush xml:id="br0">
      <inkml:brushProperty name="width" value="0.08571" units="cm"/>
      <inkml:brushProperty name="height" value="0.08571" units="cm"/>
      <inkml:brushProperty name="color" value="#E71224"/>
    </inkml:brush>
  </inkml:definitions>
  <inkml:trace contextRef="#ctx0" brushRef="#br0">1 1 16797,'14'0'1530,"-1"1"-1351,-5 10 1,-1 0 0,2 1 0,0 1-90,1 2-2788,25 35 1528,-19-28-89,19 26-1350,-26-37-1438,1-2 4047,-1-1 0,-4-4 0,-1-1 0</inkml:trace>
</inkml:ink>
</file>

<file path=ppt/ink/ink4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4:01.035"/>
    </inkml:context>
    <inkml:brush xml:id="br0">
      <inkml:brushProperty name="width" value="0.08571" units="cm"/>
      <inkml:brushProperty name="height" value="0.08571" units="cm"/>
      <inkml:brushProperty name="color" value="#E71224"/>
    </inkml:brush>
  </inkml:definitions>
  <inkml:trace contextRef="#ctx0" brushRef="#br0">0 34 12660,'16'-18'3868,"0"4"-2879,-7 13-629,2 5 0,-3 3-91,-1 3 1,-1-1 0,-1 2 0,1 1-90,0 2-90,0 0 0,-1 1 0,0-1 90,0 0-180,0 0 90,0 0-90,-1-2 90,-1 0-1,1-2-89,0 3-1259,0-3 809,4-5 1,-3-5-1,2-11 90,-2-3 90,0-2 90,1-2 1,1-2 268,-1 1 1,1 0 90,-1 1 0,-1 2-90,0 1 0,0 2 90,-1 2 0,1-2 629,0 3-449,-1 10-270,-1 8 0,-1 7 90,0 3-180,1-4 90,0 1 0,0 1 0,2-1-90,-1 0 90,2 0 0,-1-2-90,2-1 90,0-1-90,2-3 0,-1-1 90,2-3-90,6-3 0,-3-2 90,5-3-180,-4-2 180,0-2 0,0-1 89,-1-1 181,0 0 90,-2 1 0,-2 0-3393,0 1 3393,-1 0 90,-2 2-270,3-2 0,-2 1-270,3 5 0,-4 7 0,-1 5 0,-4 5 3122,-2 1-3482,1 1-90,0 3-89,-1 3-271,0 1-179,0 2-181,0 1-359,-2-1-450,0 1-989,0-2-2069,-1 0 4189,-2-1 0,0 0 0,-1 0 0</inkml:trace>
</inkml:ink>
</file>

<file path=ppt/ink/ink4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4:54.610"/>
    </inkml:context>
    <inkml:brush xml:id="br0">
      <inkml:brushProperty name="width" value="0.08571" units="cm"/>
      <inkml:brushProperty name="height" value="0.08571" units="cm"/>
      <inkml:brushProperty name="color" value="#E71224"/>
    </inkml:brush>
  </inkml:definitions>
  <inkml:trace contextRef="#ctx0" brushRef="#br0">70 0 7173,'-23'4'4407,"7"-2"-3957,-3 1 180,9 0-540,9 3 0,3-2 0,11 2 0,2-3 0,6 1-1,6 0 1,8-1 0,5 0 0,7 0 0,4-1-436,8 0 436,5-1-2514,8 1 2424,4 0 90,3-1-1033,1 0 943,3 1 90,2-1-90,2 0 0,1 1 0,3 0 0,-1 0 0,2 1 0,-2 1 0,0 0-90,-2 0 180,-2 0-180,0 0 90,-2 0-90,0 0 45,-27 0 0,2-1 45,29 2 0,-31-2 0,-1 0 0,19 1-90,0 0 90,-2-1-90,1-1 180,0 0-180,1 0 180,0-1-180,3 0 180,0-1-90,0 0 90,0 0-90,-1 1 90,-1-1-180,0 1 180,-2 0-90,-1 0 0,-1 0 0,-1 0 90,-1 0-2252,21 0 2072,-21 0 180,14 0-458,-27 0 368,-1 0-457,-2 0 637,-2-1-252,-2 1 252,-6-1 0,-3 0 90,-4 0 1943,6 0-1674,-5 0-359,-3-1 90,-9 1-180,-11 0 749,-3-1-659,0 1 579,1-3-1748,-12-3 1341,-1 2-2421,-12-3-719,-2 4 2788,-4 0 0,-6-1 0,-4 0 0</inkml:trace>
</inkml:ink>
</file>

<file path=ppt/ink/ink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1:02.398"/>
    </inkml:context>
    <inkml:brush xml:id="br0">
      <inkml:brushProperty name="width" value="0.1" units="cm"/>
      <inkml:brushProperty name="height" value="0.1" units="cm"/>
    </inkml:brush>
  </inkml:definitions>
  <inkml:trace contextRef="#ctx0" brushRef="#br0">50 0 276 0 0,'-2'1'1306'0'0,"1"-1"-1115"0"0,-31 9 3012 0 0,31-9-3122 0 0,0 0 1 0 0,0 0-1 0 0,1 1 1 0 0,-1-1-1 0 0,0 0 1 0 0,1 1-1 0 0,-1-1 1 0 0,0 1-1 0 0,1-1 1 0 0,-1 1-1 0 0,0-1 1 0 0,1 1 0 0 0,-1-1-1 0 0,1 1 1 0 0,-1 0-1 0 0,1-1 1 0 0,-1 1-1 0 0,1 0 1 0 0,-1-1-1 0 0,1 1 1 0 0,0 0-1 0 0,-1 0 1 0 0,1-1-1 0 0,0 1 1 0 0,0 0 0 0 0,0 0-1 0 0,0 0 1 0 0,0-1-1 0 0,-1 1 1 0 0,1 0-1 0 0,1 0 1 0 0,-1 0-1 0 0,0-1 1 0 0,0 3-1 0 0,2-1 37 0 0,0 0 0 0 0,0 0-1 0 0,0 0 1 0 0,1 0 0 0 0,-1-1-1 0 0,0 1 1 0 0,1 0-1 0 0,-1-1 1 0 0,1 0 0 0 0,0 0-1 0 0,-1 0 1 0 0,1 0 0 0 0,0 0-1 0 0,3 1 1 0 0,-3-1-33 0 0,27 7 201 0 0,-1-2 1 0 0,2 0 0 0 0,-1-2-1 0 0,0-2 1 0 0,52-1-1 0 0,-38-3-774 0 0,-1-3-1 0 0,1-1 1 0 0,55-17-1 0 0,-32 1-4577 0 0,-56 17 3092 0 0</inkml:trace>
</inkml:ink>
</file>

<file path=ppt/ink/ink4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4:57.175"/>
    </inkml:context>
    <inkml:brush xml:id="br0">
      <inkml:brushProperty name="width" value="0.08571" units="cm"/>
      <inkml:brushProperty name="height" value="0.08571" units="cm"/>
      <inkml:brushProperty name="color" value="#E71224"/>
    </inkml:brush>
  </inkml:definitions>
  <inkml:trace contextRef="#ctx0" brushRef="#br0">17 0 8882,'-2'22'1619,"-1"0"-1259,2-2 0,-1 3-3083,-2 54 2993,2-32 0,-1 41 954,5-12-954,0-11-180,0 13 0,1-25 0,-1-19-1,0 10 1,1-13-180,-1 7 1,-1-14-181,0-2 0,1-1-180,-1-3-449,0-2 1505,0 3-606,1-4 0,-1-2 0,0-6 0</inkml:trace>
</inkml:ink>
</file>

<file path=ppt/ink/ink4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4:58.274"/>
    </inkml:context>
    <inkml:brush xml:id="br0">
      <inkml:brushProperty name="width" value="0.08571" units="cm"/>
      <inkml:brushProperty name="height" value="0.08571" units="cm"/>
      <inkml:brushProperty name="color" value="#E71224"/>
    </inkml:brush>
  </inkml:definitions>
  <inkml:trace contextRef="#ctx0" brushRef="#br0">0 256 7713,'3'-14'1259,"1"2"-989,1 3-90,3 1 89,2 0-89,3-1 90,4 2-90,15-4 0,-5 3-90,13-1 0,-8 3 0,1 1 0,2 1-90,4 0 90,2 1-382,5 0 292,1 1 90,1 0-90,3 0 0,0 1 90,3 1-180,23-1-1410,-16 1 1500,17 0 0,-24-1 90,-1 1-90,-3 0 0,2-1 0,14 1-384,-14-1 0,-1 0 294,5 0 90,0-1 0,0 1 0,0-2 0,0 1 0,-2-1-170,0 0 170,-2-1 0,1 1 0,-1-1 0,-1 0 0,1 0 0,-1-1 0,0 1 0,15-1 0,16 0 0,-10-1 90,20 0 43,-21 1 0,11 0 0,-18 1-43,-17 2-180,0 0 180,1 0-386,1 1 386,0-1-90,0 1 0,0 0 0,-1 0 0,-1 0 0,0 0 0,-3 1 0,-1 0 90,-3 0-180,0-1 180,2 1-180,1 0 180,3 0-2150,-4 1 2150,3-1-180,-2 1 103,22 0-13,-14-1 0,14 2 0,-20-2-90,0 1 180,-3 0-180,2 0 180,-4 0-180,1 0 90,-3 0 0,0 0 0,-2-1 0,0 0 0,12-1 0,-14 1 611,10-1-611,-16-1 173,-1 1-173,0 0 0,-1-1 0,1 1 3279,10-1-3279,-8 0 0,7-1 0,-11 2 0,0-1 341,-1 0-341,0 1 0,-2-1 0,-1 0 0,-2 0 90,0 1-90,-1-1 0,-1 0 0,0 1 90,0-1-180,-1 0 180,-2 1-90,1 0 0,-1 0 0,1 1 0,0 0 0,2 0 0,0 1 0,1 0 0,0 1 0,2 1 0,0 0 0,3 2 90,-1 0-180,1 0 90,0 1 0,2 1 90,12 3-1,-7-1-89,6 2 90,-11-4-90,-3 0 0,-1 0 90,-1-1-90,0 1 90,-2-1 0,0-1 0,-2 1 90,-1-1 0,0-1 270,4 2-270,-5-2 179,2 1-89,-2-1 0,0 0-180,4 0 0,-1-1 0,0 1-90,2 0 0,-4-1 0,-1 1 0,-5 0 0,1 0 0,-1 2 90,1 0 0,-1 2 0,0 1 0,0 2 0,-2 1 0,0 2-90,-1 1 90,1 9-90,-3-4 90,0 7 0,-2-5-1,-1 1 1,0 2 0,-1 1 0,0 1 0,-1 0 0,0 1-90,1 1 0,-1 1-3392,0 1 3482,-1 0-90,0 0 0,-1 0 0,1-3 0,-1 0 0,-1-1 90,0-1-90,-1-1 0,-1-2 90,-2 0 3392,-1-1-3302,-2-1-90,-2-1 0,-2-1 0,-3-2-90,-3-2 90,-2-2 0,-2-2-90,-3-1 0,-3-2 90,-4-2-90,-3-1 90,-6-1-3482,-3-2 3392,-4 0-487,-2-2 487,-34-2 0,17 0 0,-25-1 0,25 1 0,0 0 90,-1 0-90,-1 1 0,0 0 0,-1 2 0,-1 0 0,0 0-90,-1 2-45,21-1 0,-1 1-135,-29 3-262,28-3 1,1 1 171,-25 3 0,-2 0-179,-2 0-1,-3 1 0,-3 0 90,0 0 1,-3 1-1,0-1-45,25-1 1,-1-1-653,17-1 0,-1 0 787,-15 1 0,0 1-989,-25 2 179,2 0 1170,2-1 0,39-3 0,-2 0 0,-1-1 0,0 1 0</inkml:trace>
</inkml:ink>
</file>

<file path=ppt/ink/ink4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7:55.132"/>
    </inkml:context>
    <inkml:brush xml:id="br0">
      <inkml:brushProperty name="width" value="0.08571" units="cm"/>
      <inkml:brushProperty name="height" value="0.08571" units="cm"/>
    </inkml:brush>
  </inkml:definitions>
  <inkml:trace contextRef="#ctx0" brushRef="#br0">1446 358 9781,'11'-18'1799,"-4"0"-1709,-9 5 180,-3 2-4431,-2 1 4341,-2 2 769,0 1-859,-3-1 0,-3-1 90,-2 1-180,-2 0 180,-3 1 3212,-3 1-3302,-2 0-90,-5 3 90,-1 0-90,-5 3 269,-3 3-179,-5 3 180,-4 4-180,-3 4 0,-5 6-716,-1 4 716,-1 5 0,1 4 0,-1 5-1032,1 3 1122,3 4-180,-5 6 90,6 0-1707,-1 5 1707,6-4-90,3 1-137,3 0 227,3-1 0,2 0 0,5-1 89,-9 21 1,15-19-91,-5 16 1,17-26 0,2 1 0,3 1 0,2 0 90,3 1 0,3 0-1,2 1 1,4 0 90,1-1 90,10 20-180,0-16-90,8 13 0,0-19 0,3-2 0,5 1-90,2-4 90,3-2-90,3-3 90,4-2 0,23 7-90,-11-11 0,18 5 0,-19-14 89,3-3-89,1-2 0,-2-3 0,1-3 0,-2-4 0,1-2 0,6-2 0,1-3 0,6-4 0,-18 0 0,-1-2 0,28-7-84,-27 5 0,-1-1 84,20-9 0,-2-2 776,-1-2-776,-1-2 0,-2-1-915,-1-1 1095,-2-1-205,21-15 115,-20 9 0,15-10 90,-28 12-90,-2-1 90,-2-1-90,-2-1 553,-3 0-553,-3-2 0,-2-2 0,-2-2-90,-3-2 90,-2-2-90,-2-3 90,-3-2-90,2-32-95,-8 18 185,0-20-90,-12 25-90,-3-1 180,-6-2 795,-4-3-885,-8-1-90,-5 2-90,-10-1-180,-10-3-180,-10 1-596,6 18 0,-3 1 596,9 13 1,-1 1-46,-13-10 1,-2 2-1504,-28-9-431,-2 6-1258,7 10 3738,1 8 0,-3 5 0,-3 3 1</inkml:trace>
</inkml:ink>
</file>

<file path=ppt/ink/ink4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7:55.964"/>
    </inkml:context>
    <inkml:brush xml:id="br0">
      <inkml:brushProperty name="width" value="0.08571" units="cm"/>
      <inkml:brushProperty name="height" value="0.08571" units="cm"/>
    </inkml:brush>
  </inkml:definitions>
  <inkml:trace contextRef="#ctx0" brushRef="#br0">2097 125 9602,'8'-24'1709,"-3"4"-1440,-9 9 181,-3 2-180,-2 0 90,-5 0-90,-2 1-1,-4-1-89,-4 2 90,-4 0-180,-8 2 180,-4 0-180,-7 3-472,-4 3 472,-8 2 90,-3 4-1120,-8 5 1119,-1 3-89,-2 4 0,0 4-90,-1 4 45,16-2 0,-1 2-45,-28 16-700,27-12 1,2 1 699,-19 17 90,4 2-1037,8 0 947,-1 5-259,10-4 303,17-12 1,0 2-45,-15 20 0,19-21 0,1 0 0,-10 18 0,2 0 0,0 1 0,5 0 0,0 0 0,4 1 90,1 0-90,4 1 0,2-1 90,1 0 0,-5 26-90,9-20 90,-4 18 0,11-31 0,2-1 90,3-5 361,2 1-361,2-1 1076,3-3-1166,2 1 90,4-3-90,3 0 89,11 16-89,-1-17 0,10 10 0,-3-21-90,5-3 90,4-4-90,4-3 0,5-4 0,3-3 90,4-5-90,3-3 546,7-6-546,4-4-1279,6-5 1369,2-5 0,1-5-510,2-4 690,8-7-90,0-4 90,5-6-758,-1-3 667,-4-3 91,-2-3-90,-3-4 0,-4-2-90,-4-3 180,-26 18 0,-2 0-90,20-24-45,-25 24 0,-3 0-426,9-18 471,-4-2 957,-4-2-1047,-5-2 0,-4-2 0,-5-2-90,-5-2 0,-4-2 90,-5-1-90,-2 1 0,-4-1-90,-2 22 0,-2-1-270,-4-25-90,-7-21-269,0 33-361,-2 3-89,-4 4-450,-2 3-1619,-2 5-1515,-1 6 4753,0 4 0,-1 7 0,1 1 0</inkml:trace>
</inkml:ink>
</file>

<file path=ppt/ink/ink4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7:56.724"/>
    </inkml:context>
    <inkml:brush xml:id="br0">
      <inkml:brushProperty name="width" value="0.08571" units="cm"/>
      <inkml:brushProperty name="height" value="0.08571" units="cm"/>
    </inkml:brush>
  </inkml:definitions>
  <inkml:trace contextRef="#ctx0" brushRef="#br0">1987 717 8162,'17'-24'1709,"-3"2"-1439,-8 6 90,-3 2 0,-3-2 0,-3 1-1,-4-2 271,-14-8-450,-2 5 360,-30-12-181,12 16-89,-18-3 360,-16 9-270,9 7-987,-25 3 806,16 7 1,-3 6 0,-1 5-90,-8 7 0,-2 6-556,24-2 1,-4 4 510,0 4 0,0 3-954,0 0 0,2 2 909,5 0 0,5 1 90,-18 21-90,4 3 90,5 3 0,5 2 90,5 1-90,7-4-1106,5 0 1196,7-4-312,14-17 0,1 1 222,-9 26-45,12-25 0,1-1 135,-2 21-180,3 0 644,3-1-554,3-1 180,1 24-90,5-25 1428,1 17-1428,6-31 180,13 39-270,-3-34-45,3-6 0,4-2 45,6-4 1293,14 9-1293,-3-19-90,25 8 90,14-6-90,4-4 0,-27-21 0,0-4 626,17-4-626,21-4 0,-36-7 0,-1-2 90,31-8-90,-10-2 0,4-4 90,-13-3 0,0-1-1021,0-1 1,0 0 975,-4-2 0,-2-3 135,-2-2 0,-3-2-90,28-20 44,-32 19 1,-2 1 225,13-17-600,-23 16 0,-1-2 510,17-21-225,-19 19 0,-3 0 134,6-21-179,-3-3 180,-4-4-90,-5-4 0,-4-3 0,-5-4-1200,-4-2 1110,-7-1-90,-4-3 180,-7-1-270,-8-9-540,-4 26 0,-3-2 585,3 16 0,-2-1-135,-8-15 1,-2 1 339,4 22 1,-1 4-431,-2-1 1,-2 2-91,0 1 0,-5-1-455,-19-13 1,-4 1 229,12 14 1,-2 2-309,-17-12 0,-1 4-231,16 17 0,-2 3 1214,-25-8 0,-6 2 0,-6 2 0,-6 2 0,15 6 0,-1-1 0,1 0 0</inkml:trace>
</inkml:ink>
</file>

<file path=ppt/ink/ink4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4:30.919"/>
    </inkml:context>
    <inkml:brush xml:id="br0">
      <inkml:brushProperty name="width" value="0.08571" units="cm"/>
      <inkml:brushProperty name="height" value="0.08571" units="cm"/>
      <inkml:brushProperty name="color" value="#E71224"/>
    </inkml:brush>
  </inkml:definitions>
  <inkml:trace contextRef="#ctx0" brushRef="#br0">69 0 8882,'-3'25'1979,"-1"-1"-6031,1-4 4411,-1 1 1133,0 2-1132,-3 12 525,2-8-705,-4 18-90,4-18 0,-1 6 2305,2-13-2755,1-1-180,0-2-359,1-2-2609,0-2 3508,0 2 0,1-8 0,0 1 0</inkml:trace>
</inkml:ink>
</file>

<file path=ppt/ink/ink4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4:31.831"/>
    </inkml:context>
    <inkml:brush xml:id="br0">
      <inkml:brushProperty name="width" value="0.08571" units="cm"/>
      <inkml:brushProperty name="height" value="0.08571" units="cm"/>
      <inkml:brushProperty name="color" value="#E71224"/>
    </inkml:brush>
  </inkml:definitions>
  <inkml:trace contextRef="#ctx0" brushRef="#br0">15 101 10321,'-11'-18'1259,"8"5"-1169,11 7 0,5 4-90,0 1 90,3 1-90,3-1 90,2 2-180,2-1 180,4 1-90,2 0 90,2 0-180,3 1 180,2 0-180,4 0 180,2 0-401,4 1 311,1-1 0,2 1 90,0 0-180,1-1 180,1 1-90,2 0 0,1-1-90,8 0 180,2 0-90,7 0 0,2-1 0,1 0-2846,2 0 2756,0 0 180,0 0-741,0-1 651,-1 0 0,1 1 0,0-1 0,0 0-90,-2 0-90,1-1 90,-2 1-180,-1-1 90,-1 0-45,-21 0 1,0-1-46,27 0 180,21 0-90,-30 0 90,1 0-90,-1 1 180,1-1-90,2 0 180,-2 1-90,2-1 90,-2 0-45,-19 0 0,0 1 45,28-1-45,-27 1 0,0 0 45,19 0 90,1 0-180,-2-1 180,-4 1-180,-2 1-2011,-4-1 2011,0 1-129,0-1 219,24 1-90,-19 0 0,18 0 0,-26 0 90,1 0-180,-2 0 180,1 0-383,-1 0 293,0 0 0,-1 0 339,0 0-339,-1 0 0,-1-1-90,-1 1 90,20-1 1702,-16 1-1792,15-1 90,-22 1 0,0 0-1574,-2-1 1484,0 1 1675,-3-1-1675,-1 0-1657,-3 0 1657,0 0-896,-2 0 896,1-1 1406,-3 0-1316,15-1-90,-12 2 180,9-3-180,-16 2 90,-2 0 0,1 0 0,-2-1 0,2 2 0,-1-1 410,-1 0-320,12-1 2186,-10 1-2276,10 0 90,-14 0 0,-1 0 3270,-2 0-3360,-2 0 90,-2 1 0,-1 0 0,-2-1 0,-1 1 459,-1 0-279,-2 0 0,3-1 90,-1 1-1,2-1 91,-3 1-90,0 0-180,-2 0-180,2-1 270,-2 3-90,-1 3 269,-3 5-269,-3 7 90,-1-1-90,-2 4 0,-1-3 90,0 2-90,-1 1 0,0 2-1,-1 2 1,0 0 180,-2 12-180,1-8-90,-1 8 90,1-11-90,1 0 0,-1-3-90,1 0 90,-1-2-90,2-1 90,-1-2-90,0-1 90,1-1-810,-1 1 720,0-1 0,1-4 0,0-4 0</inkml:trace>
</inkml:ink>
</file>

<file path=ppt/ink/ink4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4:33.392"/>
    </inkml:context>
    <inkml:brush xml:id="br0">
      <inkml:brushProperty name="width" value="0.08571" units="cm"/>
      <inkml:brushProperty name="height" value="0.08571" units="cm"/>
      <inkml:brushProperty name="color" value="#E71224"/>
    </inkml:brush>
  </inkml:definitions>
  <inkml:trace contextRef="#ctx0" brushRef="#br0">19 73 10501,'-5'20'1979,"-1"-1"-1439,2-8-91,1-1-89,2 1-180,5 1-90,2-3 90,5 1-180,3-3 90,3 0 0,5 2 0,3-1-90,7 2 0,3-1 0,6 1 90,2-2-1689,2 1 1599,1 0 0,3-1-471,6 1 471,2 0 90,4 0-703,1 0 613,1-1 0,0 0 0,0 0 0,1 0 0,0 0 0,1 0 0,2-1 0,0 0-1779,1 0 1689,1-1 0,1-1 427,-1 0-337,1-1 0,-1 0-90,1 0 90,-1 0 0,-1 0-90,0 0 90,-2 0 0,-4-1 346,-2 1-436,-4 0 8,-1-1-7,0 1 178,-1-1 1384,-1 0-1383,1 0-180,-2 0 90,1-1 0,0 0 0,0 0-90,1 0 180,0-1-180,1 0 180,-1 1-90,24 0 0,-19-1 0,17 1 0,-25 0 0,-3-1 0,0 1 744,-5-1-744,-1 0 0,-3-1-89,-1 0 178,-1 1-89,-1-2 0,0 1 0,15-2 0,-13 0 90,12-1-90,-16 0 90,-1 0-90,1-1 105,-1 0-105,1 1 90,0-1 0,-1 1 0,1-1 0,-2 0 825,1 0-825,-1-1 601,-1 1-602,-1-1 294,-1 0-293,-2 0 180,-2 1-180,-1-1 90,-1-1-90,-1 1 180,0-2-1,-2 2-89,0-1-90,-2-1 90,0 0-180,-1 1 180,-1-1 0,0 0 0,-2 0 0,0 0-90,-1-1 90,0 1-90,0-1 89,-1 0 1,-1 0-90,0 0 90,5-4-90,-5 3 0,4-4 0,-6 5 0,1-1 90,-1 0-90,-1 0 90,0 0 0,-1 1-90,0 0 0,-1 0 0,0 0-1,0-1 1,1-3-90,-2 3 90,2-3-90,-1 0 0,-1 0-90,0-3-269,0 1-721,-2 1-1079,-1 0-2338,-1 0-360,-4 2 4857,-2 2 0,1 4 0,1 2 0</inkml:trace>
</inkml:ink>
</file>

<file path=ppt/ink/ink4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4:36.492"/>
    </inkml:context>
    <inkml:brush xml:id="br0">
      <inkml:brushProperty name="width" value="0.08571" units="cm"/>
      <inkml:brushProperty name="height" value="0.08571" units="cm"/>
      <inkml:brushProperty name="color" value="#E71224"/>
    </inkml:brush>
  </inkml:definitions>
  <inkml:trace contextRef="#ctx0" brushRef="#br0">143 29 6543,'-18'-11'90,"-2"2"-180,3 7-180,1 0 91,-1 1 179,2 0 0,-4 0 0,-1-1 0</inkml:trace>
</inkml:ink>
</file>

<file path=ppt/ink/ink4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4:37.025"/>
    </inkml:context>
    <inkml:brush xml:id="br0">
      <inkml:brushProperty name="width" value="0.08571" units="cm"/>
      <inkml:brushProperty name="height" value="0.08571" units="cm"/>
      <inkml:brushProperty name="color" value="#E71224"/>
    </inkml:brush>
  </inkml:definitions>
  <inkml:trace contextRef="#ctx0" brushRef="#br0">47 0 10591,'-6'24'989,"1"1"-809,0 1 0,0 3 0,0 5-4252,1 4 4252,0 4 0,0 4 550,1 1-550,1-1-90,0-2 0,1-1 90,1-3-90,-1 0-41,1-2-49,1-1 90,-1-3-90,0-1 0,1-3 3173,-1-2-3443,2-1 147,-1-1-327,1-2-297,0-3-242,1-2-540,1-2-90,1-2 1619,2-3 0,-3-5 0,-1-3 0</inkml:trace>
</inkml:ink>
</file>

<file path=ppt/ink/ink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1:02.776"/>
    </inkml:context>
    <inkml:brush xml:id="br0">
      <inkml:brushProperty name="width" value="0.1" units="cm"/>
      <inkml:brushProperty name="height" value="0.1" units="cm"/>
    </inkml:brush>
  </inkml:definitions>
  <inkml:trace contextRef="#ctx0" brushRef="#br0">238 1 80 0 0,'-12'-1'566'0'0,"1"1"0"0"0,-1 0-1 0 0,1 1 1 0 0,-1 1 0 0 0,1 0 0 0 0,-1 0-1 0 0,1 1 1 0 0,0 0 0 0 0,-12 6 0 0 0,14-5-358 0 0,1 0 1 0 0,0 0 0 0 0,1 0-1 0 0,-1 1 1 0 0,1 1 0 0 0,0-1-1 0 0,0 1 1 0 0,1 0 0 0 0,-1 1-1 0 0,1-1 1 0 0,1 1-1 0 0,-8 11 1 0 0,11-15-149 0 0,0 1 1 0 0,1-1-1 0 0,-1 0 1 0 0,1 1-1 0 0,-1-1 0 0 0,1 1 1 0 0,0-1-1 0 0,1 1 0 0 0,-1 0 1 0 0,1-1-1 0 0,-1 1 1 0 0,1 0-1 0 0,0 0 0 0 0,1-1 1 0 0,-1 1-1 0 0,0 0 0 0 0,1-1 1 0 0,1 6-1 0 0,1-4-16 0 0,-1 0 0 0 0,1 0 0 0 0,-1 0 0 0 0,1 0 0 0 0,1-1 0 0 0,-1 1 0 0 0,1-1 1 0 0,-1 0-1 0 0,1 0 0 0 0,0 0 0 0 0,7 4 0 0 0,-2-1-1 0 0,2-1 0 0 0,-1 0 0 0 0,1 0 0 0 0,0-1 0 0 0,0 0 0 0 0,0-1 0 0 0,1-1 0 0 0,-1 1 0 0 0,1-2 1 0 0,21 3-1 0 0,-26-5-28 0 0,-1 0 1 0 0,0 0 0 0 0,1-1-1 0 0,-1 1 1 0 0,0-1-1 0 0,0-1 1 0 0,1 0 0 0 0,-1 1-1 0 0,0-2 1 0 0,0 1 0 0 0,-1-1-1 0 0,1 0 1 0 0,-1 0-1 0 0,1 0 1 0 0,-1-1 0 0 0,0 0-1 0 0,0 0 1 0 0,0 0 0 0 0,6-8-1 0 0,-8 7-19 0 0,1 0 0 0 0,-1 0 0 0 0,0 0 1 0 0,-1 0-1 0 0,1-1 0 0 0,-1 1 0 0 0,0-1 0 0 0,0 0 0 0 0,-1 1 0 0 0,0-1 0 0 0,0 0 0 0 0,0 0 0 0 0,-1 0 0 0 0,0 0 0 0 0,0 0 0 0 0,0 1 0 0 0,-1-1 0 0 0,1 0 0 0 0,-2 0 1 0 0,1 0-1 0 0,-2-5 0 0 0,0 3-179 0 0,0 1 1 0 0,0-1 0 0 0,-1 1 0 0 0,0 0-1 0 0,0 0 1 0 0,0 1 0 0 0,-10-12 0 0 0,10 14-536 0 0,0 0 0 0 0,-1 0 0 0 0,1 0 1 0 0,-1 1-1 0 0,0-1 0 0 0,0 1 0 0 0,-7-3 1 0 0,1 1-505 0 0</inkml:trace>
</inkml:ink>
</file>

<file path=ppt/ink/ink4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4:37.851"/>
    </inkml:context>
    <inkml:brush xml:id="br0">
      <inkml:brushProperty name="width" value="0.08571" units="cm"/>
      <inkml:brushProperty name="height" value="0.08571" units="cm"/>
      <inkml:brushProperty name="color" value="#E71224"/>
    </inkml:brush>
  </inkml:definitions>
  <inkml:trace contextRef="#ctx0" brushRef="#br0">247 51 8702,'-7'-16'2339,"2"0"-2159,7 7-90,5 1-1,6 6 1,-1 3 90,3 1-90,-3 1 0,0 1 0,1 2 0,0 0 0,-1 2 0,1 1 270,4 8-270,-5-1 90,4 7 0,-6-3 89,-2 4-89,0 2 180,0 19-180,-3-7-90,0 14 90,-4-13 90,-1 25-90,-1-14-610,-2 18 520,1-20 90,-2-1-90,1 0-283,-1-2 373,-1 0-90,1-1 0,0-4-90,-1-1 85,0-4 5,0-2-90,-1-1 0,-1-2 503,-1-2-503,0-3 208,-2-3-298,-1-3-174,-4-2-186,-2-1-359,-4-4-180,-4-2-361,-4-4-539,-4-3-629,-6-5 2518,-4-4 0,-20-8 0,-5-3 0</inkml:trace>
</inkml:ink>
</file>

<file path=ppt/ink/ink4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5:01.881"/>
    </inkml:context>
    <inkml:brush xml:id="br0">
      <inkml:brushProperty name="width" value="0.08571" units="cm"/>
      <inkml:brushProperty name="height" value="0.08571" units="cm"/>
      <inkml:brushProperty name="color" value="#E71224"/>
    </inkml:brush>
  </inkml:definitions>
  <inkml:trace contextRef="#ctx0" brushRef="#br0">0 1 12660,'6'18'539,"-1"2"-359,-2-5 0,1 2 0,-1 2 0,1 2 0,-1 2 0,2 1-90,-2 0 0,2 0 0,0 0 90,1 10-90,-1-8-1,2 15 1,-3-19-180,1 6-179,-2-12-1,0-1-90,-1-2-899,0-2 1259,0 1 0,-1-6 0,1-1 0</inkml:trace>
</inkml:ink>
</file>

<file path=ppt/ink/ink4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5:02.186"/>
    </inkml:context>
    <inkml:brush xml:id="br0">
      <inkml:brushProperty name="width" value="0.08571" units="cm"/>
      <inkml:brushProperty name="height" value="0.08571" units="cm"/>
      <inkml:brushProperty name="color" value="#E71224"/>
    </inkml:brush>
  </inkml:definitions>
  <inkml:trace contextRef="#ctx0" brushRef="#br0">1 1 8612,'8'6'3868,"-3"-3"-3598,8 24 0,-6-10-91,2 2 91,1 0-180,0 0 180,1 1-90,2 0 0,-2-1 180,7 7-180,-6-8 89,4 4 91,-6-9 0,-1-2 90,0-1 89,0-2 181,-1-1-180,3-2-360,1-5 0,0-1-1,0-5 91,-4-2-90,0-2 0,-1-2 0,0-1 0,0-1 90,-1-2-90,-1 0 0,-1-1-91,0 0 1,-1 1 0,0-1-90,-1 0 0,-1 2-180,1 1-629,-1 0-900,-1-3-1080,1 1 2789,-1-2 0,0 9 0,0 4 0</inkml:trace>
</inkml:ink>
</file>

<file path=ppt/ink/ink4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5:02.345"/>
    </inkml:context>
    <inkml:brush xml:id="br0">
      <inkml:brushProperty name="width" value="0.08571" units="cm"/>
      <inkml:brushProperty name="height" value="0.08571" units="cm"/>
      <inkml:brushProperty name="color" value="#E71224"/>
    </inkml:brush>
  </inkml:definitions>
  <inkml:trace contextRef="#ctx0" brushRef="#br0">0 0 11760,'11'17'4947,"-1"-3"-10523,-3-5 5576,1-6 0,-3 1 0,0-5 0</inkml:trace>
</inkml:ink>
</file>

<file path=ppt/ink/ink4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5:03.609"/>
    </inkml:context>
    <inkml:brush xml:id="br0">
      <inkml:brushProperty name="width" value="0.08571" units="cm"/>
      <inkml:brushProperty name="height" value="0.08571" units="cm"/>
      <inkml:brushProperty name="color" value="#E71224"/>
    </inkml:brush>
  </inkml:definitions>
  <inkml:trace contextRef="#ctx0" brushRef="#br0">37 1 8342,'-3'25'2069,"1"-1"-1439,0-5-91,0 3 1,0 0-180,1 1 90,0-1-181,0 0 1,1-2 0,0 1 0,-1-2-90,1 0 0,0-3 0,0 0 179,0-2 541,0 4 269,1-3-539,-2 3-450,-2-12-90,-2-8-90,-1-9 0,2-6 90,2-1-90,0-2-90,2-3 90,2-2 0,1-3 0,3-1 0,0-1 0,2 3-90,2 1 90,0 3-90,2 3 90,1 4 0,2 4-90,0 2 90,1 5 0,1 3-90,1 3 90,0 4 90,1 4-90,1 3 90,-1 3 0,-1 3-2443,-1 1 2443,-2 2 0,-2 0 0,-2 1 180,0 15-180,-6-13 0,0 11-90,-7-18 180,-8 11-90,1-11 0,-6 8-90,5-15 89,-2-1 2264,1-3-2533,-1 0 90,0-3-719,0 0 89,-4-3 1,3-1-91,-4-3-89,6-1-361,0-1-1168,0-2-1260,2-1 3688,1-2 0,0-3 0,1-2 0</inkml:trace>
</inkml:ink>
</file>

<file path=ppt/ink/ink4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5:03.893"/>
    </inkml:context>
    <inkml:brush xml:id="br0">
      <inkml:brushProperty name="width" value="0.08571" units="cm"/>
      <inkml:brushProperty name="height" value="0.08571" units="cm"/>
      <inkml:brushProperty name="color" value="#E71224"/>
    </inkml:brush>
  </inkml:definitions>
  <inkml:trace contextRef="#ctx0" brushRef="#br0">0 0 8162,'19'4'1979,"-5"-1"-1619,-3 4-90,-4-1 0,-1 3-90,0 1-1,-1 1-89,-2 1 0,0 0 0,-2 1 0,0 0-90,-2 1 90,0-1 0,-1 1 0,0-1 0,-1-1 180,1 0 180,-1 3 89,0-1 91,0 2-270,2-2-180,4-3 0,4-2-180,5-2-540,3-3-809,3-1-1530,1-3 2879,-1-3 0,-8 1 0,-2 0 0</inkml:trace>
</inkml:ink>
</file>

<file path=ppt/ink/ink4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5:04.309"/>
    </inkml:context>
    <inkml:brush xml:id="br0">
      <inkml:brushProperty name="width" value="0.08571" units="cm"/>
      <inkml:brushProperty name="height" value="0.08571" units="cm"/>
      <inkml:brushProperty name="color" value="#E71224"/>
    </inkml:brush>
  </inkml:definitions>
  <inkml:trace contextRef="#ctx0" brushRef="#br0">147 5 8972,'-22'-3'1529,"4"2"-1259,1 7 0,4 2 89,0 3 1,0 2-90,1 1 0,1 3-90,2 0 90,1 2 0,3 0-180,1 0 89,3-1 1,0 1-90,2-1 90,1 0 0,1-2 0,0 0 90,1-3-90,0 0 359,1-3-179,3 0-180,1-4-90,5-3-90,-2-6 270,1-3-90,-3 0 90,0-2-1,-1 1 1,0-1 0,-1 1 90,-1 1-180,2-3-90,-1 3 0,3-1-90,-2 6 90,-1 5-90,-2 6-180,-2 0 0,-1 2-180,0-2-180,-1 1-89,0-1-271,0 1-1348,0 0-91,1 4-989,-1-4 3328,1 3 0,-1-9 0,-1 0 0</inkml:trace>
</inkml:ink>
</file>

<file path=ppt/ink/ink4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5:06.847"/>
    </inkml:context>
    <inkml:brush xml:id="br0">
      <inkml:brushProperty name="width" value="0.08571" units="cm"/>
      <inkml:brushProperty name="height" value="0.08571" units="cm"/>
      <inkml:brushProperty name="color" value="#E71224"/>
    </inkml:brush>
  </inkml:definitions>
  <inkml:trace contextRef="#ctx0" brushRef="#br0">14 13 6183,'-14'-12'0</inkml:trace>
</inkml:ink>
</file>

<file path=ppt/ink/ink4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5:07.414"/>
    </inkml:context>
    <inkml:brush xml:id="br0">
      <inkml:brushProperty name="width" value="0.08571" units="cm"/>
      <inkml:brushProperty name="height" value="0.08571" units="cm"/>
      <inkml:brushProperty name="color" value="#E71224"/>
    </inkml:brush>
  </inkml:definitions>
  <inkml:trace contextRef="#ctx0" brushRef="#br0">0 6 12930,'14'7'1709,"-2"2"-1529,-8 2-1,0 2 1,-2 0-90,2 0 0,-1 2 0,0 1 0,0 0 0,0 1-90,0 0 90,-1-1-90,0 0 90,0-2 0,-1 0-90,1 4 90,-2-2-720,0 1 270,-3-11 181,0-10-1,0-6 0,3-8 90,2 1 0,1-3 90,1-2 90,1 0 180,0 1-1,0 2-89,-1 1 0,1 3-90,-1 1 0,-1 2 0,1 2-90,0-2 0,1 4 0,2 3 90,3 7-90,-2 4 0,2 2 0,-2 0 90,1 2 0,2 1 0,-1 0-90,1 0 90,0-1 0,1 0-90,-1 0 90,1-1-90,-1 0 90,-1-2 0,1-1-90,-2-2-90,6-2 0,-4-3 0,4-2 0,-4-3 0,0-4 0,-1-1 90,1-3 90,-1 0 180,-1-1 0,0 1-1,-2 0-89,-1 2 0,0 1-90,0 2 0,-2 0 0,2-1 90,1 7 0,-1 6 0,0 6 90,-4 7-90,0-1-3483,1 3 3483,-1 1 0,0 2-90,1 1 90,-1 1-90,1 0 90,-1 8-270,0-7-90,-1 4-90,-1-10-179,0-1-181,0-1-989,-1-3-2519,0 4 4986,0-4 0,-1-3 0,1-5 0</inkml:trace>
</inkml:ink>
</file>

<file path=ppt/ink/ink4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5:09.254"/>
    </inkml:context>
    <inkml:brush xml:id="br0">
      <inkml:brushProperty name="width" value="0.08571" units="cm"/>
      <inkml:brushProperty name="height" value="0.08571" units="cm"/>
      <inkml:brushProperty name="color" value="#E71224"/>
    </inkml:brush>
  </inkml:definitions>
  <inkml:trace contextRef="#ctx0" brushRef="#br0">46 70 11670,'-4'23'1260,"1"-2"-901,4-5 1,0 1-90,0 3-90,0 0 450,1 22-1,-1 19-539,1-12 0,-2 4 0,0-37 90,-1-1 360,0-3 269,-1 4-179,-1-2-1,-2-1-359,-3-7-180,0-10-90,0-5 0,2-6 0,3-1-90,1-5 0,1-4 0,3-5 0,2-5 90,2-3-89,4-2-1,1 1 0,3 3-222,1 2 222,2 2 0,0 6 0,2 3-90,-1 4 1,-1 4-1,1 3 0,-1 5 0,-1 2 0,-2 2 90,-1 4-90,0 2 90,-2 2 0,0 2 90,-3 2-90,-1 1 222,-3 1-132,-1 0 0,-3 1-90,-2 1 90,-2-1 0,-1 2 0,-7 4-90,1-4-90,-3 2 0,3-5-180,0-2 1,0 1-91,0-2-90,0 0-179,1-2-1170,0-1 1889,-1 0 0,6-2 0,-2-1 0</inkml:trace>
</inkml:ink>
</file>

<file path=ppt/ink/ink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1:03.167"/>
    </inkml:context>
    <inkml:brush xml:id="br0">
      <inkml:brushProperty name="width" value="0.1" units="cm"/>
      <inkml:brushProperty name="height" value="0.1" units="cm"/>
    </inkml:brush>
  </inkml:definitions>
  <inkml:trace contextRef="#ctx0" brushRef="#br0">1 99 1140 0 0,'3'11'1336'0'0,"0"0"0"0"0,-1 0 0 0 0,2 16 0 0 0,-3-18-997 0 0,0 0-1 0 0,0 0 1 0 0,1 0 0 0 0,0-1-1 0 0,1 1 1 0 0,7 15 0 0 0,-7-18-229 0 0,0 0-1 0 0,1-1 1 0 0,0 1 0 0 0,0-1 0 0 0,0 0-1 0 0,0 0 1 0 0,1-1 0 0 0,0 1 0 0 0,0-1-1 0 0,9 6 1 0 0,-10-8-133 0 0,-1-1 1 0 0,0 1-1 0 0,1-1 1 0 0,-1 0-1 0 0,1 0 0 0 0,-1 0 1 0 0,1-1-1 0 0,-1 1 0 0 0,1-1 1 0 0,-1 0-1 0 0,1 0 1 0 0,0 0-1 0 0,-1-1 0 0 0,1 1 1 0 0,-1-1-1 0 0,1 0 0 0 0,-1 0 1 0 0,1 0-1 0 0,-1 0 0 0 0,0-1 1 0 0,5-2-1 0 0,3-3-205 0 0,0 0-1 0 0,0-1 1 0 0,-1-1-1 0 0,0 0 1 0 0,-1 0-1 0 0,16-21 1 0 0,-1 3 189 0 0,-23 25-24 0 0,6 2 72 0 0,-6-1 6 0 0,0 1 0 0 0,-1 0 1 0 0,1 1-1 0 0,-1-1 0 0 0,1 0 0 0 0,0 0 0 0 0,-1 0 0 0 0,1 0 0 0 0,-1 0 0 0 0,1 0 0 0 0,-1 1 0 0 0,1-1 0 0 0,0 0 0 0 0,-1 1 0 0 0,1-1 0 0 0,-1 0 0 0 0,1 1 0 0 0,-1-1 0 0 0,0 0 0 0 0,1 1 0 0 0,-1-1 0 0 0,1 1 0 0 0,-1-1 0 0 0,0 1 0 0 0,1 0 0 0 0,2 2 33 0 0,0 0-1 0 0,1-1 1 0 0,-1 0-1 0 0,0 1 1 0 0,1-1-1 0 0,0 0 1 0 0,-1-1-1 0 0,1 1 0 0 0,0-1 1 0 0,0 1-1 0 0,0-1 1 0 0,0 0-1 0 0,0-1 1 0 0,0 1-1 0 0,0-1 0 0 0,0 0 1 0 0,0 0-1 0 0,0 0 1 0 0,0 0-1 0 0,0-1 1 0 0,5 0-1 0 0,-4-1-35 0 0,0 0-1 0 0,-1 0 1 0 0,1 0-1 0 0,-1 0 0 0 0,1-1 1 0 0,-1 1-1 0 0,0-1 1 0 0,0 0-1 0 0,0 0 1 0 0,0-1-1 0 0,0 1 1 0 0,-1-1-1 0 0,0 0 1 0 0,0 0-1 0 0,0 0 1 0 0,0 0-1 0 0,2-6 1 0 0,4-10 293 0 0,0-1 0 0 0,-2 1 1 0 0,8-36-1 0 0,-9 33 518 0 0,-1 6-480 0 0,-5 21-124 0 0,-4 31-40 0 0,2-20-166 0 0,-8 114-2504 0 0,6-71-2956 0 0,4-48 3477 0 0</inkml:trace>
</inkml:ink>
</file>

<file path=ppt/ink/ink4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5:09.527"/>
    </inkml:context>
    <inkml:brush xml:id="br0">
      <inkml:brushProperty name="width" value="0.08571" units="cm"/>
      <inkml:brushProperty name="height" value="0.08571" units="cm"/>
      <inkml:brushProperty name="color" value="#E71224"/>
    </inkml:brush>
  </inkml:definitions>
  <inkml:trace contextRef="#ctx0" brushRef="#br0">122 1 10051,'-16'9'1619,"1"0"-1259,6-4-90,-1 1-90,-1 1 90,1 1-270,0 0 180,0 1-90,2 0 89,1 2-179,1 0 180,1 1-90,2 0 0,1 0-90,3 0 180,2 1-90,2 0 0,2 2 0,3-2 0,2 1-90,1-2 0,1-1-180,0-3 0,-1-1-90,1-1-89,0-2 89,-1-1-720,0-1-269,3-3-810,-3-1 2069,3-3 0,-9 1 0,-2 0 0</inkml:trace>
</inkml:ink>
</file>

<file path=ppt/ink/ink4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5:08.220"/>
    </inkml:context>
    <inkml:brush xml:id="br0">
      <inkml:brushProperty name="width" value="0.08571" units="cm"/>
      <inkml:brushProperty name="height" value="0.08571" units="cm"/>
      <inkml:brushProperty name="color" value="#E71224"/>
    </inkml:brush>
  </inkml:definitions>
  <inkml:trace contextRef="#ctx0" brushRef="#br0">31 4 12030,'-22'-1'4138,"14"1"-4138,30 2-90,-3-1-90,16 2-90,-19-2-90,-1 0-179,-2-1-1350,-1 0-1260,3-2 3149,-3-2 0,-3 2 0,-4-1 0</inkml:trace>
</inkml:ink>
</file>

<file path=ppt/ink/ink4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5:08.378"/>
    </inkml:context>
    <inkml:brush xml:id="br0">
      <inkml:brushProperty name="width" value="0.08571" units="cm"/>
      <inkml:brushProperty name="height" value="0.08571" units="cm"/>
      <inkml:brushProperty name="color" value="#E71224"/>
    </inkml:brush>
  </inkml:definitions>
  <inkml:trace contextRef="#ctx0" brushRef="#br0">44 0 9781,'-13'11'2789,"2"3"-2519,7 0 0,1 2-1,1-2 1,0 0-90,1 2 0,0 2 0,-1-1-90,2 2-90,-1-1-180,0 2-270,1-1-359,-1 0-1440,1 0-989,0-1 3238,-1-1 0,1-7 0,0-3 0</inkml:trace>
</inkml:ink>
</file>

<file path=ppt/ink/ink4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5:10.377"/>
    </inkml:context>
    <inkml:brush xml:id="br0">
      <inkml:brushProperty name="width" value="0.08571" units="cm"/>
      <inkml:brushProperty name="height" value="0.08571" units="cm"/>
      <inkml:brushProperty name="color" value="#E71224"/>
    </inkml:brush>
  </inkml:definitions>
  <inkml:trace contextRef="#ctx0" brushRef="#br0">1 6 13649,'9'-3'1889,"-6"2"-1799,30-1-90,-15 3 90,1 1 0,9 0-90,-7 0 0,13 1 0,-16-2 0,4 1-90,-9-1-360,-2 0-449,4 0-2070,-2 0 2969,4-1 0,-8 0 0,-2 0 0</inkml:trace>
</inkml:ink>
</file>

<file path=ppt/ink/ink4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5:17.661"/>
    </inkml:context>
    <inkml:brush xml:id="br0">
      <inkml:brushProperty name="width" value="0.08571" units="cm"/>
      <inkml:brushProperty name="height" value="0.08571" units="cm"/>
      <inkml:brushProperty name="color" value="#E71224"/>
    </inkml:brush>
  </inkml:definitions>
  <inkml:trace contextRef="#ctx0" brushRef="#br0">62 1 10051,'-6'10'2159,"2"-7"-1889,1 29 0,2-14-90,-1 2 0,1 2-1,-1 0 91,-2 13-180,1-9 0,-1 7 0,2-12 90,-2 7-180,2-8 90,-2 6 0,2-11-90,0-1 90,0-1 180,1 3 0,-1-2-270,0 1-180,-1-14 90,0-9 0,2-8 0,-1-4 0,3 2 0,-1-2 0,1-3 0,1 0 90,0-2-90,1 0 180,0 3-90,0 1 90,0 3-90,0 2 0,-1 1 0,1 2-90,-1-1 90,2 2 0,5 5 0,-1 8 90,3 4-90,-3 4 0,-2-1 0,1 1 90,0 0-90,1 0 0,0 1 90,1-1-90,0 1 90,0-1-90,0-1 0,0 0 90,0-1-90,0-2 90,0 1-90,5-3 90,2-2-90,0-1 0,0-5 0,-5-1 0,0-1 0,0-3 0,-1-2 90,0-1 89,0 0 1,-1 0 90,-1 1-90,-1 1 90,0 1-180,-1 1 0,-1 1 180,1-1-90,3 6 0,-3 5-91,1 10 1,-4 2-90,-1 3 90,0-3 0,0 0-90,-1 2 90,1 1-90,0 0 90,0 0-180,-1 0-180,1 0-89,-1 1-181,0-2-180,0 0-179,-1-1-270,1-1-1170,0 0 2339,0-2 0,1 6 0,0 0 0</inkml:trace>
</inkml:ink>
</file>

<file path=ppt/ink/ink49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5:17.831"/>
    </inkml:context>
    <inkml:brush xml:id="br0">
      <inkml:brushProperty name="width" value="0.08571" units="cm"/>
      <inkml:brushProperty name="height" value="0.08571" units="cm"/>
      <inkml:brushProperty name="color" value="#E71224"/>
    </inkml:brush>
  </inkml:definitions>
  <inkml:trace contextRef="#ctx0" brushRef="#br0">1 6 14549,'11'-3'0,"-2"0"0</inkml:trace>
</inkml:ink>
</file>

<file path=ppt/ink/ink4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5:18.387"/>
    </inkml:context>
    <inkml:brush xml:id="br0">
      <inkml:brushProperty name="width" value="0.08571" units="cm"/>
      <inkml:brushProperty name="height" value="0.08571" units="cm"/>
      <inkml:brushProperty name="color" value="#E71224"/>
    </inkml:brush>
  </inkml:definitions>
  <inkml:trace contextRef="#ctx0" brushRef="#br0">0 16 8972,'6'17'1349,"-2"-1"-899,-2-4-90,-1 1 89,1 1-89,0 1 0,0 2-90,-1 0 0,1 0 0,0 1-1,0-1-89,-1 0 0,1-1-3392,-1 0 3302,0-2 90,0 0 90,1-2 179,-2 4 181,2-2 450,-2 3-631,0-4 2943,-2-10-3482,0-7 90,-1-7-180,1-5 90,2 1 1,1-3-1,1-3 0,1-1 0,2-3 0,1-1 0,2 0 0,2 0 90,1 1-90,0 3 0,2 1 0,-1 4 90,1 3-90,0 2 90,-1 3 0,0 3 0,0 2-90,0 4 0,-1 1 0,0 4 90,0 1 0,-1 2-90,3 8 90,-4-3 0,1 5 0,-4 3 0,-3-5 0,0 5 0,-2-6 0,-2-2 90,0 1-90,-2 0 0,-1-1 0,-1 0 90,0-1-180,-1-1 180,0-1-180,0-2 0,0 0-360,-1-2-539,-4 2-360,0-3-1530,-4 0 2879,0-4 0,7 0 0,2-2 0</inkml:trace>
</inkml:ink>
</file>

<file path=ppt/ink/ink4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5:18.946"/>
    </inkml:context>
    <inkml:brush xml:id="br0">
      <inkml:brushProperty name="width" value="0.08571" units="cm"/>
      <inkml:brushProperty name="height" value="0.08571" units="cm"/>
      <inkml:brushProperty name="color" value="#E71224"/>
    </inkml:brush>
  </inkml:definitions>
  <inkml:trace contextRef="#ctx0" brushRef="#br0">1 49 10051,'9'-20'2699,"0"4"-2339,0 8-181,3 4-89,-1 5 0,1 6 0,-4 5 0,-2 3 90,-3 2-90,-1 1 0,-2-1 0,0-2 540,-1-1-361,2-1 1,2-3-90,3-2-90,4-4 0,3-2-180,2-2-450,-1 0-539,0-2-1799,-3 0 2878,1-2 0,-7 3 0,0-1 0</inkml:trace>
</inkml:ink>
</file>

<file path=ppt/ink/ink4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5:19.336"/>
    </inkml:context>
    <inkml:brush xml:id="br0">
      <inkml:brushProperty name="width" value="0.08571" units="cm"/>
      <inkml:brushProperty name="height" value="0.08571" units="cm"/>
      <inkml:brushProperty name="color" value="#E71224"/>
    </inkml:brush>
  </inkml:definitions>
  <inkml:trace contextRef="#ctx0" brushRef="#br0">101 0 8972,'-15'11'1439,"2"-1"-1079,2-1 0,1 1-4342,0 1 4252,1 1 769,1 1-679,-2 7-180,4-4-90,0 4 90,4-6-180,1 0 3572,1-1-3572,2 0 90,0-1 0,1 0 0,0-2 89,1 0 1,3-1-90,2-1 180,3-3 180,2-5 179,0-4 1,0-3-180,-1 0-270,-2 1 0,-2 1 0,1 2-180,-2 3-90,0 4-630,-3 5-359,-1 0-720,1 3-1260,0-1 3059,2 1 0,-3-6 0,-1-1 0</inkml:trace>
</inkml:ink>
</file>

<file path=ppt/ink/ink4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5:22.414"/>
    </inkml:context>
    <inkml:brush xml:id="br0">
      <inkml:brushProperty name="width" value="0.08571" units="cm"/>
      <inkml:brushProperty name="height" value="0.08571" units="cm"/>
      <inkml:brushProperty name="color" value="#E71224"/>
    </inkml:brush>
  </inkml:definitions>
  <inkml:trace contextRef="#ctx0" brushRef="#br0">20 20 15358,'-11'-11'0,"3"2"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18.526"/>
    </inkml:context>
    <inkml:brush xml:id="br0">
      <inkml:brushProperty name="width" value="0.1" units="cm"/>
      <inkml:brushProperty name="height" value="0.1" units="cm"/>
    </inkml:brush>
  </inkml:definitions>
  <inkml:trace contextRef="#ctx0" brushRef="#br0">35 0 880 0 0,'3'3'264'0'0,"-1"-1"-1"0"0,0 0 1 0 0,0 1-1 0 0,0-1 1 0 0,-1 1 0 0 0,1 0-1 0 0,-1-1 1 0 0,1 1-1 0 0,-1 0 1 0 0,0 0 0 0 0,0 0-1 0 0,0 0 1 0 0,-1 0-1 0 0,1 0 1 0 0,-1 0 0 0 0,1 1-1 0 0,-1-1 1 0 0,0 0-1 0 0,0 0 1 0 0,0 0-1 0 0,-1 0 1 0 0,1 0 0 0 0,-1 0-1 0 0,-1 4 1 0 0,-3 7 464 0 0,0 1 1 0 0,-1-1-1 0 0,-13 24 1 0 0,8-18-107 0 0,10-18-534 0 0,0 0-1 0 0,0 0 1 0 0,0-1 0 0 0,0 1 0 0 0,1 0 0 0 0,-1 0 0 0 0,0 0 0 0 0,1 0 0 0 0,-1 3-1 0 0,2-4-74 0 0,-1 0 0 0 0,0 0-1 0 0,1-1 1 0 0,-1 1-1 0 0,0 0 1 0 0,1-1-1 0 0,-1 1 1 0 0,1 0 0 0 0,-1-1-1 0 0,1 1 1 0 0,-1 0-1 0 0,1-1 1 0 0,0 1-1 0 0,-1-1 1 0 0,1 1 0 0 0,0-1-1 0 0,-1 1 1 0 0,1-1-1 0 0,0 0 1 0 0,0 1 0 0 0,-1-1-1 0 0,1 0 1 0 0,0 0-1 0 0,0 1 1 0 0,0-1-1 0 0,-1 0 1 0 0,1 0 0 0 0,2 0-1 0 0,13 2-264 0 0,0 0-1 0 0,0-1 1 0 0,16-1-1 0 0,32 1-6270 0 0</inkml:trace>
</inkml:ink>
</file>

<file path=ppt/ink/ink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1:03.534"/>
    </inkml:context>
    <inkml:brush xml:id="br0">
      <inkml:brushProperty name="width" value="0.1" units="cm"/>
      <inkml:brushProperty name="height" value="0.1" units="cm"/>
    </inkml:brush>
  </inkml:definitions>
  <inkml:trace contextRef="#ctx0" brushRef="#br0">1 248 84 0 0,'11'-13'624'0'0,"0"2"0"0"0,1-1-1 0 0,1 2 1 0 0,0 0 0 0 0,0 0 0 0 0,1 1-1 0 0,20-10 1 0 0,1-2 57 0 0,-21 13-363 0 0,1 0 1 0 0,28-10-1 0 0,-40 17-251 0 0,-1 1 1 0 0,0-1-1 0 0,1 1 0 0 0,-1-1 1 0 0,0 1-1 0 0,1 0 0 0 0,-1 0 1 0 0,1 0-1 0 0,-1 0 0 0 0,0 1 1 0 0,1-1-1 0 0,-1 1 0 0 0,0-1 1 0 0,1 1-1 0 0,-1 0 0 0 0,0 0 1 0 0,0 0-1 0 0,0 0 0 0 0,0 0 1 0 0,0 0-1 0 0,0 1 0 0 0,0-1 1 0 0,0 1-1 0 0,0-1 0 0 0,-1 1 1 0 0,1 0-1 0 0,0 0 0 0 0,-1 0 1 0 0,0 0-1 0 0,1 0 0 0 0,-1 0 1 0 0,0 0-1 0 0,1 3 0 0 0,4 7 213 0 0,-1 1-1 0 0,0 0 0 0 0,-1 0 0 0 0,3 17 0 0 0,-7-27-262 0 0,4 19 172 0 0,-1 0 0 0 0,-1 0 0 0 0,-1 1-1 0 0,-1-1 1 0 0,-4 24 0 0 0,4-45-182 0 0,0-1 0 0 0,0 1 0 0 0,0 0 0 0 0,0 0 0 0 0,0 0-1 0 0,0 0 1 0 0,0 0 0 0 0,-1 0 0 0 0,1 0 0 0 0,0 0 0 0 0,-1 0 0 0 0,1 0 0 0 0,-1-1 0 0 0,1 1 0 0 0,-1 0 0 0 0,1 0-1 0 0,-1 0 1 0 0,1-1 0 0 0,-1 1 0 0 0,0 0 0 0 0,0-1 0 0 0,1 1 0 0 0,-1 0 0 0 0,0-1 0 0 0,0 1 0 0 0,0-1 0 0 0,1 0-1 0 0,-1 1 1 0 0,0-1 0 0 0,0 0 0 0 0,0 1 0 0 0,0-1 0 0 0,0 0 0 0 0,0 0 0 0 0,0 0 0 0 0,0 0 0 0 0,0 0-1 0 0,0 0 1 0 0,0 0 0 0 0,0 0 0 0 0,0 0 0 0 0,1 0 0 0 0,-1 0 0 0 0,0-1 0 0 0,-2 1 0 0 0,1-1-34 0 0,-1 0 1 0 0,0-1 0 0 0,0 1-1 0 0,1 0 1 0 0,-1-1-1 0 0,1 1 1 0 0,-1-1 0 0 0,1 0-1 0 0,0 0 1 0 0,-1 0 0 0 0,1 0-1 0 0,0 0 1 0 0,0-1-1 0 0,-1-2 1 0 0,-1-2-92 0 0,1-1-1 0 0,1 1 1 0 0,-1-1-1 0 0,1 0 1 0 0,1 0-1 0 0,0 0 1 0 0,0 0-1 0 0,0 0 1 0 0,1-1-1 0 0,0 1 1 0 0,0 0-1 0 0,1 0 1 0 0,1 0 0 0 0,-1 0-1 0 0,1 0 1 0 0,0 0-1 0 0,1 0 1 0 0,3-7-1 0 0,4-8 14 0 0,1 0 0 0 0,1 1 0 0 0,1 0 0 0 0,25-31 0 0 0,-34 47 98 0 0,1 0-1 0 0,-1-1 0 0 0,2 1 0 0 0,-1 1 0 0 0,1-1 0 0 0,0 1 0 0 0,0 0 0 0 0,0 0 1 0 0,1 1-1 0 0,7-4 0 0 0,-12 7 106 0 0,-2 1-93 0 0,0 0 0 0 0,1 1 0 0 0,-1-1 0 0 0,0 0 0 0 0,0 1 0 0 0,0-1-1 0 0,0 0 1 0 0,0 1 0 0 0,0-1 0 0 0,0 0 0 0 0,0 1 0 0 0,0-1 0 0 0,0 0 0 0 0,0 1 0 0 0,0-1 0 0 0,0 0 0 0 0,0 1 0 0 0,0-1 0 0 0,0 0 0 0 0,0 1 0 0 0,0-1 0 0 0,0 0 0 0 0,0 1 0 0 0,0-1 0 0 0,-1 0 0 0 0,1 0 0 0 0,0 1-1 0 0,-16 14 22 0 0,0-2 0 0 0,-1 1 0 0 0,-35 19-1 0 0,-21 7-5314 0 0</inkml:trace>
</inkml:ink>
</file>

<file path=ppt/ink/ink5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5:22.851"/>
    </inkml:context>
    <inkml:brush xml:id="br0">
      <inkml:brushProperty name="width" value="0.08571" units="cm"/>
      <inkml:brushProperty name="height" value="0.08571" units="cm"/>
      <inkml:brushProperty name="color" value="#E71224"/>
    </inkml:brush>
  </inkml:definitions>
  <inkml:trace contextRef="#ctx0" brushRef="#br0">1 66 10591,'13'24'1439,"-2"-2"-1079,-8-11-90,0 1 0,-1 2-1,1-1-89,0 2 90,0-1-90,0 0-90,0-1 90,0 0-90,-1-2 90,0 0 180,1 2 359,0 0 630,-1 1-1259,-1-14 0,-1-8-90,-1-9 0,1-3 0,2 1 0,1-1 0,1-3 0,2 0 0,1-2 0,1 2 0,1 1 0,1 2-90,0 2 90,1 2-90,0 2 90,1 3-90,-1 4 90,0 2 0,1 3 0,0 3-89,-1 2 89,2 3 0,-1 3 0,1 2 0,-2 3 89,0 1-89,-2 1 0,-1 1 0,-2 0 90,-2-1-90,-1 1 90,-1 0-90,-2-1 0,-1 0 90,-2-1-90,-1 0 90,-2 0-90,-1-1 90,-2-2-90,-1 0 0,0-1-90,-2-2-90,0-1 0,-1-1-179,1-2-181,-1 0-180,2-3 1,-1 0-181,1-3 1,0 0-181,1-2-719,0-1 1799,-3-5 0,7 5 0,-2-2 0</inkml:trace>
</inkml:ink>
</file>

<file path=ppt/ink/ink5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5:23.146"/>
    </inkml:context>
    <inkml:brush xml:id="br0">
      <inkml:brushProperty name="width" value="0.08571" units="cm"/>
      <inkml:brushProperty name="height" value="0.08571" units="cm"/>
      <inkml:brushProperty name="color" value="#E71224"/>
    </inkml:brush>
  </inkml:definitions>
  <inkml:trace contextRef="#ctx0" brushRef="#br0">0 2 9242,'21'-1'1979,"-1"2"-1710,-9 4-89,-2 3 90,-4 0-180,0 0 90,-2 1 0,-1 7-90,-2-4-90,0 5 90,-2-5 90,0-1-90,-1 0 0,0 0 0,0 0 89,0 0 91,0 2 180,-1-1 90,1 2-270,2-1-180,3-4-1,5 0-448,4-4-631,1-1-719,2-2-989,-1-3 2698,0-1 0,-6 0 0,-2-1 0</inkml:trace>
</inkml:ink>
</file>

<file path=ppt/ink/ink5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5:23.307"/>
    </inkml:context>
    <inkml:brush xml:id="br0">
      <inkml:brushProperty name="width" value="0.08571" units="cm"/>
      <inkml:brushProperty name="height" value="0.08571" units="cm"/>
      <inkml:brushProperty name="color" value="#E71224"/>
    </inkml:brush>
  </inkml:definitions>
  <inkml:trace contextRef="#ctx0" brushRef="#br0">1 0 9422,'7'22'2698,"-1"-5"-2248,-3-2 0,-2-3-91,0 0 1,1 1-90,-2 0 0,1 0-90,-1 1-90,0 1 0,0-1 0,-1 1-270,0 1 0,-1-1-180,1-1-270,-1-1-89,0-1-1260,0 0-1349,0 2 3328,-1-2 0,2-3 0,0-4 0</inkml:trace>
</inkml:ink>
</file>

<file path=ppt/ink/ink5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5:23.533"/>
    </inkml:context>
    <inkml:brush xml:id="br0">
      <inkml:brushProperty name="width" value="0.08571" units="cm"/>
      <inkml:brushProperty name="height" value="0.08571" units="cm"/>
      <inkml:brushProperty name="color" value="#E71224"/>
    </inkml:brush>
  </inkml:definitions>
  <inkml:trace contextRef="#ctx0" brushRef="#br0">96 0 8792,'-17'11'1619,"1"-1"-1169,6-4-90,0 0-1,0 1 1,2-1-3482,1 1 3302,0 1 270,1 0-1,2 5 91,18 18-450,-7-12-90,15 12 0,-11-23 3212,-1-1-3572,-1-1-899,0-1-1529,1 1 2788,-1 0 0,-2-2 0,-3-1 0</inkml:trace>
</inkml:ink>
</file>

<file path=ppt/ink/ink5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5:31.194"/>
    </inkml:context>
    <inkml:brush xml:id="br0">
      <inkml:brushProperty name="width" value="0.08571" units="cm"/>
      <inkml:brushProperty name="height" value="0.08571" units="cm"/>
    </inkml:brush>
  </inkml:definitions>
  <inkml:trace contextRef="#ctx0" brushRef="#br0">20 1 7713,'-6'45'2428,"2"-16"-1079,-2 23-989,5-30-90,-1 13 0,2-17 90,1 6-180,-1-7-90,1 4 179,0-8 271,-1 3 360,1-1 1168,0 1-1978,-3-14-90,1-4 0,-2-13 90,3 0-90,1-3 0,2-4 0,0-1 0,2-1-90,1-2 90,1 0 0,2 1 0,0 2-90,1 2 90,0 3-90,1 0 90,1 3 0,0 4-89,0 1 89,-1 4-90,2 3 90,-1 3 0,1 2-90,0 3 90,1 3 0,-1 3 0,1 3 0,-2 3 90,0 1-90,-2 1 0,0 2 90,-2 0-90,0 1 0,-2 0 0,-1-1 89,-1-1-89,-2-1 90,-1-1 0,-2 0 0,-1-2-90,-1 0 90,-2-1-90,-1-1 90,-1-2-90,-1 0 90,-1-3-90,0 0 0,-2-3 90,1-1-720,-5 0-269,-6-6 359,3 1-179,-1-5-3419,6-2 4138,4-2 0,1 2 0,4 1 0</inkml:trace>
</inkml:ink>
</file>

<file path=ppt/ink/ink5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5:31.451"/>
    </inkml:context>
    <inkml:brush xml:id="br0">
      <inkml:brushProperty name="width" value="0.08571" units="cm"/>
      <inkml:brushProperty name="height" value="0.08571" units="cm"/>
    </inkml:brush>
  </inkml:definitions>
  <inkml:trace contextRef="#ctx0" brushRef="#br0">92 1 10231,'-14'11'1259,"1"-1"-1079,4-4 90,1 0-90,-1 1 90,1 0-90,1 2 90,0 1 0,0 1-91,3 1 1,0 0 0,3 0 0,1 1 0,2 1-90,1 0 0,3 1 0,1-1 0,2 1 0,1-2 0,3 1-90,0-1 90,2-2-180,-1-1-90,0-2-90,0-2-360,-1 0-1079,-2-3-2698,4 0 4407,-3-3 0,-2 1 0,-4-2 0</inkml:trace>
</inkml:ink>
</file>

<file path=ppt/ink/ink5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5:36.543"/>
    </inkml:context>
    <inkml:brush xml:id="br0">
      <inkml:brushProperty name="width" value="0.08571" units="cm"/>
      <inkml:brushProperty name="height" value="0.08571" units="cm"/>
    </inkml:brush>
  </inkml:definitions>
  <inkml:trace contextRef="#ctx0" brushRef="#br0">25 0 8432,'-9'17'720,"1"-2"-540,5 4 90,0-6 179,2 5-89,1-4-90,2-3 0,3 1-180,5-2 0,0-3-90,3-1 90,-1-2-90,2 0 90,3 0-90,2 1 0,3-1 0,2 0 89,3 0-89,3 0 0,3 0 0,5 1 0,2 0 90,3 0-90,22 2 0,-14-1 0,16 1 0,-20-2 0,0 0 0,1 0-394,-1-1 394,0 0 90,-2 0-90,0 0 0,-5-1 0,-2 1 0,-3-1 0,-1-1 0,-3 0 0,-2 1 0,10-2 0,-11 1 0,8 0 394,-12-2-394,-2 0 0,0 0 0,-1 0 0,2 0 0,-1 0 0,1-1 0,0 1 0,-1-1 0,9 0 0,-7 1 0,5-1 0,-9 1 0,0 0 0,7 0 0,-8-1 0,6 1 0,-9 0 90,-1-1 0,-1 1 90,0-1 0,0 0 0,-1 0 0,0 1 0,-1-1 0,0 0 0,0-1 179,-2 1 181,5-1 0,-1-1-91,3-1-89,-3-1 0,-2-1-90,-1-1-90,-2-3 0,-2-3-90,-3-2 90,-1-3-90,-2-1-1,-1-1 1,-2 0-90,-1 0-359,0 3-901,-1 2-2158,1 3-989,-6 7 4407,2 6 0,-1 2 0,4 2 0</inkml:trace>
</inkml:ink>
</file>

<file path=ppt/ink/ink5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5:41.493"/>
    </inkml:context>
    <inkml:brush xml:id="br0">
      <inkml:brushProperty name="width" value="0.08571" units="cm"/>
      <inkml:brushProperty name="height" value="0.08571" units="cm"/>
    </inkml:brush>
  </inkml:definitions>
  <inkml:trace contextRef="#ctx0" brushRef="#br0">13 27 8792,'-2'-20'2339,"-1"14"-2249,1 20-90,-1 4 90,1 9-1,2-13 1,0 1-90,0-1 180,0 1-90,1 0 90,0-1-180,0 0 180,-1-1-180,2 0 90,-1 0 0,0 2 90,1 0 450,0 2 179,-1-3 1,0-1-810,-1-13 0,2-5-90,-2-10 90,1-1 0,1 2 0,-1 0 0,1 0 0,0 1 0,-1 0-90,1-2 90,1 0-90,-1-1-90,1 3 180,3 5-90,1 5 180,6 7-90,0 2 90,-1 0-90,1-1-90,-2-2 90,0 0 0,0-1-90,0 0-3392,1-2 3392,-1 0 0,1-1 0,0-1 0,1-1 0,-1-2-90,0-1 90,1-1 3392,-2-2-3392,0-1 1,0 0 89,-1-1 89,-1 0 1,-1 1 90,0 1 0,-2 0-90,1-1-90,0 2 0,3 2 0,-4 7 0,1 9 0,-5 3 90,0 2-90,-1-2 0,0 2 0,0 1 90,0 1-180,0 1 180,1-1-90,-2 1 90,2 0-90,-1 0 90,0 0-90,0-1 90,0 8-180,0-7-90,0 4-90,-1-8-359,1-1-991,0 0-2427,0 3 4047,2-3 0,-1-2 0,1-5 0</inkml:trace>
</inkml:ink>
</file>

<file path=ppt/ink/ink5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5:41.683"/>
    </inkml:context>
    <inkml:brush xml:id="br0">
      <inkml:brushProperty name="width" value="0.08571" units="cm"/>
      <inkml:brushProperty name="height" value="0.08571" units="cm"/>
    </inkml:brush>
  </inkml:definitions>
  <inkml:trace contextRef="#ctx0" brushRef="#br0">0 1 14819,'18'4'809,"-7"-2"1,-6-1-1</inkml:trace>
</inkml:ink>
</file>

<file path=ppt/ink/ink5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5:42.386"/>
    </inkml:context>
    <inkml:brush xml:id="br0">
      <inkml:brushProperty name="width" value="0.08571" units="cm"/>
      <inkml:brushProperty name="height" value="0.08571" units="cm"/>
    </inkml:brush>
  </inkml:definitions>
  <inkml:trace contextRef="#ctx0" brushRef="#br0">1 1 10141,'9'22'720,"-1"0"-450,-6-9-90,-1 2 89,1 2-89,0 0-4251,-1 1 4251,1 0 1129,0 8-1129,-1-6 0,1 6 179,-1-2-179,0-6-90,0 3 3482,-1-7-3392,0 3 270,0-1 629,0 2 91,0-1-991,-4-12-179,1-8 0,-1-10 0,1-7-90,2 2 1,1-3-1,0-1 90,2-2-90,1-1 0,1 2 90,2-1-90,0 2 0,2 2 90,0 1-90,1 1 90,2 3-90,0 3 90,0 2-90,1 4 90,-1 1 0,1 3-90,1 2 90,-1 3 0,2 3-90,0 3 90,6 10 0,-6-3 0,5 8 0,-8-5 0,0 1 0,-2 0 0,2 10 0,-4-8 90,1 15 90,-5-11-180,-1 0 90,-2-4-90,-2-8 90,0 0-90,-2-1 90,0-1-90,-1-1 90,-1-1-90,0-2 90,0 0-90,0-1 0,-2-1 90,1-1-450,-5 0-270,1-1-359,-3 0-540,1-4-540,1-1-1529,2-4 3598,3-4 0,3 4 0,3 0 0</inkml:trace>
</inkml:ink>
</file>

<file path=ppt/ink/ink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1:03.908"/>
    </inkml:context>
    <inkml:brush xml:id="br0">
      <inkml:brushProperty name="width" value="0.1" units="cm"/>
      <inkml:brushProperty name="height" value="0.1" units="cm"/>
    </inkml:brush>
  </inkml:definitions>
  <inkml:trace contextRef="#ctx0" brushRef="#br0">0 98 852 0 0,'9'5'2584'0'0,"-5"0"-2116"0"0,-1-1 0 0 0,0 1 1 0 0,0 0-1 0 0,0 0 0 0 0,-1 0 1 0 0,0 0-1 0 0,0 1 0 0 0,0-1 0 0 0,1 11 1 0 0,-1-7-86 0 0,1-1 0 0 0,-1 0 0 0 0,8 15 0 0 0,-6-17-278 0 0,-1-1 0 0 0,1 1-1 0 0,0-1 1 0 0,0 0 0 0 0,1 0 0 0 0,-1 0 0 0 0,1-1 0 0 0,0 1-1 0 0,0-1 1 0 0,12 6 0 0 0,-14-8-127 0 0,1-1-1 0 0,-1 0 1 0 0,1 1-1 0 0,-1-1 1 0 0,1-1-1 0 0,0 1 1 0 0,-1 0-1 0 0,1-1 1 0 0,0 0-1 0 0,0 0 1 0 0,-1 0-1 0 0,1 0 1 0 0,0-1 0 0 0,0 1-1 0 0,-1-1 1 0 0,1 0-1 0 0,0 0 1 0 0,-1 0-1 0 0,1-1 1 0 0,4-2-1 0 0,-1 0-170 0 0,0-1 0 0 0,0-1 0 0 0,0 1 0 0 0,0-1 0 0 0,-1-1 0 0 0,0 1 0 0 0,-1-1 0 0 0,1 0 0 0 0,-1 0 0 0 0,5-11 0 0 0,23-27 784 0 0,-26 52 111 0 0,-5-4-617 0 0,-1 0 0 0 0,1-1 1 0 0,-1 1-1 0 0,1 0 1 0 0,0-1-1 0 0,0 0 1 0 0,0 1-1 0 0,0-1 0 0 0,1 0 1 0 0,-1 0-1 0 0,1 0 1 0 0,-1-1-1 0 0,1 1 1 0 0,-1-1-1 0 0,1 1 0 0 0,0-1 1 0 0,0 0-1 0 0,0 0 1 0 0,5 1-1 0 0,-4-1-77 0 0,0-1 0 0 0,0-1 0 0 0,-1 1 0 0 0,1 0 0 0 0,0-1 1 0 0,0 0-1 0 0,0 0 0 0 0,0 0 0 0 0,-1 0 0 0 0,1-1 0 0 0,0 0 0 0 0,-1 1 0 0 0,1-1 0 0 0,-1 0 0 0 0,6-5 0 0 0,14-12 239 0 0,-1-1 0 0 0,0-1 0 0 0,-2-1 0 0 0,0-1 0 0 0,22-35 0 0 0,-42 58-235 0 0,0-1 1 0 0,1 1-1 0 0,-1-1 1 0 0,0 0 0 0 0,1 1-1 0 0,-1-1 1 0 0,1 1 0 0 0,-1-1-1 0 0,0 1 1 0 0,1-1 0 0 0,-1 1-1 0 0,1 0 1 0 0,-1-1 0 0 0,1 1-1 0 0,-1-1 1 0 0,1 1 0 0 0,0 0-1 0 0,-1-1 1 0 0,1 1-1 0 0,-1 0 1 0 0,1 0 0 0 0,0 0-1 0 0,-1 0 1 0 0,1-1 0 0 0,0 1-1 0 0,-1 0 1 0 0,2 0 0 0 0,-1 1-7 0 0,-1-1 1 0 0,1 1-1 0 0,0-1 0 0 0,-1 1 1 0 0,1-1-1 0 0,0 1 1 0 0,-1 0-1 0 0,1-1 1 0 0,-1 1-1 0 0,1 0 0 0 0,-1 0 1 0 0,1-1-1 0 0,-1 1 1 0 0,1 0-1 0 0,-1 0 1 0 0,1 1-1 0 0,7 37 15 0 0,-7-25-293 0 0,0 1 1 0 0,-1 0 0 0 0,-1 0 0 0 0,0-1 0 0 0,-6 26 0 0 0,5-29-1003 0 0,-1 0 0 0 0,-1-1-1 0 0,0 0 1 0 0,-10 18-1 0 0,8-17-1627 0 0</inkml:trace>
</inkml:ink>
</file>

<file path=ppt/ink/ink5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5:42.671"/>
    </inkml:context>
    <inkml:brush xml:id="br0">
      <inkml:brushProperty name="width" value="0.08571" units="cm"/>
      <inkml:brushProperty name="height" value="0.08571" units="cm"/>
    </inkml:brush>
  </inkml:definitions>
  <inkml:trace contextRef="#ctx0" brushRef="#br0">1 11 8252,'16'-7'1350,"-1"4"-1171,-4 8-89,-3 6-4251,-2 1 4251,-3 3 769,-2-3-589,-2 7-90,0-4 90,-2 5 0,0-5 0,0-2 3391,0 0-3391,0-1 180,1-1-90,-2 3 0,1-1 89,-1 3 91,2-3-270,3-1-270,4-4-540,6 0-719,4-5 449,5-2-1079,-4-1-539,1-2 2428,-4-1 0,2-1 0,2-2 0</inkml:trace>
</inkml:ink>
</file>

<file path=ppt/ink/ink5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5:43.020"/>
    </inkml:context>
    <inkml:brush xml:id="br0">
      <inkml:brushProperty name="width" value="0.08571" units="cm"/>
      <inkml:brushProperty name="height" value="0.08571" units="cm"/>
    </inkml:brush>
  </inkml:definitions>
  <inkml:trace contextRef="#ctx0" brushRef="#br0">35 1 9781,'-6'19'810,"1"-3"-540,0-7-180,1 1 180,0 0-180,0 1 89,1 1 1,1-1 0,1 7 0,0-5-180,2 5 90,0-6 0,1-1 180,1-1 0,1 3 0,1-3-91,4 0-179,0-6 450,2-5 360,0-3-91,0-2-89,-2 0-450,1 1-90,-1 0-90,-1 7 90,-1 2-90,-3 7-180,-2 1-540,-1 3-359,0 1-450,0 1-1350,0-1 2879,-1 0 0,0-7 0,1-3 0</inkml:trace>
</inkml:ink>
</file>

<file path=ppt/ink/ink5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5:43.412"/>
    </inkml:context>
    <inkml:brush xml:id="br0">
      <inkml:brushProperty name="width" value="0.08571" units="cm"/>
      <inkml:brushProperty name="height" value="0.08571" units="cm"/>
    </inkml:brush>
  </inkml:definitions>
  <inkml:trace contextRef="#ctx0" brushRef="#br0">145 1 11490,'-18'13'1260,"0"1"-900,6-2-91,0 2 1,-1 3-90,0-1 90,1 3 0,2 0-180,0 1 90,1 2 0,2 0-91,1 1 91,3 1-90,1-1 0,3 1 0,2 0 0,2 0 0,7 11 0,-2-10 0,6 8 0,-4-14-180,1-2-180,0-1-90,0-2-269,0-3-271,-1-1-179,0-2-4048,-1-3 5127,3 0 0,-8-3 0,2-1 0</inkml:trace>
</inkml:ink>
</file>

<file path=ppt/ink/ink5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5:44.224"/>
    </inkml:context>
    <inkml:brush xml:id="br0">
      <inkml:brushProperty name="width" value="0.08571" units="cm"/>
      <inkml:brushProperty name="height" value="0.08571" units="cm"/>
    </inkml:brush>
  </inkml:definitions>
  <inkml:trace contextRef="#ctx0" brushRef="#br0">30 0 12300,'1'29'630,"0"-2"-361,-1-11-89,0 2 0,0 2-4161,-1-1 4250,1 2 771,0 0-860,0-1 0,-1 1 0,1-2-1,0 0-89,-1-1 3392,1-2-3212,0-1 360,-1 3 449,1-2 450,-1 3-899,-1-5-450,-2-9-180,0-8-90,-2-8 0,2-6-90,1 0 90,1-3-90,1-3 90,1-2 0,0-1 0,3 0 0,0 0 0,1 2 1,1 0 89,2 1-90,0 2 0,1 2-90,5-4 90,-2 8-90,5 0 90,-5 8 0,1 3 0,0 3 0,1 2 0,0 3 90,1 4-90,0 2 0,5 11 90,-5-3-90,3 8 90,-8-6 0,-1 1 0,-1 0 90,-2 0-90,-3 0 0,0-1 90,-3-1-90,-1-1 90,-1 0-90,-2 0 90,-1-1-90,-2-1 0,0-2 90,-1-1-90,-1-2 90,1 0-90,-1-2 90,-1-1-180,1-2-90,0-2-629,0 0-181,-5-2-449,-1-2 629,-4-3-269,6-1-990,3-1-719,4-2 2788,2 0 0,2 3 0,1 0 0</inkml:trace>
</inkml:ink>
</file>

<file path=ppt/ink/ink5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5:44.538"/>
    </inkml:context>
    <inkml:brush xml:id="br0">
      <inkml:brushProperty name="width" value="0.08571" units="cm"/>
      <inkml:brushProperty name="height" value="0.08571" units="cm"/>
    </inkml:brush>
  </inkml:definitions>
  <inkml:trace contextRef="#ctx0" brushRef="#br0">0 1 7982,'24'2'1350,"-6"1"-1080,-8 3-91,-3 2 1,-2 0 0,0 1 0,-2 2 90,-1 1 0,-1 0 90,-1 1-181,0 1 181,-2-1-90,0 1 90,-2 0-180,1 0 90,-2-2-180,1 0 359,-1 3 181,1-4 180,-1 4 89,1-4 270,0 0-899,4 0-90,5-5-90,8-1-90,0-4 90,2-1-180,-3 0-90,0-1-180,1 1-719,5-1-540,-5 0-720,8 0-2158,-7 0 4497,4 0 0,-9 1 0,-3 0 0</inkml:trace>
</inkml:ink>
</file>

<file path=ppt/ink/ink5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5:44.855"/>
    </inkml:context>
    <inkml:brush xml:id="br0">
      <inkml:brushProperty name="width" value="0.08571" units="cm"/>
      <inkml:brushProperty name="height" value="0.08571" units="cm"/>
    </inkml:brush>
  </inkml:definitions>
  <inkml:trace contextRef="#ctx0" brushRef="#br0">45 0 10951,'2'30'2069,"-1"-6"-1710,-2-3-89,0-4 180,0 10-90,-2 4-180,0 0-90,1 0 0,-1-9-1,0-1 1,-1-1-180,1-1-179,-1-2-1,1 0-180,0-1 0,-1-2-539,1-1 989,0 0 0,1-6 0,0 0 0</inkml:trace>
</inkml:ink>
</file>

<file path=ppt/ink/ink5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5:45.111"/>
    </inkml:context>
    <inkml:brush xml:id="br0">
      <inkml:brushProperty name="width" value="0.08571" units="cm"/>
      <inkml:brushProperty name="height" value="0.08571" units="cm"/>
    </inkml:brush>
  </inkml:definitions>
  <inkml:trace contextRef="#ctx0" brushRef="#br0">147 1 8972,'-17'12'1259,"1"-1"-899,8-5-90,-1 0 90,-1 0-91,0 1 1,1-1-90,0 1 90,0-2-180,2 2 180,-1-2 90,1 1-91,-2 3 181,2 0 90,-1 4 0,5-1-181,4-1-89,5 2-180,0-4 90,3 0-90,-1-3 0,1-1 0,1 1-180,2-1 0,-1 0-270,1-1-90,0 0-359,-1-1-450,0 1-990,0-3 2249,0 1 0,6-3 0,2 0 0</inkml:trace>
</inkml:ink>
</file>

<file path=ppt/ink/ink5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5:45.268"/>
    </inkml:context>
    <inkml:brush xml:id="br0">
      <inkml:brushProperty name="width" value="0.08571" units="cm"/>
      <inkml:brushProperty name="height" value="0.08571" units="cm"/>
    </inkml:brush>
  </inkml:definitions>
  <inkml:trace contextRef="#ctx0" brushRef="#br0">0 0 10231,'23'5'1439,"-1"0"-1169,-8-3 0,3 1-90,0-1-90,3 1-270,0 0-270,1 0-359,-1-1-900,-2 0-270,0-1 1979,-1-1 0,-8 0 0,-3 0 0</inkml:trace>
</inkml:ink>
</file>

<file path=ppt/ink/ink5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5:45.483"/>
    </inkml:context>
    <inkml:brush xml:id="br0">
      <inkml:brushProperty name="width" value="0.08571" units="cm"/>
      <inkml:brushProperty name="height" value="0.08571" units="cm"/>
    </inkml:brush>
  </inkml:definitions>
  <inkml:trace contextRef="#ctx0" brushRef="#br0">26 0 12120,'-13'9'2339,"3"1"-1979,9 5-181,0 5 1,1-3-90,0 1 0,0-5 0,0 1 0,0 1 0,0-1-90,1 1-180,-1 0-90,0-1-179,-1 1-721,1 5-5036,0 6 6206,0-2 0,0-7 0,0-9 0</inkml:trace>
</inkml:ink>
</file>

<file path=ppt/ink/ink5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5:45.729"/>
    </inkml:context>
    <inkml:brush xml:id="br0">
      <inkml:brushProperty name="width" value="0.08571" units="cm"/>
      <inkml:brushProperty name="height" value="0.08571" units="cm"/>
    </inkml:brush>
  </inkml:definitions>
  <inkml:trace contextRef="#ctx0" brushRef="#br0">1 1 11490,'12'14'1709,"-2"-3"-1439,-6 7-90,-1-5 0,0 5 0,-1-4-90,0 0 0,1 2 90,-1 6-90,0-6-90,0 5-90,-1-7-270,0-1-360,-2 4-539,0-1 1259,0 1 0,0-7 0,0-5 0</inkml:trace>
</inkml:ink>
</file>

<file path=ppt/ink/ink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1:04.303"/>
    </inkml:context>
    <inkml:brush xml:id="br0">
      <inkml:brushProperty name="width" value="0.1" units="cm"/>
      <inkml:brushProperty name="height" value="0.1" units="cm"/>
    </inkml:brush>
  </inkml:definitions>
  <inkml:trace contextRef="#ctx0" brushRef="#br0">0 145 968 0 0,'16'-14'1032'0'0,"1"-2"-232"0"0,0 1-176 0 0,3 1-104 0 0,1 1-116 0 0,0 0-100 0 0,1 1-112 0 0,-1 2-100 0 0,0 0-132 0 0,-3 4-188 0 0,3-1-172 0 0,-3 1-292 0 0,1 2-428 0 0,-1-1 1068 0 0</inkml:trace>
</inkml:ink>
</file>

<file path=ppt/ink/ink5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5:46.032"/>
    </inkml:context>
    <inkml:brush xml:id="br0">
      <inkml:brushProperty name="width" value="0.08571" units="cm"/>
      <inkml:brushProperty name="height" value="0.08571" units="cm"/>
    </inkml:brush>
  </inkml:definitions>
  <inkml:trace contextRef="#ctx0" brushRef="#br0">1 66 12840,'14'11'629,"0"1"-449,-7-1 0,0 0 90,1 1-90,1 0 0,0 0-90,0-1 180,4 4-91,-4-4 181,2 2 630,-4-6 179,2 1 360,-1-1-899,5-2-450,-3-6 90,1-3-1,-3-4 1,-3 0 0,0-1-90,0-1 90,0-2 0,0 0-180,0-1 89,-1 1-89,-1 0-90,0 0 90,0 1-90,0 0 0,-1 0-449,1-3-721,0 0-988,-1-1-2970,1 2 5128,-3 2 0,1 5 0,-2 1 0</inkml:trace>
</inkml:ink>
</file>

<file path=ppt/ink/ink5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5:46.235"/>
    </inkml:context>
    <inkml:brush xml:id="br0">
      <inkml:brushProperty name="width" value="0.08571" units="cm"/>
      <inkml:brushProperty name="height" value="0.08571" units="cm"/>
    </inkml:brush>
  </inkml:definitions>
  <inkml:trace contextRef="#ctx0" brushRef="#br0">196 1 8972,'4'18'2339,"0"-1"-1800,-3-2 91,0 1-180,0 3-91,-1 0 1,0 2-90,-1 2 0,0 0-90,0 1 0,-1 1-90,-1 0 90,0 0-180,-1 0-90,-2 0-90,-2 1-180,-2-1-270,-2-1-269,-3-1-2070,-11 6 631,2-10 2338,-9 4 0,5-12 0,-1 0 0</inkml:trace>
</inkml:ink>
</file>

<file path=ppt/ink/ink5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5:47.451"/>
    </inkml:context>
    <inkml:brush xml:id="br0">
      <inkml:brushProperty name="width" value="0.08571" units="cm"/>
      <inkml:brushProperty name="height" value="0.08571" units="cm"/>
    </inkml:brush>
  </inkml:definitions>
  <inkml:trace contextRef="#ctx0" brushRef="#br0">29 0 11131,'-16'10'3508,"4"1"-3239,13-6 1,4 0-90,9-1 0,4-1 90,17 1-180,-5 1-90,11 1 90,-12-2-90,-2 0 0,-2 0 90,-2 0-90,-3-1 0,-1 0-180,-4-1 0,-1 0-719,-2 0 899,2 0 0,-8-2 0,2 1 0</inkml:trace>
</inkml:ink>
</file>

<file path=ppt/ink/ink5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5:48.065"/>
    </inkml:context>
    <inkml:brush xml:id="br0">
      <inkml:brushProperty name="width" value="0.08571" units="cm"/>
      <inkml:brushProperty name="height" value="0.08571" units="cm"/>
    </inkml:brush>
  </inkml:definitions>
  <inkml:trace contextRef="#ctx0" brushRef="#br0">0 1 11490,'9'19'990,"-2"0"-720,-6-3-90,0 3 0,-1 1-1,1 3 1,-1 1-90,1 1 0,0 1 180,1 22-270,0-18 0,1 16-180,-2-25-180,1-2-89,-1-2 89,0-1-989,1-3 1349,-2 2 0,1-8 0,-1 0 0</inkml:trace>
</inkml:ink>
</file>

<file path=ppt/ink/ink5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5:48.418"/>
    </inkml:context>
    <inkml:brush xml:id="br0">
      <inkml:brushProperty name="width" value="0.08571" units="cm"/>
      <inkml:brushProperty name="height" value="0.08571" units="cm"/>
    </inkml:brush>
  </inkml:definitions>
  <inkml:trace contextRef="#ctx0" brushRef="#br0">0 33 9062,'0'-17'3688,"2"11"-3508,7 21-90,-1 0 0,6 14-1,-5-13 1,1 0 0,1 0-90,1 0 90,-1-1-90,1-1 90,-1-1 0,0-2 0,-2-1 0,0-2 90,0-1 0,-1-1 0,5-3-180,0-4 0,2-3 90,-2-5-90,-2-2 90,0-3 0,0-2 269,-1-2 1,0-1 90,-1 1 0,-1 0 89,0 1-179,-2 2 0,0 2-90,-1 2 0,0 0-90,0-1-90,0 3-1,2 5-89,-2 9 0,0 5 0,-1 5 0,0-1 90,0 2-90,1 2-179,0 0-91,0 2-180,1 1-90,-1-1-89,1-1-3393,-1 0 3122,-1-2-89,0-1-90,0 0 1079,1 3 0,-3-10 0,0 1 0</inkml:trace>
</inkml:ink>
</file>

<file path=ppt/ink/ink5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5:48.854"/>
    </inkml:context>
    <inkml:brush xml:id="br0">
      <inkml:brushProperty name="width" value="0.08571" units="cm"/>
      <inkml:brushProperty name="height" value="0.08571" units="cm"/>
    </inkml:brush>
  </inkml:definitions>
  <inkml:trace contextRef="#ctx0" brushRef="#br0">0 7 11400,'16'-6'1350,"-3"6"-1080,-8 10-91,-2 3 91,0-2-90,0 2-90,0 1 90,1 0-90,0 2 0,0-1 0,1 1 0,-1-1 0,1 0-90,0 1 90,0-2-90,1 0 90,0-1-90,0-1 90,-1-1-90,1 0 90,0-3 89,0 0 1,3 0-90,1-3 0,4-4-90,-2-2 0,2-5 0,-4-1 0,1-2 0,0-2 0,0-2 0,0-1 90,0 0 0,-1 0-90,-1 1 90,-1 1-90,0 0 90,-2 2-90,0 0 0,1-1 0,-1 1-90,3 1 180,-2 6-360,-1 6-359,1 7 269,-1 3-90,-2-1-180,1 2-179,-2-4-181,1 0-809,-1-1 1799,1 1 0,-2-5 0,0-1 0</inkml:trace>
</inkml:ink>
</file>

<file path=ppt/ink/ink5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5:49.043"/>
    </inkml:context>
    <inkml:brush xml:id="br0">
      <inkml:brushProperty name="width" value="0.08571" units="cm"/>
      <inkml:brushProperty name="height" value="0.08571" units="cm"/>
    </inkml:brush>
  </inkml:definitions>
  <inkml:trace contextRef="#ctx0" brushRef="#br0">24 0 9332,'-17'8'4587,"11"-2"-4317,8-3-270,12-1 90,3-2-360,5 0-450,3 0-179,2 0-1260,1 0-719,3-1 2878,-3 0 0,5-1 0,-3 0 0</inkml:trace>
</inkml:ink>
</file>

<file path=ppt/ink/ink5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5:49.217"/>
    </inkml:context>
    <inkml:brush xml:id="br0">
      <inkml:brushProperty name="width" value="0.08571" units="cm"/>
      <inkml:brushProperty name="height" value="0.08571" units="cm"/>
    </inkml:brush>
  </inkml:definitions>
  <inkml:trace contextRef="#ctx0" brushRef="#br0">0 1 10411,'25'0'630,"-1"1"-900,-8-1-270,2 0-899,1 0 0,1 0 1439,0 0 0,5-1 0,0 0 0</inkml:trace>
</inkml:ink>
</file>

<file path=ppt/ink/ink5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6:01.101"/>
    </inkml:context>
    <inkml:brush xml:id="br0">
      <inkml:brushProperty name="width" value="0.08571" units="cm"/>
      <inkml:brushProperty name="height" value="0.08571" units="cm"/>
    </inkml:brush>
  </inkml:definitions>
  <inkml:trace contextRef="#ctx0" brushRef="#br0">14 1 9062,'2'23'1709,"-1"-2"-6650,0 2 5121,0-5 1589,1 9-1050,1 10-629,-1-12 950,1 12-950,-2-19-1,0 1 1,0-2 3302,0-1-3302,-1-1 270,0 4 0,0-2 90,-2 1-270,-4-7-180,0-9 0,-2-5 90,3-6-90,1-1 89,3-3-89,1-3 0,2-4-89,3-3 89,2-3 0,5-4-90,2 1 90,4-1-90,1 3 90,1 3 0,0 3 0,-1 4-90,-1 3 90,-1 4 0,0 2 0,-2 4-90,-1 3 90,0 3 0,-1 2 0,-1 4 0,0 2 0,-2 3 0,-1 2-90,-1 3 180,-2 1-90,-1 9 360,-3 4-271,-1 0 1,-4-1 0,-2-10 0,-1 0-90,-2-2 90,-2-1 0,-2-2-90,-1 0 90,-1-3-90,0-1 0,-1-2 90,1-2-90,0-3 90,1-1-90,0-2 0,2-2-180,-1-1-539,-3-5 89,4-1 0,-2-4-179,6 0-91,0-1-179,3-2-450,1-1-270,2-2 1799,1-1 0,3-5 0,1-2 0</inkml:trace>
</inkml:ink>
</file>

<file path=ppt/ink/ink5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6:01.685"/>
    </inkml:context>
    <inkml:brush xml:id="br0">
      <inkml:brushProperty name="width" value="0.08571" units="cm"/>
      <inkml:brushProperty name="height" value="0.08571" units="cm"/>
    </inkml:brush>
  </inkml:definitions>
  <inkml:trace contextRef="#ctx0" brushRef="#br0">83 1 7083,'7'19'1799,"-3"-3"-1439,-9-2 0,-2-3-1,-1 1 1,-2 0-4342,1 1 4252,-1-1 640,1 0-640,0-1-180,1 0 90,1 0 0,0-2 989,3 13-809,13-6-270,-1 5 3327,12-11-3417,-4-6 194,0-1-104,0 0-90,1-1 90,0 0-90,-1-2 0,-1 1 0,-2-1-180,0-1-90,0 0-89,-2-1-1,0 0-630,3-3 451,-3 1 89,2-2-90,-5 2 91,1-1 89,-1 0 0,0 0 90,0-1 0,1 1 90,-1-1 90,1 1 0,-1-1 1,1 1 178,-1-1 91,1 0 90,-1 1 180,0 0-270,1-2 1169,0 1-989,-2 6-180,-6 6 90,-4 5-90,-2 2 89,1-3 1,2 1 0,0 1 0,1 1 0,2 5 90,5 8-270,0-5-1,4 2-89,-4-13 90,1-1-90,0-1 90,1-2-90,0-1 90,2-2 0,4-1 0,4-3-90,-1-2 0,1-2 0,-6 0 0,1 0 0,-2 1 0,0-1 0,-1 2 0,3-2 0,-2 2 0,4 0 0,-3 4 90,0 5-180,-2 2-90,-2 6-179,-1 2-91,-3-1-90,0 0-180,-2-4-359,0 0-360,0 1-90,0 0 1529,0-1 0,-1-4 0,0-2 0</inkml:trace>
</inkml:ink>
</file>

<file path=ppt/ink/ink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1:04.710"/>
    </inkml:context>
    <inkml:brush xml:id="br0">
      <inkml:brushProperty name="width" value="0.1" units="cm"/>
      <inkml:brushProperty name="height" value="0.1" units="cm"/>
    </inkml:brush>
  </inkml:definitions>
  <inkml:trace contextRef="#ctx0" brushRef="#br0">118 43 1040 0 0,'-18'-3'2183'0'0,"-7"0"3243"0"0,-49-15-1 0 0,92 10-4540 0 0,20 3-1656 0 0,1 1 0 0 0,57 3 0 0 0,20 8-6160 0 0,-95-5 3620 0 0</inkml:trace>
</inkml:ink>
</file>

<file path=ppt/ink/ink5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6:02.092"/>
    </inkml:context>
    <inkml:brush xml:id="br0">
      <inkml:brushProperty name="width" value="0.08571" units="cm"/>
      <inkml:brushProperty name="height" value="0.08571" units="cm"/>
    </inkml:brush>
  </inkml:definitions>
  <inkml:trace contextRef="#ctx0" brushRef="#br0">0 5 10231,'23'-3'630,"-1"2"-450,-5 2-90,3 0 90,1 2-180,3-1-90,0 0-450,7 1-2788,5 0 3328,-4-2 0,-9 0 0,-14-1 0</inkml:trace>
</inkml:ink>
</file>

<file path=ppt/ink/ink5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6:02.481"/>
    </inkml:context>
    <inkml:brush xml:id="br0">
      <inkml:brushProperty name="width" value="0.08571" units="cm"/>
      <inkml:brushProperty name="height" value="0.08571" units="cm"/>
    </inkml:brush>
  </inkml:definitions>
  <inkml:trace contextRef="#ctx0" brushRef="#br0">319 0 9781,'-5'21'1799,"-1"-2"-1349,-3-5-90,0 0-90,-2 3 0,-2 0 89,-8 11-89,-4 4-180,0-1 90,-5 9-90,11-18 0,-5 7-270,9-10 90,1-2-90,1-2-449,-4 4 269,5-5-180,-2 1-1079,6-8-1439,-2-1 3058,2-5 0,1 1 0,3-4 0</inkml:trace>
</inkml:ink>
</file>

<file path=ppt/ink/ink5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6:02.669"/>
    </inkml:context>
    <inkml:brush xml:id="br0">
      <inkml:brushProperty name="width" value="0.08571" units="cm"/>
      <inkml:brushProperty name="height" value="0.08571" units="cm"/>
    </inkml:brush>
  </inkml:definitions>
  <inkml:trace contextRef="#ctx0" brushRef="#br0">0 46 9602,'4'-22'2698,"3"4"-2338,3 13 0,1 5-91,4 3 1,-2 4 0,2 1 0,4 3-180,0 3 90,2 1-90,0 1 0,0 2 0,0 0-90,-1 1 90,-2-1 0,0 2-90,-2-2-180,-2 0-90,-1-1-180,-1 0-90,-1 0-179,-1-1-91,-2-1-269,0 0-2339,1 2 3418,-2-6 0,-1 0 0,-4-8 0</inkml:trace>
</inkml:ink>
</file>

<file path=ppt/ink/ink5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6:05.832"/>
    </inkml:context>
    <inkml:brush xml:id="br0">
      <inkml:brushProperty name="width" value="0.08571" units="cm"/>
      <inkml:brushProperty name="height" value="0.08571" units="cm"/>
    </inkml:brush>
  </inkml:definitions>
  <inkml:trace contextRef="#ctx0" brushRef="#br0">8 183 7533,'7'-17'3058,"-1"3"-1709,-2 3-809,1 9-90,-3 5-91,-2 11-89,-2 3 0,0 3 0,0 1 90,0-1 0,1-2 629,-1-2 0,1-2-809,-6-9-90,3-6-90,-2-9 0,4-5 0,2 1-90,1-2 90,10-26-90,-2 14 90,7-18-90,-3 22 0,-1 2 1,1 4 89,0 2-90,0 3 90,2 3-90,-1 3 90,0 4-90,1 2 90,0 3-90,0 2 90,0 4 0,-1 3 0,0 1-90,-1 3 180,-1 1-90,-2 2 0,-2 1 0,-1-1 0,-2 0 0,-2 0 0,-1-1 90,-1 1-90,-2-2 0,-1 0 0,-2-1 0,-1-1 90,-2-1-90,-1-1 0,-1-2 0,-2-1 90,-1-2-90,0 0 0,0-2 90,-1-1-180,2-3-180,-2 1 0,1-3-720,-5-1 361,4 0-91,-3-3-89,5 1-181,1-1-989,1 0-539,0-2 2518,1 0 0,4 3 0,1 1 0</inkml:trace>
</inkml:ink>
</file>

<file path=ppt/ink/ink5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6:06.120"/>
    </inkml:context>
    <inkml:brush xml:id="br0">
      <inkml:brushProperty name="width" value="0.08571" units="cm"/>
      <inkml:brushProperty name="height" value="0.08571" units="cm"/>
    </inkml:brush>
  </inkml:definitions>
  <inkml:trace contextRef="#ctx0" brushRef="#br0">0 0 7803,'17'11'629,"-2"1"-359,-11-5 90,0 2 90,-1 6-271,-2 2 181,-1 0-180,-2 0 90,0-6-90,0 0 180,-1 0-180,0 3 89,0-1 361,-1 2-450,4 0-90,4-4 0,3-1 0,5-5 0,-2-2-90,2-1 90,0 1-360,1-2 0,0 1-270,1-1-89,-1-1-271,0-1-539,1 0 90,-1-2 1349,0 0 0,1-3 0,1-1 0</inkml:trace>
</inkml:ink>
</file>

<file path=ppt/ink/ink5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6:06.288"/>
    </inkml:context>
    <inkml:brush xml:id="br0">
      <inkml:brushProperty name="width" value="0.08571" units="cm"/>
      <inkml:brushProperty name="height" value="0.08571" units="cm"/>
    </inkml:brush>
  </inkml:definitions>
  <inkml:trace contextRef="#ctx0" brushRef="#br0">22 0 8072,'5'23'1889,"-2"-4"-1619,-3-4 0,-2-2-90,1 1 0,-1 1-90,0 2 0,0 0 0,-1 0 0,1 0-90,-1 1 0,1 0-180,-1 0-180,1-1-270,0-1-89,0-1-1260,1-1 1979,1 3 0,-1-10 0,2 2 0</inkml:trace>
</inkml:ink>
</file>

<file path=ppt/ink/ink5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6:06.500"/>
    </inkml:context>
    <inkml:brush xml:id="br0">
      <inkml:brushProperty name="width" value="0.08571" units="cm"/>
      <inkml:brushProperty name="height" value="0.08571" units="cm"/>
    </inkml:brush>
  </inkml:definitions>
  <inkml:trace contextRef="#ctx0" brushRef="#br0">106 0 8342,'-19'8'1529,"1"1"-1079,6-2-180,1 1 0,0 0 0,2 2 89,0 0-89,2 2 90,2-1-180,2 2 90,2 0 0,5 9-90,2-3-90,5 6-1,1-8 1,0 0-180,2 0-179,0-2-181,0 0-180,1-2-359,0-1-630,0-2-270,-1-2 1889,-1-3 0,-6-2 0,-2-2 0</inkml:trace>
</inkml:ink>
</file>

<file path=ppt/ink/ink5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6:06.956"/>
    </inkml:context>
    <inkml:brush xml:id="br0">
      <inkml:brushProperty name="width" value="0.08571" units="cm"/>
      <inkml:brushProperty name="height" value="0.08571" units="cm"/>
    </inkml:brush>
  </inkml:definitions>
  <inkml:trace contextRef="#ctx0" brushRef="#br0">246 1 11041,'-16'12'899,"0"0"-719,4-2 0,0 1-90,-1 1 0,0 2 90,-1 0-90,1 1 0,0 1-90,1 0 90,0 1-180,0-1 90,1 1-180,0-1-90,2-1-180,0 0 0,0-2-719,-1 3-1799,2-5 2968,-4 3 0,9-10 0,-2 0 0</inkml:trace>
</inkml:ink>
</file>

<file path=ppt/ink/ink5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6:07.149"/>
    </inkml:context>
    <inkml:brush xml:id="br0">
      <inkml:brushProperty name="width" value="0.08571" units="cm"/>
      <inkml:brushProperty name="height" value="0.08571" units="cm"/>
    </inkml:brush>
  </inkml:definitions>
  <inkml:trace contextRef="#ctx0" brushRef="#br0">0 2 9242,'17'-1'1889,"-4"1"-1530,-4 9-89,-2 1 0,1 1-90,1 0-90,1 3 90,1 1-90,-1 1 0,1 0 0,-1 2 0,0-1 0,0 0-90,-1 0 0,-1-1-180,0 0-90,-1-1-180,-1-1-90,1-1 1,-2-2-1530,0 0 2069,2 0 0,-4-6 0,1 1 0</inkml:trace>
</inkml:ink>
</file>

<file path=ppt/ink/ink5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6:07.649"/>
    </inkml:context>
    <inkml:brush xml:id="br0">
      <inkml:brushProperty name="width" value="0.08571" units="cm"/>
      <inkml:brushProperty name="height" value="0.08571" units="cm"/>
    </inkml:brush>
  </inkml:definitions>
  <inkml:trace contextRef="#ctx0" brushRef="#br0">0 0 10861,'12'25'1349,"-3"-5"-989,-6-5-180,0-4 90,1 1-180,1 0 89,-1 1-89,0-1 0,1-1 0,-1 0 90,0-2 270,1 3 0,0-1-91,2 0-269,3-6-180,2-7 0,0-3-89,-1-5 89,-3 0 0,2-3 0,-1 0 90,1 0-90,-2-1 0,0 1 90,-1 1 0,0 1-90,-1 1 0,-1 1-90,1-1 90,0 2 90,1 6 0,-2 4 0,2 8 90,-2 2-90,0 0 90,1-1 0,0-2 0,2-2-90,1-4 0,2-5 0,0 0 0,0-4 360,1-2-180,-3 1 89,3-2 1,-5 3 90,1 0-90,1-1-180,-1 0-90,2 0 90,-1 4-90,-1 6 90,-1 8-90,-2 0 90,0 4-90,-2-1-180,0 1-180,0 2-90,-1 0-89,1 2-181,-2 0-179,0 1-181,0 0-899,-1 0-719,0-1 2698,-1 1 0,0 0 0,-1 2 0</inkml:trace>
</inkml:ink>
</file>

<file path=ppt/ink/ink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1:05.087"/>
    </inkml:context>
    <inkml:brush xml:id="br0">
      <inkml:brushProperty name="width" value="0.1" units="cm"/>
      <inkml:brushProperty name="height" value="0.1" units="cm"/>
    </inkml:brush>
  </inkml:definitions>
  <inkml:trace contextRef="#ctx0" brushRef="#br0">112 175 476 0 0,'0'0'1384'0'0,"-1"0"-1187"0"0,0 0 0 0 0,1 0 1 0 0,-1 0-1 0 0,0 1 0 0 0,0-1 1 0 0,1 0-1 0 0,-1 1 0 0 0,0-1 1 0 0,0 1-1 0 0,1-1 0 0 0,-1 0 1 0 0,0 1-1 0 0,1-1 0 0 0,-1 1 1 0 0,0 1-1 0 0,-4 16 1650 0 0,-6 34-1 0 0,-1 62 504 0 0,7-48-646 0 0,5-65-1668 0 0,0-1 0 0 0,0 1 0 0 0,0-1-1 0 0,0 1 1 0 0,0-1 0 0 0,0 1 0 0 0,0-1 0 0 0,0 1 0 0 0,0-1 0 0 0,0 1 0 0 0,0-1 0 0 0,0 1-1 0 0,0-1 1 0 0,-1 1 0 0 0,1-1 0 0 0,0 1 0 0 0,0-1 0 0 0,-1 1 0 0 0,1-1 0 0 0,0 0 0 0 0,-1 1-1 0 0,1-1 1 0 0,0 1 0 0 0,-1-1 0 0 0,1 0 0 0 0,-1 1 0 0 0,1-1 0 0 0,0 0 0 0 0,-1 1 0 0 0,1-1-1 0 0,-1 0 1 0 0,1 0 0 0 0,-1 0 0 0 0,1 1 0 0 0,-1-1 0 0 0,1 0 0 0 0,-1 0 0 0 0,1 0 0 0 0,-1 0-1 0 0,1 0 1 0 0,-1 0 0 0 0,1 0 0 0 0,-1 0 0 0 0,0 0 0 0 0,1 0 0 0 0,-1 0 0 0 0,1 0 0 0 0,-1-1-1 0 0,1 1 1 0 0,-1 0 0 0 0,1 0 0 0 0,-1 0 0 0 0,1-1 0 0 0,0 1 0 0 0,-2-1 0 0 0,0-1-16 0 0,-1 1 0 0 0,1-1 0 0 0,-1 0 0 0 0,1-1 0 0 0,0 1 0 0 0,0 0 0 0 0,0 0 0 0 0,0-1 1 0 0,-2-4-1 0 0,-1-3-113 0 0,1-1 0 0 0,1 0 1 0 0,0 1-1 0 0,0-1 1 0 0,1 0-1 0 0,1 0 0 0 0,0-1 1 0 0,0 1-1 0 0,1 0 0 0 0,1 0 1 0 0,-1 0-1 0 0,2 0 1 0 0,0-1-1 0 0,0 2 0 0 0,6-19 1 0 0,-2 11-128 0 0,1 0 0 0 0,1 0 0 0 0,0 1 0 0 0,1-1 0 0 0,1 2-1 0 0,1 0 1 0 0,0 0 0 0 0,18-18 0 0 0,-24 28-109 0 0,0 1-1 0 0,1 0 0 0 0,0 0 1 0 0,0 0-1 0 0,0 1 0 0 0,1 0 1 0 0,0 0-1 0 0,-1 1 0 0 0,1 0 0 0 0,0 0 1 0 0,12-3-1 0 0,-17 6 133 0 0,0-1 0 0 0,0 1 0 0 0,0 0 0 0 0,0 0 0 0 0,0 0 0 0 0,0 0 0 0 0,0 1 0 0 0,0-1 0 0 0,0 0 0 0 0,0 1 0 0 0,0-1 0 0 0,0 1 0 0 0,0 0 1 0 0,-1 0-1 0 0,1 0 0 0 0,0 0 0 0 0,0 0 0 0 0,2 2 0 0 0,7 4-1213 0 0</inkml:trace>
</inkml:ink>
</file>

<file path=ppt/ink/ink5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6:08.478"/>
    </inkml:context>
    <inkml:brush xml:id="br0">
      <inkml:brushProperty name="width" value="0.08571" units="cm"/>
      <inkml:brushProperty name="height" value="0.08571" units="cm"/>
    </inkml:brush>
  </inkml:definitions>
  <inkml:trace contextRef="#ctx0" brushRef="#br0">229 15 6543,'-14'-7'630,"-4"1"-270,7 5-1,-3 3 91,2 3 1034,-17 40 1,-1 10-1216,5-7-681,-6 13 0,4-1 682,18-17-1,3-1 1,3 0-90,4 0 0,2 1-32,3 2-58,3-1 0,1-1 0,3 0 0,2-2 0,2 0-180,1-2-180,2-1-1349,11 11-270,-6-13-450,10 8 2339,-10-18 0,1-4 0,1-1 0</inkml:trace>
</inkml:ink>
</file>

<file path=ppt/ink/ink5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6:09.452"/>
    </inkml:context>
    <inkml:brush xml:id="br0">
      <inkml:brushProperty name="width" value="0.08571" units="cm"/>
      <inkml:brushProperty name="height" value="0.08571" units="cm"/>
    </inkml:brush>
  </inkml:definitions>
  <inkml:trace contextRef="#ctx0" brushRef="#br0">166 0 7982,'-11'16'1350,"-1"-1"-1080,3-4-1,-1 0-89,0 3 90,-1 0-180,1 1 90,-2 1-90,2 0-180,0 1 0,1 0-90,-1 0-270,2-2-179,0 1-451,1-2 271,0-2 809,1 0 0,3-6 0,0-1 0</inkml:trace>
</inkml:ink>
</file>

<file path=ppt/ink/ink5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6:09.624"/>
    </inkml:context>
    <inkml:brush xml:id="br0">
      <inkml:brushProperty name="width" value="0.08571" units="cm"/>
      <inkml:brushProperty name="height" value="0.08571" units="cm"/>
    </inkml:brush>
  </inkml:definitions>
  <inkml:trace contextRef="#ctx0" brushRef="#br0">1 1 9242,'13'9'270,"-1"1"-180,-6 0-1,1 1 1,1 3-90,1 2 90,1 1-90,0 1-629,3 9-1,-4-7-269,2 7 539,-6-11 360,-1 0 0,-2-7 0,-1-3 0</inkml:trace>
</inkml:ink>
</file>

<file path=ppt/ink/ink5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6:09.899"/>
    </inkml:context>
    <inkml:brush xml:id="br0">
      <inkml:brushProperty name="width" value="0.08571" units="cm"/>
      <inkml:brushProperty name="height" value="0.08571" units="cm"/>
    </inkml:brush>
  </inkml:definitions>
  <inkml:trace contextRef="#ctx0" brushRef="#br0">192 1 7892,'-16'20'1350,"2"0"-990,4-5-1,-1 2-89,1 0 0,0 1 0,0 1-3482,-1 1 3302,2 0-364,0 0 454,0 0-91,2 1-89,-1-1-179,1 0-91,-1 0 3077,1-2-3257,1-1 500,-1 0-770,2-3-270,-1-1 990,0-3 0,3-4 0,0-3 0</inkml:trace>
</inkml:ink>
</file>

<file path=ppt/ink/ink5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6:10.176"/>
    </inkml:context>
    <inkml:brush xml:id="br0">
      <inkml:brushProperty name="width" value="0.08571" units="cm"/>
      <inkml:brushProperty name="height" value="0.08571" units="cm"/>
    </inkml:brush>
  </inkml:definitions>
  <inkml:trace contextRef="#ctx0" brushRef="#br0">1 98 7982,'11'20'1080,"-2"-2"-810,-3-8-90,-1 1 179,2 1 1,0 0-3482,0 1 3392,1-2-180,0 0 90,0 0 179,-1-2 451,1-1 0,1 1-361,1-3 3303,2-3-3662,0-8 0,-3-2 0,-1-7-90,-3 1 0,-1-3 0,-1-2 0,0-3 0,-1 0 90,-1-1-180,0 2 90,0-1-180,-1 3-270,0 1-539,-1 2-540,1-2-360,-2 5 180,0 8 1709,0 9 0,1 3 0,2 0 0</inkml:trace>
</inkml:ink>
</file>

<file path=ppt/ink/ink5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6:11.184"/>
    </inkml:context>
    <inkml:brush xml:id="br0">
      <inkml:brushProperty name="width" value="0.08571" units="cm"/>
      <inkml:brushProperty name="height" value="0.08571" units="cm"/>
    </inkml:brush>
  </inkml:definitions>
  <inkml:trace contextRef="#ctx0" brushRef="#br0">0 24 7982,'15'-10'2249,"-1"1"-1799,-1 6 90,-1 2-91,4 2-89,-1 5-90,2 4 0,2 5-90,3 4 90,0 4-180,1 3 89,-2 3-89,-2 4 0,-2 1 0,-4 3-90,-2 1-360,-4 0 1,-4 1-181,-4 0-270,-3 1-179,-6 2-540,-4 0-90,-6 0 1482,-6 0 0,-11 4 1,-4 0-1</inkml:trace>
</inkml:ink>
</file>

<file path=ppt/ink/ink5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6:15.087"/>
    </inkml:context>
    <inkml:brush xml:id="br0">
      <inkml:brushProperty name="width" value="0.08571" units="cm"/>
      <inkml:brushProperty name="height" value="0.08571" units="cm"/>
    </inkml:brush>
  </inkml:definitions>
  <inkml:trace contextRef="#ctx0" brushRef="#br0">178 50 7803,'2'-19'1888,"-1"0"-898,1 7-181,-1 13-539,-3 28-90,0 0 0,-4 21 0,0-16-90,0 4 90,-1 4-221,-1 1 131,1 2 90,-1 1 0,1 1-90,0 1 0,0 1 90,0 1-90,1 0 0,0 0 0,0-1 0,0-1 0,0-1-90,1-2 0,-1 0 90,1-5-90,-1-2 0,1-4 0,0 0 90,0-3-90,0-2-180,0-2 0,0-3-180,1-2-90,-1 4 491,2-9-1121,-1 4 1080,1-8 0,2-7 0,0 0 0</inkml:trace>
</inkml:ink>
</file>

<file path=ppt/ink/ink5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6:15.761"/>
    </inkml:context>
    <inkml:brush xml:id="br0">
      <inkml:brushProperty name="width" value="0.08571" units="cm"/>
      <inkml:brushProperty name="height" value="0.08571" units="cm"/>
    </inkml:brush>
  </inkml:definitions>
  <inkml:trace contextRef="#ctx0" brushRef="#br0">0 75 7533,'11'-19'629,"0"3"-539,0 10 90,4-1-90,3 1 0,4 1 0,5 0 90,4 1-90,7 1 0,4 1-430,5 1 520,4 1-180,2 0 90,9 3-1106,4 0 1106,8 1 0,2 1 0,4 1-90,-21-1 0,1 1 0,33 2-661,-32-2 0,-1-1 661,26 4 90,1 0-90,3-1 0,0 1 90,0-1-527,0 1 437,-27-3 0,0 1 0,33 3-657,-35-4 1,-1 0 566,19 3 90,-2-1 221,-4-1-311,-3 0 90,-7-1 0,-4-1 0,-6 0 0,-3-2-90,-3 0 1081,-4-2-991,-3 1 0,-5-2 90,-3 0 0,-2-1 341,-5 0-341,-1 1 1998,-3-2-1998,5 0-90,-7 0 687,10-1-687,-14 2 99,3 0-99,-3 0-90,0 2 90,3 0-90,-2 4 90,-4 1 0,-2 3 0,-3 0 0,-2 3-90,1 2 180,-1 5 90,-1 2 0,0 4 0,-1 5 0,-2 3-90,0 5 180,-1 4-450,0 3 540,-1 5-180,1 3 90,-1 2 0,1 2-90,0 2 179,2 27-269,0-20-805,1 21 805,-1-28 90,2-2-90,-1 0 0,1-2-437,0-1 347,0-1 90,0-2 0,-1-2-90,0-5 0,-1-2 0,0-4 90,-2-4-90,1-2-41,-1-3 130,-1-1 41,-1 6-490,1-9-180,-2 4 519,2-13-1958,-2 0-44,1-3 2023,-1-2 0,1-6 0,0-1 0</inkml:trace>
</inkml:ink>
</file>

<file path=ppt/ink/ink5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6:16.308"/>
    </inkml:context>
    <inkml:brush xml:id="br0">
      <inkml:brushProperty name="width" value="0.08571" units="cm"/>
      <inkml:brushProperty name="height" value="0.08571" units="cm"/>
    </inkml:brush>
  </inkml:definitions>
  <inkml:trace contextRef="#ctx0" brushRef="#br0">0 1 9602,'22'15'899,"4"-1"-719,0-5 0,9 2 0,6 1-5571,11 1 5661,5 1-90,10 1 536,7 1-626,6 0 0,15 0-119,-45-7 0,1-1 74,5 1 0,1-1 0,0 0 0,1 0-45,1 0 0,0-1 45,1 0 0,1 0 0,1 0 0,0-1-1,0 0 1,1-1 45,0 0 0,1 0-45,-2-1 0,1 0 45,-1 0 0,0 0-45,-1-1 0,-1 0 0,-4 0 0,-1 0 0,-1-1 0,-1 0 45,42 2 0,-31-1 0,-1-1 0,29 1-325,-36-2 1,-3 1 234,9-2 2019,-10 0-1929,-7 0-90,-7-1 883,-7 1-1063,-5-2-270,-3 1-180,-3 0 366,-5-1-3244,-2-2 3788,-8-2 0,0 3 1,-7-1-1</inkml:trace>
</inkml:ink>
</file>

<file path=ppt/ink/ink5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6:25.549"/>
    </inkml:context>
    <inkml:brush xml:id="br0">
      <inkml:brushProperty name="width" value="0.08571" units="cm"/>
      <inkml:brushProperty name="height" value="0.08571" units="cm"/>
    </inkml:brush>
  </inkml:definitions>
  <inkml:trace contextRef="#ctx0" brushRef="#br0">33 19 8072,'-17'-8'1709,"1"-1"-1439,37 8-90,13 0 45,30 4 0,10-1-2840,17 1 2615,-16-1 0,-1 0 180,7-2-693,4 1 603,2-2-90,1 1 90,2-1-90,0 1 90,1-1-90,-1 1 90,-1-1-90,-3 1 0,-5 1 0,-6 0-180,-9 1-489,-8 0 399,-9 1-89,-8-1-1,-6 2-90,-7-1 0,-7 2-1079,-5-1 1963,-3 4 0,-7-4 1,-2 0-1</inkml:trace>
</inkml:ink>
</file>

<file path=ppt/ink/ink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1:06.605"/>
    </inkml:context>
    <inkml:brush xml:id="br0">
      <inkml:brushProperty name="width" value="0.1" units="cm"/>
      <inkml:brushProperty name="height" value="0.1" units="cm"/>
    </inkml:brush>
  </inkml:definitions>
  <inkml:trace contextRef="#ctx0" brushRef="#br0">36 616 252 0 0,'-5'6'476'0'0,"1"-1"38"0"0,-1 0 0 0 0,1 1 0 0 0,0 0 0 0 0,1 0 1 0 0,-1 0-1 0 0,-3 9 0 0 0,7-14-457 0 0,0 0 0 0 0,0 0 0 0 0,0 0-1 0 0,0 0 1 0 0,1 0 0 0 0,-1 0 0 0 0,0 0 0 0 0,0 0-1 0 0,1 0 1 0 0,-1 0 0 0 0,0-1 0 0 0,1 1 0 0 0,-1 0-1 0 0,1 0 1 0 0,-1 0 0 0 0,1-1 0 0 0,-1 1 0 0 0,1 0 0 0 0,0-1-1 0 0,-1 1 1 0 0,1 0 0 0 0,0-1 0 0 0,0 1 0 0 0,-1-1-1 0 0,1 1 1 0 0,0-1 0 0 0,0 1 0 0 0,0-1 0 0 0,0 0 0 0 0,0 1-1 0 0,-1-1 1 0 0,1 0 0 0 0,0 0 0 0 0,0 0 0 0 0,0 1-1 0 0,0-1 1 0 0,0 0 0 0 0,1-1 0 0 0,40 2 343 0 0,-2-5-804 0 0,1-2-1 0 0,-1-2 0 0 0,-1-1 1 0 0,1-3-1 0 0,-2-1 0 0 0,0-1 0 0 0,0-3 1 0 0,-2-1-1 0 0,0-1 0 0 0,60-44 1 0 0,-64 38 821 0 0,-1-1 1 0 0,-1-2-1 0 0,39-45 1 0 0,-2-14 998 0 0,-66 86-1444 0 0,0 1 75 0 0,0-1 0 0 0,0 1-1 0 0,-1-1 1 0 0,1 0 0 0 0,0 1 0 0 0,0-1 0 0 0,0 0 0 0 0,0 1 0 0 0,-1-1 0 0 0,1 0-1 0 0,0 0 1 0 0,-1 0 0 0 0,1 1 0 0 0,-1-1 0 0 0,1 0 0 0 0,-1 0 0 0 0,1-2-1 0 0,5-4 1053 0 0,-6 7-1112 0 0,0 0 1 0 0,0 0-1 0 0,0 0 0 0 0,0 0 1 0 0,0 0-1 0 0,0-1 1 0 0,0 1-1 0 0,1 0 1 0 0,-1 0-1 0 0,0 0 0 0 0,0 0 1 0 0,0 0-1 0 0,0 0 1 0 0,0 1-1 0 0,0-1 0 0 0,0 0 1 0 0,1 0-1 0 0,-1 0 1 0 0,0 0-1 0 0,0 0 1 0 0,0 0-1 0 0,0 0 0 0 0,0 0 1 0 0,0 0-1 0 0,0 0 1 0 0,0 0-1 0 0,1 0 0 0 0,-1 0 1 0 0,0 0-1 0 0,0 0 1 0 0,0 1-1 0 0,0-1 1 0 0,0 0-1 0 0,0 0 0 0 0,0 0 1 0 0,0 0-1 0 0,0 0 1 0 0,0 0-1 0 0,0 0 1 0 0,0 0-1 0 0,0 1 0 0 0,0-1 1 0 0,0 0-1 0 0,0 0 1 0 0,0 0-1 0 0,0 0 0 0 0,0 0 1 0 0,0 0-1 0 0,0 0 1 0 0,0 1-1 0 0,0-1 1 0 0,0 0-1 0 0,0 0 0 0 0,0 0 1 0 0,0 0-1 0 0,0 2-126 0 0,0-2 135 0 0,-1 1 119 0 0,0 0-1 0 0,1-1 1 0 0,-1 1-1 0 0,1 0 0 0 0,-1 0 1 0 0,1 0-1 0 0,-1-1 1 0 0,1 1-1 0 0,-1 0 0 0 0,1 0 1 0 0,0 0-1 0 0,-1 0 1 0 0,1 0-1 0 0,0 0 0 0 0,0 0 1 0 0,0 0-1 0 0,0 0 1 0 0,0 0-1 0 0,0 0 0 0 0,0 1 1 0 0,3 27-12 0 0,-2-20 133 0 0,20 114 1636 0 0,-21-122-1567 0 0,2 6 456 0 0,9-34-882 0 0,-5 10-11 0 0,1 0 1 0 0,1 1 0 0 0,0-1 0 0 0,1 1-1 0 0,20-25 1 0 0,-28 40 132 0 0,0-1 0 0 0,0 1 0 0 0,1 0 0 0 0,-1 0 0 0 0,0 0 0 0 0,1 0 1 0 0,-1 0-1 0 0,1 1 0 0 0,-1-1 0 0 0,1 0 0 0 0,0 1 0 0 0,-1-1 0 0 0,1 1 0 0 0,-1 0 0 0 0,1-1 0 0 0,0 1 0 0 0,-1 0 0 0 0,1 0 0 0 0,0 0 0 0 0,0 0 0 0 0,-1 0 1 0 0,1 1-1 0 0,0-1 0 0 0,-1 0 0 0 0,1 1 0 0 0,-1-1 0 0 0,1 1 0 0 0,0 0 0 0 0,-1-1 0 0 0,1 1 0 0 0,-1 0 0 0 0,0 0 0 0 0,2 1 0 0 0,7 5 181 0 0,0 0 0 0 0,-1 1 0 0 0,14 16 0 0 0,-9-10-51 0 0,-3-4-20 0 0,4 6 67 0 0,1-2-1 0 0,1 0 1 0 0,32 21-1 0 0,-44-32-151 0 0,1 0 0 0 0,0 0-1 0 0,0-1 1 0 0,0 0 0 0 0,0 0-1 0 0,0 0 1 0 0,1 0 0 0 0,-1-1-1 0 0,1 0 1 0 0,-1-1 0 0 0,1 0-1 0 0,-1 0 1 0 0,1 0 0 0 0,-1 0-1 0 0,0-1 1 0 0,1 0 0 0 0,7-3-1 0 0,-2 0-73 0 0,1-1-1 0 0,-1 0 1 0 0,0-1-1 0 0,-1-1 1 0 0,1 0-1 0 0,19-16 1 0 0,57-61-594 0 0,-55 50 424 0 0,-16 22-46 0 0,-16 11 258 0 0,-1 1 0 0 0,1 0 1 0 0,0-1-1 0 0,-1 1 1 0 0,1 0-1 0 0,0 0 1 0 0,0 0-1 0 0,-1-1 1 0 0,1 1-1 0 0,0 0 1 0 0,0 0-1 0 0,-1 0 1 0 0,1 0-1 0 0,0 0 0 0 0,0 0 1 0 0,-1 0-1 0 0,1 1 1 0 0,0-1-1 0 0,0 0 1 0 0,-1 0-1 0 0,1 1 1 0 0,0-1-1 0 0,-1 0 1 0 0,1 1-1 0 0,0-1 1 0 0,-1 0-1 0 0,2 2 0 0 0,8 8-33 0 0,-7-5 73 0 0,1 0 1 0 0,0-1-1 0 0,1 1 0 0 0,-1-1 1 0 0,1 0-1 0 0,0 0 0 0 0,0 0 1 0 0,0-1-1 0 0,0 0 0 0 0,1 0 1 0 0,-1 0-1 0 0,1-1 0 0 0,0 0 1 0 0,0 0-1 0 0,0 0 0 0 0,11 1 0 0 0,-11-2-111 0 0,-1-1 0 0 0,1 0-1 0 0,0-1 1 0 0,0 1-1 0 0,0-1 1 0 0,0 0-1 0 0,-1 0 1 0 0,1-1-1 0 0,0 0 1 0 0,-1 0-1 0 0,1 0 1 0 0,-1 0-1 0 0,0-1 1 0 0,0 0 0 0 0,0 0-1 0 0,0-1 1 0 0,0 1-1 0 0,-1-1 1 0 0,0 0-1 0 0,0 0 1 0 0,6-8-1 0 0,-9 12 63 0 0,-1-1 0 0 0,1 1-1 0 0,-1-1 1 0 0,1 1-1 0 0,-1-1 1 0 0,0 0 0 0 0,1 1-1 0 0,-1-1 1 0 0,0 0-1 0 0,1 1 1 0 0,-1-1 0 0 0,0 0-1 0 0,0 1 1 0 0,0-1-1 0 0,0 0 1 0 0,0 0 0 0 0,0 1-1 0 0,0-1 1 0 0,0 0-1 0 0,0 1 1 0 0,0-1 0 0 0,0 0-1 0 0,0 0 1 0 0,0 1-1 0 0,0-1 1 0 0,-1 0 0 0 0,1 1-1 0 0,0-1 1 0 0,-1 0 0 0 0,1 1-1 0 0,0-1 1 0 0,-1 1-1 0 0,1-1 1 0 0,-1 0 0 0 0,1 1-1 0 0,-1-1 1 0 0,1 1-1 0 0,-1-1 1 0 0,1 1 0 0 0,-1 0-1 0 0,0-1 1 0 0,1 1-1 0 0,-1-1 1 0 0,1 1 0 0 0,-1 0-1 0 0,0 0 1 0 0,1-1-1 0 0,-1 1 1 0 0,0 0 0 0 0,0 0-1 0 0,1 0 1 0 0,-1 0-1 0 0,0 0 1 0 0,1 0 0 0 0,-2 0-1 0 0,-31-1-174 0 0,29 2 171 0 0,0-1 0 0 0,-1 2 0 0 0,1-1 1 0 0,0 0-1 0 0,0 1 0 0 0,0 0 1 0 0,0 0-1 0 0,0 0 0 0 0,1 0 0 0 0,-1 1 1 0 0,0 0-1 0 0,1-1 0 0 0,0 1 1 0 0,0 0-1 0 0,-4 5 0 0 0,7-8 25 0 0,-1 1-1 0 0,1-1 0 0 0,0 1 1 0 0,-1 0-1 0 0,1-1 1 0 0,0 1-1 0 0,-1-1 1 0 0,1 1-1 0 0,0 0 0 0 0,0-1 1 0 0,-1 1-1 0 0,1 0 1 0 0,0-1-1 0 0,0 1 1 0 0,0 0-1 0 0,0-1 0 0 0,0 1 1 0 0,0 0-1 0 0,0-1 1 0 0,0 1-1 0 0,0 0 1 0 0,0-1-1 0 0,1 1 0 0 0,-1 0 1 0 0,0-1-1 0 0,0 1 1 0 0,1 0-1 0 0,-1-1 1 0 0,0 1-1 0 0,1-1 0 0 0,-1 1 1 0 0,0 0-1 0 0,1-1 1 0 0,-1 1-1 0 0,1-1 0 0 0,-1 1 1 0 0,1-1-1 0 0,-1 0 1 0 0,1 1-1 0 0,0-1 1 0 0,-1 1-1 0 0,1-1 0 0 0,-1 0 1 0 0,1 0-1 0 0,0 1 1 0 0,-1-1-1 0 0,1 0 1 0 0,0 0-1 0 0,-1 0 0 0 0,1 0 1 0 0,0 0-1 0 0,-1 0 1 0 0,1 0-1 0 0,0 0 1 0 0,-1 0-1 0 0,1 0 0 0 0,0 0 1 0 0,0 0-1 0 0,12-2-57 0 0,0-1 0 0 0,-1 0 0 0 0,13-5 0 0 0,10-2-208 0 0,-33 10 166 0 0,0 0 94 0 0,0 0 0 0 0,0 0-1 0 0,0 0 1 0 0,0 1-1 0 0,0-1 1 0 0,0 1 0 0 0,0-1-1 0 0,0 1 1 0 0,0 0 0 0 0,0 0-1 0 0,0 0 1 0 0,-1 0 0 0 0,1 0-1 0 0,0 0 1 0 0,-1 0 0 0 0,3 3-1 0 0,28 29 639 0 0,-13-12-285 0 0,-15-18-278 0 0,-1 0 0 0 0,0-1-1 0 0,1 1 1 0 0,-1-1 0 0 0,1 0 0 0 0,0 0 0 0 0,0 0-1 0 0,0-1 1 0 0,0 1 0 0 0,0-1 0 0 0,0 0 0 0 0,0 0-1 0 0,0 0 1 0 0,1-1 0 0 0,6 1 0 0 0,-5-1-39 0 0,1-1 0 0 0,0 0 1 0 0,-1-1-1 0 0,1 1 0 0 0,-1-1 1 0 0,1 0-1 0 0,-1-1 0 0 0,0 1 1 0 0,6-5-1 0 0,9-6-67 0 0,-1-1 0 0 0,0-1 0 0 0,-1-1 0 0 0,19-21 0 0 0,-36 35 33 0 0,0 0 5 0 0,19-16-121 0 0,-20 18 113 0 0,-1 0 0 0 0,1-1 0 0 0,-1 1 0 0 0,1 0 0 0 0,-1 0 0 0 0,1-1 1 0 0,0 1-1 0 0,-1 0 0 0 0,1 0 0 0 0,-1 0 0 0 0,1 0 0 0 0,0 0 0 0 0,-1 0 1 0 0,1 0-1 0 0,0 0 0 0 0,-1 0 0 0 0,1 0 0 0 0,-1 0 0 0 0,1 0 0 0 0,0 0 0 0 0,-1 0 1 0 0,1 0-1 0 0,-1 1 0 0 0,1-1 0 0 0,0 0 0 0 0,-1 1 0 0 0,1-1 0 0 0,-1 0 1 0 0,1 1-1 0 0,-1-1 0 0 0,1 0 0 0 0,-1 1 0 0 0,1-1 0 0 0,-1 1 0 0 0,1 0 7 0 0,-1 0-1 0 0,0 0 0 0 0,0 0 0 0 0,1-1 1 0 0,-1 1-1 0 0,0 0 0 0 0,0 0 0 0 0,0 0 1 0 0,0 0-1 0 0,0-1 0 0 0,0 1 0 0 0,-1 0 1 0 0,1 0-1 0 0,0 0 0 0 0,0 0 0 0 0,0-1 1 0 0,-1 1-1 0 0,0 1 0 0 0,1 0 23 0 0,-7 24 253 0 0,0 1 1 0 0,-2-2 0 0 0,-1 1-1 0 0,-19 36 1 0 0,18-39 9 0 0,-2 0 1 0 0,-23 32 0 0 0,32-49-180 0 0,0 0 0 0 0,-1-1 1 0 0,0 1-1 0 0,0-1 0 0 0,-1 0 1 0 0,1 0-1 0 0,-1-1 0 0 0,0 0 1 0 0,0 0-1 0 0,0 0 0 0 0,-1-1 1 0 0,1 0-1 0 0,-12 4 0 0 0,16-7-111 0 0,1 1-1 0 0,-1-1 1 0 0,0 1-1 0 0,1-1 0 0 0,-1 0 1 0 0,0 0-1 0 0,1 0 1 0 0,-1 0-1 0 0,0 0 0 0 0,1 0 1 0 0,-1-1-1 0 0,1 1 0 0 0,-1-1 1 0 0,0 1-1 0 0,1-1 1 0 0,-1 1-1 0 0,1-1 0 0 0,-1 0 1 0 0,1 1-1 0 0,0-1 1 0 0,-1 0-1 0 0,1 0 0 0 0,0 0 1 0 0,0 0-1 0 0,-1-1 0 0 0,1 1 1 0 0,0 0-1 0 0,0 0 1 0 0,0-1-1 0 0,0 1 0 0 0,1-1 1 0 0,-1 1-1 0 0,0 0 1 0 0,0-1-1 0 0,1 0 0 0 0,-1 1 1 0 0,1-1-1 0 0,0 1 1 0 0,-1-1-1 0 0,1 0 0 0 0,0-2 1 0 0,-1-5-127 0 0,1 1-1 0 0,0-1 1 0 0,0 1 0 0 0,1-1 0 0 0,0 1 0 0 0,4-14 0 0 0,90-241-1470 0 0,-59 172 1375 0 0,-24 54-99 0 0,-12 35 272 0 0,0 2-53 0 0,0 0 100 0 0,-1 0 1 0 0,1 0 0 0 0,0 0-1 0 0,-1 0 1 0 0,1 0 0 0 0,0 0-1 0 0,-1 0 1 0 0,1 1 0 0 0,0-1-1 0 0,-1 0 1 0 0,1 0-1 0 0,0 0 1 0 0,-1 0 0 0 0,1 1-1 0 0,0-1 1 0 0,0 0 0 0 0,-1 0-1 0 0,1 0 1 0 0,0 1 0 0 0,0-1-1 0 0,0 0 1 0 0,-1 1 0 0 0,1-1-1 0 0,0 0 1 0 0,0 0-1 0 0,0 1 1 0 0,0-1 0 0 0,-1 0-1 0 0,1 1 1 0 0,0-1 0 0 0,0 0-1 0 0,0 1 1 0 0,0-1 0 0 0,0 0-1 0 0,0 1 1 0 0,9 11 14 0 0,18 6-2 0 0,-11-13-73 0 0,0 0 0 0 0,0-1 0 0 0,1-1 0 0 0,0 0 0 0 0,0-2 0 0 0,-1 0 0 0 0,1 0 0 0 0,0-2 0 0 0,29-4 0 0 0,-34 4-30 0 0,1-2 0 0 0,-1 0 1 0 0,0 0-1 0 0,0-1 0 0 0,0-1 1 0 0,0 0-1 0 0,-1 0 0 0 0,0-1 1 0 0,0-1-1 0 0,0 0 0 0 0,-1 0 1 0 0,0-1-1 0 0,13-13 0 0 0,-21 18 82 0 0,0 1-1 0 0,0-1 1 0 0,0 1-1 0 0,0-1 0 0 0,0 0 1 0 0,-1 0-1 0 0,1 0 1 0 0,-1 0-1 0 0,0 0 1 0 0,1-4-1 0 0,-2 6 24 0 0,0 0-1 0 0,1-1 1 0 0,-1 1-1 0 0,0 0 1 0 0,-1 0-1 0 0,1 0 1 0 0,0-1 0 0 0,0 1-1 0 0,0 0 1 0 0,-1 0-1 0 0,1 0 1 0 0,0 0 0 0 0,-1-1-1 0 0,1 1 1 0 0,-1 0-1 0 0,0 0 1 0 0,1 0-1 0 0,-1 0 1 0 0,0 0 0 0 0,1 0-1 0 0,-1 0 1 0 0,0 1-1 0 0,0-1 1 0 0,0 0-1 0 0,0 0 1 0 0,0 1 0 0 0,0-1-1 0 0,0 0 1 0 0,-1 0-1 0 0,-2 0 22 0 0,1 0 0 0 0,0 0 0 0 0,-1 0 0 0 0,1 0 0 0 0,-1 1 0 0 0,1 0 0 0 0,-1-1 0 0 0,1 1-1 0 0,-1 1 1 0 0,1-1 0 0 0,-1 0 0 0 0,1 1 0 0 0,-1 0 0 0 0,1-1 0 0 0,-1 1 0 0 0,1 1 0 0 0,0-1 0 0 0,0 0 0 0 0,-1 1-1 0 0,1 0 1 0 0,0 0 0 0 0,-3 2 0 0 0,2-1-12 0 0,-1 0 0 0 0,1 1 0 0 0,-1-1 1 0 0,1 1-1 0 0,0 0 0 0 0,1 0 0 0 0,-1 0 0 0 0,1 0 0 0 0,0 1 0 0 0,0 0 0 0 0,0-1 0 0 0,0 1 0 0 0,-2 8 0 0 0,4-7-13 0 0,0-1 0 0 0,1 0 0 0 0,0 0-1 0 0,0 0 1 0 0,0 0 0 0 0,1 1 0 0 0,-1-1-1 0 0,1 0 1 0 0,0 0 0 0 0,1 0 0 0 0,-1 0-1 0 0,1 0 1 0 0,0 0 0 0 0,1-1-1 0 0,-1 1 1 0 0,1-1 0 0 0,-1 1 0 0 0,2-1-1 0 0,-1 0 1 0 0,0 0 0 0 0,8 6 0 0 0,6 7-1612 0 0,1-1 0 0 0,1-2 0 0 0,26 17 0 0 0,-44-31 1516 0 0,16 12-3097 0 0</inkml:trace>
</inkml:ink>
</file>

<file path=ppt/ink/ink5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6:25.846"/>
    </inkml:context>
    <inkml:brush xml:id="br0">
      <inkml:brushProperty name="width" value="0.08571" units="cm"/>
      <inkml:brushProperty name="height" value="0.08571" units="cm"/>
    </inkml:brush>
  </inkml:definitions>
  <inkml:trace contextRef="#ctx0" brushRef="#br0">91 257 7892,'-21'1'2339,"2"-1"-1799,2 0 269,3 1-269,0-2-360,9-2 0,5-2 0,16-3 0,11-1 0,9-3-1,15-2-558,9-1 559,14-1-954,13-1 954,10 0-967,-44 9 1,1-1 876,2 1 0,1 0-45,1 0 0,1 1 0,1-1 0,0 1 45,2 1 0,-1-1-90,0 1 0,-1 0 45,1 1 0,-2 0 0,-4 0 0,-1 1-45,-1 0 0,-1 0 90,43-1-90,-5 1 0,-4 0 90,-5 2-1181,11 1 911,-27 1 317,5 0-317,-34 0-90,-5-1 652,-7 1-832,-2-1-180,-3 1-179,-3 0 617,-1-2-2147,-3 1 2339,-2-2 0,-4 2 0,-2-1 0</inkml:trace>
</inkml:ink>
</file>

<file path=ppt/ink/ink5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6:29.154"/>
    </inkml:context>
    <inkml:brush xml:id="br0">
      <inkml:brushProperty name="width" value="0.08571" units="cm"/>
      <inkml:brushProperty name="height" value="0.08571" units="cm"/>
    </inkml:brush>
  </inkml:definitions>
  <inkml:trace contextRef="#ctx0" brushRef="#br0">20 33 8612,'-15'-13'2429,"11"2"-2339,7 6 90,11 2-91,3 3 1,4 0-90,4 0 90,6 1 0,17 1-90,-8-1 90,25 2 0,-29-2-90,8 1 90,-20-1-90,-2-1 0,-3 1 0,-3-1 0,-1 1-450,-2-1-989,2-1-1259,-2 1 2698,-11 1 0,1-1 0,-10 2 0</inkml:trace>
</inkml:ink>
</file>

<file path=ppt/ink/ink5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6:29.350"/>
    </inkml:context>
    <inkml:brush xml:id="br0">
      <inkml:brushProperty name="width" value="0.08571" units="cm"/>
      <inkml:brushProperty name="height" value="0.08571" units="cm"/>
    </inkml:brush>
  </inkml:definitions>
  <inkml:trace contextRef="#ctx0" brushRef="#br0">1 33 9781,'18'-1'720,"2"-1"-540,-1-1 0,4-2-90,3 1 0,3 0 90,2 0-180,1 1 90,-2 1-180,0 0-90,-2 1 0,-2 0-180,-1 1-90,-3 0-179,-1 1-541,-3 0 271,0 0 899,-3 0 0,-7-1 0,-2 1 0</inkml:trace>
</inkml:ink>
</file>

<file path=ppt/ink/ink5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6:30.048"/>
    </inkml:context>
    <inkml:brush xml:id="br0">
      <inkml:brushProperty name="width" value="0.08571" units="cm"/>
      <inkml:brushProperty name="height" value="0.08571" units="cm"/>
    </inkml:brush>
  </inkml:definitions>
  <inkml:trace contextRef="#ctx0" brushRef="#br0">257 0 6813,'-20'23'990,"-1"1"-811,1-1 181,-2 3-180,-1 5-4251,-1 4 4430,-2 4-89,4 1 684,0 4-864,4-3 90,3 2-2330,4 0 2240,3-1-90,4-1 26,3-3-26,4 2 90,4 0-90,4 1 90,3-2 0,4-2-90,2-1 0,3-2 0,2-2-270,1-2-180,1-3-1169,12 7 990,-11-11 629,6 2 0,-11-12 0,-1-2 0</inkml:trace>
</inkml:ink>
</file>

<file path=ppt/ink/ink5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6:30.381"/>
    </inkml:context>
    <inkml:brush xml:id="br0">
      <inkml:brushProperty name="width" value="0.08571" units="cm"/>
      <inkml:brushProperty name="height" value="0.08571" units="cm"/>
    </inkml:brush>
  </inkml:definitions>
  <inkml:trace contextRef="#ctx0" brushRef="#br0">1 66 6453,'21'-14'900,"2"1"-720,1 1 0,1 2-1,0 2 1,1 3 0,-1 2-90,0 2-90,-1 4 90,0 2-90,0 4 90,0 4-90,-3 4 90,-1 3 0,-2 5 90,-3 4-90,-1 5 90,-2 3-90,-3 2 90,-2 3-90,-3-1 0,-1 0-90,-2-2 89,-1 1-89,-1-1 90,-2 2 0,-2-1-180,-1 2 180,-1-3-90,-3-1 90,-2-2-270,-10 13-89,1-14-940,-8 10 669,3-17-359,-1-2 124,-2-1 775,-2-2 0,1-2 0,-2-1 0</inkml:trace>
</inkml:ink>
</file>

<file path=ppt/ink/ink5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6:31.956"/>
    </inkml:context>
    <inkml:brush xml:id="br0">
      <inkml:brushProperty name="width" value="0.08571" units="cm"/>
      <inkml:brushProperty name="height" value="0.08571" units="cm"/>
    </inkml:brush>
  </inkml:definitions>
  <inkml:trace contextRef="#ctx0" brushRef="#br0">3316 208 6273,'-18'-16'540,"0"0"-2566,-2 3 2116,-6-1 562,-7-1-562,-34-7-180,9 6-193,-27-4 193,16 7 180,-5 2-90,-7 1-45,18 5 0,-1-1-679,13 2 1,0 1 678,-17-2 0,0 2 45,-30-2 0,0 2 0,-2 0 0,50 2 0,-1 0 0,1 0 0,0 1-90,-49-1 90,2 1 0,3 0 0,2 1 0,30 0 0,-1-1 0,-31 1 0,33 0 0,2-1-14,-20 1 14,2 1 0,3 0 0,3 0-625,6 0 715,3 1-90,6 0 0,2 0-90,1 1 180,3 0 134,2 1-224,-14 2 0,18-2 0,-9 2 0,23-2 1379,3-1-1379,3 1 1002,2-1-1002,1 1 891,2-1-891,1 2 337,2-1-427,1 1 90,-5 4 0,6-1 0,-4 4 0,7-2 90,1 2 90,1 2-90,0 4 90,1 4 0,1 4-3392,2 5 3481,0 6-47,-1 31 228,0 27-910,1 0 550,3-42 0,0-2 90,-1 24-91,1-1 91,1 0 0,1-1 90,0-2-180,3-1 180,-1-6-90,1-2 0,1-6 0,1-1 0,1-1-91,1-3 91,1-3-90,1-2 90,2-4-90,1-2 0,2-4 0,1-3 90,3-3-90,0-5 0,3-4-90,2-5 90,4-1-90,4-3 90,26-1-90,-10-6 2477,20-3-2477,-11-5 0,5-4 0,6-3 0,2-2 0,3-1 0,2-2 0,2 0 0,1 0-835,3 0 745,0 0 90,1 1 0,-1 0 0,1 1 0,0 2 0,0 0 0,1 1 0,1 1-90,0 1 90,0 1 0,0 2 0,-2 0-90,0 1 90,-2 1-45,-23 1 0,1 1-408,29 0 453,-31 1 0,0 0 0,20 1-276,-2 1 276,-3 1 0,-2 0 0,-7 1-89,-3-1 89,-7 1 0,-3-1 89,-2 1-89,-5-1 0,-2 0 0,-5-2 0,-1 1 384,-2 0-384,-2-1 0,-2-2 0,1 1 0,-1-1 0,3-1 0,1-1 0,3 0-1738,0-2 1738,4 0 0,0-1 940,3-2-940,0 0 0,0 0 259,0-1-259,0-1 0,-2 0 167,0-1 13,27-11 3152,-27 8-3242,29-16-90,-42 13 0,5-6 90,-13 4-90,-3-3 183,-2-2-183,-3-3-3392,-2-2 3482,-2-4-180,-3-3 180,-2-7-180,-1-3 90,-6-36-733,0 14 643,-5-24 90,1 23 0,-2 2-2026,-2 0 2026,-2 0 0,-1 2 1838,-3 2-1838,-3 1 0,-2 3-1963,-2 2 1963,-3 2 0,-17-16-94,9 19 4,-12-12-539,3 16 269,10 13-180,-8-2 216,16 17-396,0 4-539,5 5 180,-1 2 1079,2 4 0,-3 3 0,-1 1 0</inkml:trace>
</inkml:ink>
</file>

<file path=ppt/ink/ink5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6:34.807"/>
    </inkml:context>
    <inkml:brush xml:id="br0">
      <inkml:brushProperty name="width" value="0.08571" units="cm"/>
      <inkml:brushProperty name="height" value="0.08571" units="cm"/>
    </inkml:brush>
  </inkml:definitions>
  <inkml:trace contextRef="#ctx0" brushRef="#br0">25 6 9602,'-19'-2'2158,"14"-1"-2068,21 3-90,5-1 0,13 2 0,-5-1 0,3 1 0,3 0 0,5 1 0,2-1 0,4 0 0,0 1 0,1-1 0,-2 0 90,-3 1-180,-3-1 90,-4 1 0,-3-1-90,-4 0-90,-4 0 90,-2 0-179,-3-1-1,-2 1-180,-2-1-539,-1 1-720,3-1 1709,-2 0 0,-4 1 0,-4-1 0</inkml:trace>
</inkml:ink>
</file>

<file path=ppt/ink/ink5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6:35.158"/>
    </inkml:context>
    <inkml:brush xml:id="br0">
      <inkml:brushProperty name="width" value="0.08571" units="cm"/>
      <inkml:brushProperty name="height" value="0.08571" units="cm"/>
    </inkml:brush>
  </inkml:definitions>
  <inkml:trace contextRef="#ctx0" brushRef="#br0">82 44 6903,'-17'-1'3058,"2"1"-1619,2-1-449,-3 0-270,3 0-541,6-3-89,7 0 0,12-1 0,8 1 0,7 0-90,10-1 0,6 1-286,5 0 286,3 1 0,1 1 0,-1 2 0,-1 0 0,-3 1 0,-4 1 0,-4 0 90,-4 0-90,-4 1-180,-2 0-90,-5 0-179,-2-1-91,-2 0 286,-4 0-4153,2 3 4407,-7 2 0,-1-3 0,-7 0 0</inkml:trace>
</inkml:ink>
</file>

<file path=ppt/ink/ink5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6:37.558"/>
    </inkml:context>
    <inkml:brush xml:id="br0">
      <inkml:brushProperty name="width" value="0.08571" units="cm"/>
      <inkml:brushProperty name="height" value="0.08571" units="cm"/>
    </inkml:brush>
  </inkml:definitions>
  <inkml:trace contextRef="#ctx0" brushRef="#br0">36 1 7892,'-22'2'1620,"10"3"-1620,10-1 0,10 4-180,6-3-180,4 0-180,3 1-359,4 1 719,0-1 180,1 1 0,1 0 0,-1 0 0</inkml:trace>
</inkml:ink>
</file>

<file path=ppt/ink/ink5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6:37.740"/>
    </inkml:context>
    <inkml:brush xml:id="br0">
      <inkml:brushProperty name="width" value="0.08571" units="cm"/>
      <inkml:brushProperty name="height" value="0.08571" units="cm"/>
    </inkml:brush>
  </inkml:definitions>
  <inkml:trace contextRef="#ctx0" brushRef="#br0">0 20 9961,'23'-9'360,"1"1"-270,3 6-90,3 2-180,2 1-270,2 1-89,0 2 539,26 5 0,-22-2 0,20 5 0</inkml:trace>
</inkml:ink>
</file>

<file path=ppt/ink/ink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1:07.275"/>
    </inkml:context>
    <inkml:brush xml:id="br0">
      <inkml:brushProperty name="width" value="0.1" units="cm"/>
      <inkml:brushProperty name="height" value="0.1" units="cm"/>
    </inkml:brush>
  </inkml:definitions>
  <inkml:trace contextRef="#ctx0" brushRef="#br0">94 13 1444 0 0,'4'-12'5259'0'0,"-12"26"-3183"0"0,-10 27-630 0 0,3 6-61 0 0,-13 89-1 0 0,3-13 473 0 0,22-114-1146 0 0,3-6-293 0 0,0-4-309 0 0,12-20-699 0 0,-2 10 266 0 0,1 1 0 0 0,0 0 0 0 0,1 0 0 0 0,0 1 0 0 0,26-15 0 0 0,-13 10-64 0 0,2 2-1 0 0,31-11 1 0 0,-47 19 273 0 0,1 1 0 0 0,-1 0 1 0 0,1 1-1 0 0,0 0 0 0 0,0 1 0 0 0,19 0 1 0 0,-26 1 100 0 0,-1 0 0 0 0,0 1 0 0 0,0-1 0 0 0,0 1 1 0 0,0 0-1 0 0,0 0 0 0 0,1 0 0 0 0,-2 1 0 0 0,1-1 0 0 0,0 1 0 0 0,0 0 1 0 0,0 0-1 0 0,-1 0 0 0 0,1 1 0 0 0,-1-1 0 0 0,0 1 0 0 0,0 0 1 0 0,0 0-1 0 0,0 0 0 0 0,0 0 0 0 0,-1 0 0 0 0,4 5 0 0 0,-5-5 16 0 0,0-1 0 0 0,0 0 0 0 0,0 1 0 0 0,0-1 0 0 0,0 1 0 0 0,-1-1 0 0 0,1 1 0 0 0,-1-1 0 0 0,0 1 0 0 0,1 0 0 0 0,-1-1 0 0 0,0 1 0 0 0,-1-1 0 0 0,1 1 0 0 0,0 0 0 0 0,-1-1 0 0 0,-1 5 0 0 0,1-4 15 0 0,-1 1-1 0 0,0 0 1 0 0,0-1 0 0 0,0 1 0 0 0,-1-1-1 0 0,1 0 1 0 0,-1 0 0 0 0,0 0-1 0 0,0 0 1 0 0,-4 3 0 0 0,-3 1 36 0 0,0 0 0 0 0,0-1 1 0 0,-1 0-1 0 0,0-1 0 0 0,0 0 0 0 0,-18 5 0 0 0,4-4-264 0 0,0 0-1 0 0,-1-2 0 0 0,0-1 0 0 0,1 0 0 0 0,-37-3 1 0 0,48-3-1443 0 0,13-3-412 0 0,17-6-828 0 0,-2 7 1322 0 0</inkml:trace>
</inkml:ink>
</file>

<file path=ppt/ink/ink5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6:45.474"/>
    </inkml:context>
    <inkml:brush xml:id="br0">
      <inkml:brushProperty name="width" value="0.08571" units="cm"/>
      <inkml:brushProperty name="height" value="0.08571" units="cm"/>
    </inkml:brush>
  </inkml:definitions>
  <inkml:trace contextRef="#ctx0" brushRef="#br0">998 248 7353,'-5'-20'2249,"1"0"-1800,1 7 1,1 1-180,0-1-180,0 2-90,-1-1 0,-3 3 0,-5 0 0,-1 3 0,-4 0 0,1 2 0,-1 0 0,-3 0 0,-1 0 0,-3 0 0,0-1 0,-1 1 90,-1 0-90,0-1 0,-1 2 0,-1-1 0,0 1 0,-1-1 0,0 2 0,-1-1 0,2 1 0,0 0 0,0 1 0,0 1 90,0 1-90,1 0 0,1 1 0,0 1 0,2 1 0,0 1 0,2 2 0,1 1 0,1 1 0,1 1 0,-6 8 0,6-3 0,-4 7 0,8-6 0,1 1 0,1 2 0,-1 1 90,2-1-90,0 2 0,1 0 0,0 1 0,1 0 90,-4 9-90,4-7 0,-2 7 90,4-10-1,0 1-89,2-1 180,0 1-90,0 0 0,1 1 0,1-1 0,0 0 0,2 0 0,0-1 90,2 13-90,0-8 0,3 11-90,0-12 90,1 0-90,1 2 0,1-1 0,1 1 90,2 0-90,-1-1 90,2 0-90,1-1 90,0-1 0,8 10 0,-5-8-90,6 6 0,-5-10 90,-1-2-90,2 0 0,-1-1 89,1 0-89,1-1-3302,0-1 3302,1-1 0,1 0 90,1-1-90,1-1 0,14 5 90,-8-4-90,11 3 0,-9-6 0,2 0 0,3-1 0,0 1 0,1-2 0,1 1 90,1-2-90,1 1-381,0-2 471,-1 0-1,17 1 1,-12-2-90,11 1 90,-16-4 0,1 1-90,-2-2 0,2 1 90,-2-2-90,0 0 90,1 0-2232,2 0 2142,-2-1 2232,19-1-2232,-16-1 182,13-1-182,-14-1 90,-1-1-90,3-1 0,0-2 0,-2 0 0,1-2 0,0 0 0,-1-2 0,0 0 0,-1-1 0,-1 0 90,12-5 0,-2-2-1,-1 1-89,-8 0 3383,-14 5-3473,0-1 270,0-1 0,8-8 0,-9 4-90,7-5 0,-12 5 0,-2 0 299,0-2-389,0-1 90,-2-1-90,0-2 0,-1-1 90,-1-1-90,0-1-3392,-2 0 3482,0 0-1201,-1 1 1111,-2 2-31,-2 1 31,-1 1-1800,-2 2 1710,-1-1 1980,-2 3-1890,-1-1 1105,-3 0-1105,-1 1 37,-2-1-37,-2 0 3392,-3 0-3392,-1 0 0,-3-1 0,-3 1 0,-2-1 0,-2 0 0,-17-10-284,8 7 284,-12-7-90,10 10 90,0-1 0,-2 1 0,0-1 0,-2 0 0,-3-2 0,-2 1 0,0-1 0,-16-8 0,14 9 0,-12-8 0,18 11 0,0 0 0,0 1 0,1 1 0,1 0 0,1 2 0,1 0-3298,1 3 3298,2 0 0,1 2 0,-11-2 0,10 5 0,-10-3-90,14 6 90,-1 0-90,2 2 90,-3 0-90,3 1 90,-2 1 0,0 2-90,1-1 280,-3 2-190,-13 4-90,9-1 90,-10 4 0,15-2 0,0 2 0,1 0 0,0 2 3392,1 0-3482,-1 1 90,-1 2 0,1 0 0,-2 2 0,2 0 0,-11 9 0,10-7 0,-8 8 0,0 1-90,10-6 90,-9 6 0,15-8 0,-1-2 0,2 2-90,-1-2 90,2 1-90,0-1 90,1 0-89,2 0 89,0-1 0,3 0 0,-1 0-90,1-1 90,2 1-90,-1 0 90,2 0 0,0-1-90,1 1 0,1-1 90,1 0-180,-3 6 90,4-6 0,-2 5 0,3-7 0,1 0 0,0 0-90,0 0-180,1 0-89,1-1-1,0 2-180,0-2-269,2 2-720,-1 0-270,3-1 1889,-1 2 0,1-8 0,0 0 0</inkml:trace>
</inkml:ink>
</file>

<file path=ppt/ink/ink5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6:48.870"/>
    </inkml:context>
    <inkml:brush xml:id="br0">
      <inkml:brushProperty name="width" value="0.08571" units="cm"/>
      <inkml:brushProperty name="height" value="0.08571" units="cm"/>
    </inkml:brush>
  </inkml:definitions>
  <inkml:trace contextRef="#ctx0" brushRef="#br0">0 1 8612,'18'5'900,"0"0"-1600,37 4 790,-18-3 0,34 4 0,-4-2 0,-13-2-90,23 3 90,-16-3-90,6 0 0,3 0 0,1 0-90,2 0 0,1 0-180,0 0-179,-1 1-1,-3 0-1361,-2 1 1181,-8-2 630,-3 1 0,-8-1 0,-1 0 0</inkml:trace>
</inkml:ink>
</file>

<file path=ppt/ink/ink5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6:49.149"/>
    </inkml:context>
    <inkml:brush xml:id="br0">
      <inkml:brushProperty name="width" value="0.08571" units="cm"/>
      <inkml:brushProperty name="height" value="0.08571" units="cm"/>
    </inkml:brush>
  </inkml:definitions>
  <inkml:trace contextRef="#ctx0" brushRef="#br0">40 68 7713,'-20'4'2428,"1"2"-2158,20-1-90,3-2 0,17 0-90,7-4 90,10-2-90,9 0-2080,12-3 2080,6-1 0,8-2 0,5 0-90,3-1 90,3 0-90,0 1-1401,-1 2 1221,-2 1-769,-5 1 499,-10 3-1984,-5 1 1805,-10 1-1,-7 1 624,-5 1-624,-7 1 630,-4-1 0,-3 0 0,-1 1 0</inkml:trace>
</inkml:ink>
</file>

<file path=ppt/ink/ink5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7:09.090"/>
    </inkml:context>
    <inkml:brush xml:id="br0">
      <inkml:brushProperty name="width" value="0.08571" units="cm"/>
      <inkml:brushProperty name="height" value="0.08571" units="cm"/>
    </inkml:brush>
  </inkml:definitions>
  <inkml:trace contextRef="#ctx0" brushRef="#br0">85 93 10771,'-6'17'989,"1"1"-719,2 2 0,1 3 90,-3 16 0,-1 21-181,-1 15-89,1-11-90,1-12 90,4-26-90,-2-1 0,2-2 90,-1-2-90,1-2 0,-1-2 90,1-2-90,-1-1 90,1-2-90,0 3 90,-1-4-180,-3-5 90,2-6-90,-2-10 0,2-4 90,-1-6-90,3-4 90,-1-7 0,2-4 0,2-6-199,1-3 199,3-4 0,1 1 90,3 1-90,0 2 0,2 4 90,1 2-180,-1 5 180,7-6-90,-5 14 0,4-4 0,-6 14 0,8-1-269,-5 6-1,6 0-180,-8 6 0,1 3-179,-2 1 198,0 1-469,-1 3-449,-2 0 90,0 3 1259,-2 0 0,-3-2 0,-2-1 0</inkml:trace>
</inkml:ink>
</file>

<file path=ppt/ink/ink5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7:09.254"/>
    </inkml:context>
    <inkml:brush xml:id="br0">
      <inkml:brushProperty name="width" value="0.08571" units="cm"/>
      <inkml:brushProperty name="height" value="0.08571" units="cm"/>
    </inkml:brush>
  </inkml:definitions>
  <inkml:trace contextRef="#ctx0" brushRef="#br0">22 1 8882,'-13'13'2249,"5"0"-2069,12-7-180,3 0 89,7-3-178,0-2-1,2 1-90,2-1-180,2-1-180,2 1-89,2-1-541,1 0 181,1 1 989,-1-1 0,2 0 0,1 1 0</inkml:trace>
</inkml:ink>
</file>

<file path=ppt/ink/ink5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7:10.091"/>
    </inkml:context>
    <inkml:brush xml:id="br0">
      <inkml:brushProperty name="width" value="0.08571" units="cm"/>
      <inkml:brushProperty name="height" value="0.08571" units="cm"/>
    </inkml:brush>
  </inkml:definitions>
  <inkml:trace contextRef="#ctx0" brushRef="#br0">107 0 11670,'-15'12'990,"0"2"-810,6 5 0,-1 3-90,0 2 89,-1 1 1,2 2-3482,1-2 3392,1 0 37,0 21-37,4-17-90,0 17 0,6-23 90,1 1-90,2-2 0,2 1 90,3 0-90,2-1 0,2-1 0,2-2 89,2-2-89,1-1 0,0-4 90,0-2 3276,1-4-3366,10-3-90,-6-5 0,9-5 0,-10-3 0,2-7 90,0-2-90,0-4 90,-4 1 80,-1 0-80,-6 3 90,-1 0-90,-3 4 90,1-3-90,-5 4 0,-6 1 0,-6 10 0,-4 4 0,-1 5 0,3 1 0,1 1 90,0 1-90,1 0 0,2 2 180,3 11-90,1-7 90,4 7-90,2-9 90,1-2 89,2 0-89,0-2 180,1-2-90,0 0 180,0-2-270,4-2-90,-4-3-1,4-3 91,-5-2-180,-1-3 180,2-9-180,-4 2 0,0-6 0,-4 4 0,-3 0 0,0 0-90,-2-1 0,-1 1-179,-1 0-1,0 1-90,-2 1-180,1 0 0,-1 2-179,-1 1-91,2 1-89,-1 1-1080,1 2-1169,-1-2 3148,1 1 0,1 2 0,2 3 0</inkml:trace>
</inkml:ink>
</file>

<file path=ppt/ink/ink5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7:10.492"/>
    </inkml:context>
    <inkml:brush xml:id="br0">
      <inkml:brushProperty name="width" value="0.08571" units="cm"/>
      <inkml:brushProperty name="height" value="0.08571" units="cm"/>
    </inkml:brush>
  </inkml:definitions>
  <inkml:trace contextRef="#ctx0" brushRef="#br0">37 261 7173,'3'22'1709,"-1"-1"-1259,-2-6-91,0 1 1,-1 1 0,1 1-90,-2-1 0,1 0 0,0 0-1,0 0 1,0-1-90,0-1 0,0 0-90,0-2 180,1 0 90,-1 4 359,-1-2 630,1 2-1259,-5-12 0,2-6-90,-4-12 90,5-5-180,0-4 90,1-5-90,1-5 90,3-6-90,2-6 90,8-22 0,1 16-3392,6-14 3392,-2 25-153,7-8 153,-5 16 0,5-3-90,-8 19 90,-2 4 0,0 4 0,-1 3 3360,-1 3-3360,-1 3 6,0 3-6,-2 2-90,0 2 90,-3 3-90,-1 0 0,-2 1 0,-2 1 0,-3 0 0,0 2 0,-5 1-90,0 1 0,-4-1 0,-1 0 0,-1 0-89,-2-2-451,-8 5 270,5-5-179,-4 2-91,7-8-809,1-1-90,2-2 1619,2-1 0,4-3 0,2-1 0</inkml:trace>
</inkml:ink>
</file>

<file path=ppt/ink/ink5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7:11.277"/>
    </inkml:context>
    <inkml:brush xml:id="br0">
      <inkml:brushProperty name="width" value="0.08571" units="cm"/>
      <inkml:brushProperty name="height" value="0.08571" units="cm"/>
    </inkml:brush>
  </inkml:definitions>
  <inkml:trace contextRef="#ctx0" brushRef="#br0">213 1 7083,'-16'5'720,"3"2"-541,8 4 1,2 6-1803,4 0 1803,1 2 290,2-1-290,0 2 90,4 11 0,-2-6-90,3 8 89,-5-10 1244,1 1-1153,-2-2-90,1 0 180,-2-2-90,0-1-1,-2-2 271,-2 7-360,-1-8 0,-3 5-90,-1-9-90,-2-1 89,-2-1-89,-1-2 0,-1-1 0,-1-1 0,-1-2-90,0 0 0,0-2-90,1 0-270,1-2-2158,-5 1-810,0-2 3328,-5 2 0,11-1 0,3 1 0</inkml:trace>
</inkml:ink>
</file>

<file path=ppt/ink/ink5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7:11.524"/>
    </inkml:context>
    <inkml:brush xml:id="br0">
      <inkml:brushProperty name="width" value="0.08571" units="cm"/>
      <inkml:brushProperty name="height" value="0.08571" units="cm"/>
    </inkml:brush>
  </inkml:definitions>
  <inkml:trace contextRef="#ctx0" brushRef="#br0">47 30 8792,'-17'3'4138,"1"-1"-2879,3 0-719,16-2-361,22 0 1,15-2 90,24 0-1201,-1 0 1021,10-1-180,5 0-1413,5 1 1053,1-1-449,2 1-360,-2-1-810,-3 0-900,-4 1 2796,-10-1 0,-7 0 0,-7 0 0</inkml:trace>
</inkml:ink>
</file>

<file path=ppt/ink/ink5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7:11.714"/>
    </inkml:context>
    <inkml:brush xml:id="br0">
      <inkml:brushProperty name="width" value="0.08571" units="cm"/>
      <inkml:brushProperty name="height" value="0.08571" units="cm"/>
    </inkml:brush>
  </inkml:definitions>
  <inkml:trace contextRef="#ctx0" brushRef="#br0">125 0 8432,'-35'11'4228,"4"-2"-3419,8-1 1,4-2 629,6 0-1079,10 1 90,7-2 89,13 0-89,11-3-90,11-1 0,11-1-903,13-1 813,6 0-180,8-1-1118,1-1 758,-1 0-90,-2-1-270,-4 1-806,-8 0 447,-3-1-181,-8 1-604,-2 0-565,-4 0-1079,-4 0 3418,-7 2 0,-2-1 0,-2 1 0</inkml:trace>
</inkml:ink>
</file>

<file path=ppt/ink/ink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1:07.955"/>
    </inkml:context>
    <inkml:brush xml:id="br0">
      <inkml:brushProperty name="width" value="0.1" units="cm"/>
      <inkml:brushProperty name="height" value="0.1" units="cm"/>
    </inkml:brush>
  </inkml:definitions>
  <inkml:trace contextRef="#ctx0" brushRef="#br0">251 40 1160 0 0,'1'-1'233'0'0,"0"0"-1"0"0,0 0 1 0 0,0-1 0 0 0,0 1-1 0 0,0 0 1 0 0,0-1-1 0 0,-1 1 1 0 0,1-1 0 0 0,0 1-1 0 0,-1 0 1 0 0,1-1-1 0 0,-1 1 1 0 0,0-1 0 0 0,1 0-1 0 0,-1-2 1 0 0,0 3-134 0 0,-1 0-1 0 0,1 0 1 0 0,-1 0 0 0 0,0 1 0 0 0,1-1-1 0 0,-1 0 1 0 0,0 0 0 0 0,1 1 0 0 0,-1-1-1 0 0,0 0 1 0 0,0 1 0 0 0,1-1 0 0 0,-1 0 0 0 0,0 1-1 0 0,0-1 1 0 0,0 1 0 0 0,0 0 0 0 0,0-1-1 0 0,0 1 1 0 0,0 0 0 0 0,0 0 0 0 0,0-1 0 0 0,0 1-1 0 0,0 0 1 0 0,0 0 0 0 0,0 0 0 0 0,-2 0-1 0 0,-8 0 208 0 0,-1 0 0 0 0,1 0 0 0 0,-1 1 0 0 0,1 1 0 0 0,-1 0-1 0 0,1 0 1 0 0,0 1 0 0 0,0 1 0 0 0,-16 7 0 0 0,18-8-247 0 0,1 1-1 0 0,-1 1 1 0 0,1 0-1 0 0,0 0 1 0 0,1 0 0 0 0,0 1-1 0 0,-1 0 1 0 0,2 0-1 0 0,-1 1 1 0 0,1 0 0 0 0,0 0-1 0 0,-6 11 1 0 0,11-17-57 0 0,0-1 0 0 0,1 1 0 0 0,-1 0-1 0 0,1 0 1 0 0,-1 0 0 0 0,1 0 0 0 0,-1 0 0 0 0,1 0 0 0 0,0 0 0 0 0,0 0 0 0 0,-1 0 0 0 0,1 0 0 0 0,0 0 0 0 0,0 0 0 0 0,0 0 0 0 0,0 0 0 0 0,0 0 0 0 0,0 0 0 0 0,0 0 0 0 0,0 0-1 0 0,1 0 1 0 0,-1 0 0 0 0,0 0 0 0 0,0 0 0 0 0,1 0 0 0 0,-1 0 0 0 0,1 0 0 0 0,-1 0 0 0 0,1 0 0 0 0,-1 0 0 0 0,1-1 0 0 0,0 1 0 0 0,-1 0 0 0 0,1 0 0 0 0,0-1 0 0 0,0 1 0 0 0,0 0-1 0 0,-1-1 1 0 0,1 1 0 0 0,0-1 0 0 0,0 1 0 0 0,0-1 0 0 0,2 1 0 0 0,0 0-60 0 0,1 1 0 0 0,0-1 1 0 0,0-1-1 0 0,0 1 0 0 0,0 0 0 0 0,0-1 0 0 0,0 0 1 0 0,0 0-1 0 0,4-1 0 0 0,8-3-111 0 0,-1 0 0 0 0,1-1 0 0 0,-1-1 0 0 0,1-1 0 0 0,-2 0 0 0 0,1-1 0 0 0,14-10 0 0 0,20-10 1064 0 0,-47 27-838 0 0,0 1-8 0 0,-1 0 0 0 0,1 1 1 0 0,0-1-1 0 0,-1 0 0 0 0,1 1 0 0 0,0 0 0 0 0,-1-1 1 0 0,1 1-1 0 0,-1 0 0 0 0,1 0 0 0 0,-1 0 0 0 0,1 0 1 0 0,-1 0-1 0 0,0 0 0 0 0,1 0 0 0 0,-1 1 0 0 0,2 1 1 0 0,19 30 539 0 0,-7-10-373 0 0,-9-16-337 0 0,0-1-1 0 0,0 0 1 0 0,1 0-1 0 0,0 0 1 0 0,0 0-1 0 0,0-1 1 0 0,1-1-1 0 0,0 1 1 0 0,0-1-1 0 0,0 0 1 0 0,0-1-1 0 0,1 0 1 0 0,-1 0-1 0 0,1-1 1 0 0,-1 0-1 0 0,1-1 1 0 0,0 0-1 0 0,0 0 1 0 0,0-1-1 0 0,0 0 1 0 0,0 0-1 0 0,11-3 1 0 0,-4 1-372 0 0,0-2 1 0 0,0 0-1 0 0,0-1 1 0 0,-1 0-1 0 0,1-1 1 0 0,-2-1-1 0 0,1 0 1 0 0,-1-1-1 0 0,0-1 1 0 0,0 0-1 0 0,17-16 1 0 0,-26 20 575 0 0,0 1 0 0 0,-1-1 0 0 0,1 1 0 0 0,-1-1 0 0 0,0-1 0 0 0,-1 1 0 0 0,0 0 0 0 0,1-1 0 0 0,-2 0 0 0 0,1 0 0 0 0,3-9 0 0 0,-6 14-16 0 0,0 0-1 0 0,0 1 1 0 0,0-1 0 0 0,0 0 0 0 0,0 0-1 0 0,-1 1 1 0 0,1-1 0 0 0,0 0 0 0 0,0 0-1 0 0,0 1 1 0 0,-1-1 0 0 0,1 0 0 0 0,0 1-1 0 0,-1-1 1 0 0,1 0 0 0 0,-1 1 0 0 0,1-1-1 0 0,-1 0 1 0 0,1 1 0 0 0,-1-1 0 0 0,1 1-1 0 0,-1-1 1 0 0,1 1 0 0 0,-1-1 0 0 0,0 1-1 0 0,1 0 1 0 0,-1-1 0 0 0,0 1 0 0 0,1 0-1 0 0,-1-1 1 0 0,0 1 0 0 0,0 0 0 0 0,-1 0-1 0 0,-23-4 1163 0 0,19 4-1123 0 0,1 1-1 0 0,-1 0 1 0 0,0 0 0 0 0,0 0-1 0 0,1 0 1 0 0,-1 1 0 0 0,1 0-1 0 0,-1 0 1 0 0,1 1 0 0 0,0 0-1 0 0,0 0 1 0 0,0 0-1 0 0,0 0 1 0 0,0 1 0 0 0,1-1-1 0 0,-1 1 1 0 0,1 0 0 0 0,0 1-1 0 0,-6 8 1 0 0,9-12-92 0 0,1 0-1 0 0,-1 0 1 0 0,1 0-1 0 0,-1 0 1 0 0,1 0 0 0 0,0 0-1 0 0,0 0 1 0 0,-1 0-1 0 0,1 0 1 0 0,0 0 0 0 0,0 0-1 0 0,0 0 1 0 0,0 0 0 0 0,0 0-1 0 0,0 0 1 0 0,0 0-1 0 0,0 0 1 0 0,1 0 0 0 0,-1 0-1 0 0,0 0 1 0 0,1 0 0 0 0,-1-1-1 0 0,0 1 1 0 0,2 1-1 0 0,-1 0 0 0 0,0-1-1 0 0,1 0 1 0 0,-1 1-1 0 0,0-1 1 0 0,1 0-1 0 0,-1 0 1 0 0,1 0-1 0 0,0 0 1 0 0,-1 0-1 0 0,1 0 1 0 0,0-1-1 0 0,2 1 1 0 0,2 1-69 0 0,0 0 1 0 0,0-1 0 0 0,0 0 0 0 0,0-1-1 0 0,0 0 1 0 0,12 0 0 0 0,-6-2-178 0 0,-1-1 0 0 0,1 0 0 0 0,-1-1 0 0 0,0 0 0 0 0,0 0 0 0 0,0-2 0 0 0,20-11 0 0 0,-5-2 1473 0 0,39-35 1 0 0,-65 53-1222 0 0,1 1 1 0 0,-1-1-1 0 0,1 1 0 0 0,-1 0 0 0 0,1-1 0 0 0,-1 1 0 0 0,1 0 0 0 0,-1-1 0 0 0,1 1 1 0 0,-1 0-1 0 0,1 0 0 0 0,-1 0 0 0 0,1-1 0 0 0,-1 1 0 0 0,1 0 0 0 0,-1 0 0 0 0,1 0 0 0 0,0 0 1 0 0,-1 0-1 0 0,1 0 0 0 0,-1 0 0 0 0,1 0 0 0 0,0 0 0 0 0,-1 1 0 0 0,1-1 0 0 0,-1 0 1 0 0,1 0-1 0 0,-1 0 0 0 0,1 1 0 0 0,-1-1 0 0 0,1 0 0 0 0,-1 0 0 0 0,1 1 0 0 0,-1-1 1 0 0,1 0-1 0 0,-1 1 0 0 0,0-1 0 0 0,1 1 0 0 0,-1-1 0 0 0,1 1 0 0 0,-1-1 0 0 0,0 1 0 0 0,0-1 1 0 0,1 1-1 0 0,-1-1 0 0 0,1 2 0 0 0,10 28 421 0 0,-10-25-309 0 0,26 116 127 0 0,-14-48-3178 0 0,-12-71 2580 0 0,0 0 0 0 0,-1 0-1 0 0,1 0 1 0 0,0-1 0 0 0,0 1-1 0 0,0 0 1 0 0,0 0 0 0 0,0 0 0 0 0,1-1-1 0 0,-1 1 1 0 0,0-1 0 0 0,1 1-1 0 0,-1-1 1 0 0,4 3 0 0 0</inkml:trace>
</inkml:ink>
</file>

<file path=ppt/ink/ink5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7:32.227"/>
    </inkml:context>
    <inkml:brush xml:id="br0">
      <inkml:brushProperty name="width" value="0.08571" units="cm"/>
      <inkml:brushProperty name="height" value="0.08571" units="cm"/>
    </inkml:brush>
  </inkml:definitions>
  <inkml:trace contextRef="#ctx0" brushRef="#br0">26 0 9691,'-19'5'3419,"13"0"-3240,28-2-89,6 0 90,22-2-90,-5-1 0,13 0-1214,9 0 1124,11-1 135,10 1 0,6-1-135,-31 1 0,2 0-987,2 0 0,7 0 1,-6 0 986,-2 1 0,-4 0 45,3 1 0,0-1-632,1 1 1,-1 0 586,1 1 0,-1-1-45,1 1 0,-2 1 45,1-1 0,-1 1-45,-2 1 0,2-1 0,18 3 0,-1 1 0,-23-3 0,0 0 45,13 2 0,-3 0 0,14 1-90,-5 0 90,-6-1 0,-10-1 0,-7-2 0,-13 0 90,-5-2-90,-7 0 0,-6-1 0,-3-1 791,-4-1-791,-3 0 2546,0-3-3086,-5-3 1381,-2-2-1650,-6-3-990,-4 2-360,-2-1 2159,0 4 0,2 2 0,1 2 0</inkml:trace>
</inkml:ink>
</file>

<file path=ppt/ink/ink5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7:33.241"/>
    </inkml:context>
    <inkml:brush xml:id="br0">
      <inkml:brushProperty name="width" value="0.08571" units="cm"/>
      <inkml:brushProperty name="height" value="0.08571" units="cm"/>
    </inkml:brush>
  </inkml:definitions>
  <inkml:trace contextRef="#ctx0" brushRef="#br0">1 20 9152,'1'23'2069,"-1"0"-1530,0-6-89,1 3-90,-1 0 0,1 3-1,0-1-89,1 2 270,1 10-360,-1-9 90,1 7-90,-2-12 89,2-2-89,-2 0 0,1-1-90,-1-1 90,0-2 360,0-2 359,0 3 361,0-1-1350,-9-16 90,5-2-90,-6-21 90,7 2-90,2-7 90,1-2-90,3-6 90,3-1 0,2-1-90,1 3 90,1 3 0,1 4-90,1 6 90,-1 2-90,1 5 90,0 4 0,1 4 0,-1 4 0,1 2 0,6 7 0,-4 2-90,5 5 180,-6 3-90,-2 1 0,-2 3 0,-2 1 0,-2 2 90,-3 2-90,-2-1 0,-2 1 90,-8 13-90,0-8 0,-7 9 0,-6-3 0,3-9 0,-6 6 90,7-14-90,1-2-90,1-3-90,0-2-180,2-3-719,1-1-450,-3-5-540,3-4-3238,1-5 5307,7-9 0,6-1 0,5-4 0</inkml:trace>
</inkml:ink>
</file>

<file path=ppt/ink/ink5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7:33.908"/>
    </inkml:context>
    <inkml:brush xml:id="br0">
      <inkml:brushProperty name="width" value="0.08571" units="cm"/>
      <inkml:brushProperty name="height" value="0.08571" units="cm"/>
    </inkml:brush>
  </inkml:definitions>
  <inkml:trace contextRef="#ctx0" brushRef="#br0">1 93 7713,'24'-2'1439,"-2"-1"-989,-6 2-91,-1-2 91,0 1-90,-1-1 0,0-1-91,-1-1 91,-1 0-180,0 0 180,-2-1-270,0 0-3302,-2-1 3482,-1 0-180,-1-2-90,-5-1 90,-6 2-180,-4 2 180,-5 7-90,1 2 90,-2 4-1,-1 1 91,0 3 90,-6 8-180,6-3 3392,-2 7-3392,8-6 180,2 7 90,6 3-270,2-1 0,6-1 0,9-1-1,6-1-89,3 0 90,2-6-90,-5-8 90,2-3-90,0-2 90,2-3-90,0-3 0,1-2-180,1-4 180,0-3-90,0-4 1,7-9 178,-7 3 181,2-4 0,-11 8 0,-3 2-90,-3 2 0,-1 2-90,-1 1 90,-2 2-90,2 0 90,-1 6-91,-1 5 1,-3 5 0,-2 12 0,-2-4 0,0 6-90,-1-3 0,0 1 90,1 1-90,-1 0 0,0 0 90,0 1 0,0 7-90,-1-7 90,0 5 0,-1-11 270,1-1 90,0-2 269,0-1 1,-2 0-720,-3-7 0,2-10-90,-1-7 0,5-11 0,1 0 0,3-6 90,2-4-90,3-3-3392,1-1 3482,2 1-1165,0 3 1165,2 3-90,0 5 90,0 2 0,0 3-90,1 4 2950,-1 3-2950,-1 3 90,0 3 1517,-1 3-1517,3 4 0,-4 2 0,3 2 0,-7 3 0,-1 1 0,-2 2 0,-1 2 0,-3 0 0,-2 3 0,-3-1 0,-2 2 90,-2 1-90,-2 0 0,-3 0 0,0-1 0,-2 0-90,2-2 0,-1-2-180,1-1 1,1-2-271,1-1 0,1-2-899,0-2-270,0-1-450,1-4-2248,1-3 4407,5-9 0,3 7 0,2-3 0</inkml:trace>
</inkml:ink>
</file>

<file path=ppt/ink/ink5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7:34.082"/>
    </inkml:context>
    <inkml:brush xml:id="br0">
      <inkml:brushProperty name="width" value="0.08571" units="cm"/>
      <inkml:brushProperty name="height" value="0.08571" units="cm"/>
    </inkml:brush>
  </inkml:definitions>
  <inkml:trace contextRef="#ctx0" brushRef="#br0">0 1 9242,'25'0'3058,"-5"1"-2338,-6 7-181,-5 2 1,0 4 0,-1 2-91,1 3-89,-2 2 0,1 3-90,0 1-90,0 2 0,0 1 0,-2-1-1,1 2-89,-3-3 0,1 2-449,-1-2-91,-1 0-180,-1 0-359,-2-3-271,1 0-1078,-2-3-1260,0-1 3598,0-1 0,0-9 0,1-2 0</inkml:trace>
</inkml:ink>
</file>

<file path=ppt/ink/ink5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7:34.510"/>
    </inkml:context>
    <inkml:brush xml:id="br0">
      <inkml:brushProperty name="width" value="0.08571" units="cm"/>
      <inkml:brushProperty name="height" value="0.08571" units="cm"/>
    </inkml:brush>
  </inkml:definitions>
  <inkml:trace contextRef="#ctx0" brushRef="#br0">3 174 13379,'-2'-17'1979,"2"3"-1709,9 6-90,1 3 90,5-2-90,3 1-616,15-3 526,-5 2-152,26-6 152,-20 5-90,23-7 90,6-3 0,-19 5 0,7-4 0,-36 12 510,-1 1-510,-2 0 257,1 1-257,-1 2 0,1 4-90,-3 6 90,-4 2 0,-2 2 0,-1-2 90,-2 1-90,0 1 0,0 1 0,0-1-90,-1 0 90,0 1-1,0-1 1,0-1 90,-1 4 540,0-2 629,0 2-1169,7-9-180,1-7 90,3-6-90,0-2 90,-2 2-90,-1 0 0,1 1 0,1 0 90,-1 0-270,4 1-90,0 1-180,4 1-359,-1 4 359,-1 3-180,-3 0-179,-1 1-91,-3 0-89,-1 0-180,0 1-91,0 0-1078,0-1-1260,-1 2 3598,1-2 0,-3-2 0,0-1 0</inkml:trace>
</inkml:ink>
</file>

<file path=ppt/ink/ink5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7:35.491"/>
    </inkml:context>
    <inkml:brush xml:id="br0">
      <inkml:brushProperty name="width" value="0.08571" units="cm"/>
      <inkml:brushProperty name="height" value="0.08571" units="cm"/>
    </inkml:brush>
  </inkml:definitions>
  <inkml:trace contextRef="#ctx0" brushRef="#br0">42 0 12120,'-13'18'1079,"2"0"-899,6-2 90,1 0 90,0 2 0,2 0-90,0 1 359,2 8-89,3 1-180,4 6-180,0-9-90,2-3 0,-1-9 89,0-2-179,2-1 90,0-3 0,0-2 0,1-1-90,-1-3 0,1-2 0,1-3 0,4-7-90,-2 0 90,2-5 0,-6 2-90,-1 0 90,-1 1 0,-1 1-90,-1 1 1,0 1-1,0-1 0,-1 2 180,-2 8-90,0 5 90,0 10-90,1-2 0,1 1 0,1-3 89,1 1-89,0 0 0,2 0 0,1 0 90,0-1 0,0 0 90,1-1 0,0-1 900,7 1-721,-3-4-179,6-3-90,-9-5 90,-1-4-180,-4-2 90,-1-1-90,-1-2 90,0-9-90,-2 5-90,-1-6-90,-3 7-90,-2-1-90,0 0-269,-1 0-181,-2 0-89,1 1-271,-2 1-269,1 1-989,0 0-1260,1 1 3688,1 1 0,2 5 0,1 2 0</inkml:trace>
</inkml:ink>
</file>

<file path=ppt/ink/ink5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7:35.632"/>
    </inkml:context>
    <inkml:brush xml:id="br0">
      <inkml:brushProperty name="width" value="0.08571" units="cm"/>
      <inkml:brushProperty name="height" value="0.08571" units="cm"/>
    </inkml:brush>
  </inkml:definitions>
  <inkml:trace contextRef="#ctx0" brushRef="#br0">1 1 8702,'13'21'2878,"-2"-1"-2248,-4-5-180,-1-1 0,-1 1-181,0 1 1,-1-1-90,-1 0 0,0-1-180,-1 0-180,-1-2-719,0 4-720,0-1 1619,0 2 0,-1-8 0,0-3 0</inkml:trace>
</inkml:ink>
</file>

<file path=ppt/ink/ink5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7:35.767"/>
    </inkml:context>
    <inkml:brush xml:id="br0">
      <inkml:brushProperty name="width" value="0.08571" units="cm"/>
      <inkml:brushProperty name="height" value="0.08571" units="cm"/>
    </inkml:brush>
  </inkml:definitions>
  <inkml:trace contextRef="#ctx0" brushRef="#br0">23 114 8972,'-4'-20'2159,"1"3"-1440,1 6-719,-1-2-719,-1 0-3059,0-2 3778,3 2 0,-1 6 0,4 2 0</inkml:trace>
</inkml:ink>
</file>

<file path=ppt/ink/ink5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7:36.227"/>
    </inkml:context>
    <inkml:brush xml:id="br0">
      <inkml:brushProperty name="width" value="0.08571" units="cm"/>
      <inkml:brushProperty name="height" value="0.08571" units="cm"/>
    </inkml:brush>
  </inkml:definitions>
  <inkml:trace contextRef="#ctx0" brushRef="#br0">15 0 10951,'13'12'2428,"-5"0"-2248,-9-2 90,0 3-90,1 3 90,2-2-90,2 3-90,0-4 269,4 8-179,-2-4-90,2 5 90,-3-6 0,0-1-90,-1 0 90,0 5-90,-3-5 0,-1 2 0,-2-5-90,-2-2 90,-1 0-90,-1-1 90,-1-2 0,-1 0 0,-4-1-90,1-3 0,-3-2-90,4-6 0,4-3 0,8-5 0,2 2 0,5-3 90,2 3-90,1-1 0,2-1 90,3-1 0,2 0-90,1-2 90,1 1 0,1-2 0,0 1 0,0 0 90,-2 1 270,6-3-180,-9 5-90,3-2 0,-10 7 89,1 0-89,-11 5-90,-7 7 0,-4 2 0,-3 7 0,7-4 90,0 1-90,0 1 90,3 1-90,0 0 90,3 6-90,1-4 90,2 5-180,2-6-180,2 1-179,2 0-91,1-1-180,2-1-179,0-2-180,1 0-1260,0-1-1079,1-2 3418,0-1 0,-5-3 0,-2-1 0</inkml:trace>
</inkml:ink>
</file>

<file path=ppt/ink/ink5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7:37.510"/>
    </inkml:context>
    <inkml:brush xml:id="br0">
      <inkml:brushProperty name="width" value="0.08571" units="cm"/>
      <inkml:brushProperty name="height" value="0.08571" units="cm"/>
    </inkml:brush>
  </inkml:definitions>
  <inkml:trace contextRef="#ctx0" brushRef="#br0">162 1 10321,'-22'17'1889,"1"-1"-1439,4-1-90,0 2 89,-1 2-179,1 0 180,2 0-180,3 0 90,2 0-1,3-1 1,3 0-90,3 0 0,3 0-90,4 1 0,3 0-90,3-1 89,4-1-89,2 0 0,4-2 0,1-3 0,0-2 0,1-3-90,-1-2 90,1-3-90,0-3 90,0-3-90,1-2 360,9-10-180,-8 2 90,6-7-180,-13 6 89,-4 0 1,-2 1-90,-3 1 0,-1 0 0,-3 1 0,-2 0-90,-1-2 0,-4 1 0,-4-1 0,-4 3 90,-3 5-90,-1 4 0,0 5 0,0 4 0,3 1 0,1 5 90,5-1-90,2 4 0,5 0 0,2-3 0,2-3 0,1-3 0,1-2 90,0-1-90,1 0 0,1-2 0,5-2-90,-3-2 180,4-3-180,-5-1 90,-1-2 0,-1-2 0,0 0 90,-2 0-90,-1-1 90,-2 1-90,-1-3 0,-3 1-90,-4-2-270,-7 3-359,-3 3-361,-2 5 1,0 2-810,3 4-450,3 2 1,6 2 1348,8-2 720,5-3 90,2-3 180,-1-2 270,-2-2 90,2-1 180,0 0-90,2 0 269,1-1 1,-1 0-91,1 1 361,4-2-630,-5 3 269,3-1-269,-2 4 90,-4 2-90,4 3-1,-5 2 91,1 2-180,-1 2 90,-1 2-90,0 2-1,0 2-89,-1 2 0,1 1-90,-2 1 0,1 1 0,-1-1 0,-1 0 0,0-1 0,-1 0-90,0-2 90,0 0-90,-1-2 90,0-1 0,-1-1 0,1 1-540,0-2 180,1-6 90,0-11-90,2-15 270,-1-2 0,2-4 180,-2 5 0,1 0 90,-1 0 90,1 1-90,-1 1 89,0 2 1,0 2 0,-1 1-180,0 2 0,0 0 90,-1 3-90,1-3-90,1 3-90,2 1 89,1 7-89,3 7 0,-2 4 0,1 2 90,-1 0-90,1 0 0,-1 1 0,1-1-179,3 7 89,-3-5-90,2 4 0,-5-6 90,0-1-90,-2-1 90,3 1 90,-2-1 0,3 1-90,-2-8 180,0-3 0,-1-8 90,-2-2 0,1-3-180,0-2 90,0 2-90,-1 1 90,0 2-90,0 1 0,2-6 0,-2 5 0,1-4-90,-2 5-360,1 0-899,0-2-540,0 1 1889,0-1 0,-2 5 0,0 3 0</inkml:trace>
</inkml:ink>
</file>

<file path=ppt/ink/ink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1:08.300"/>
    </inkml:context>
    <inkml:brush xml:id="br0">
      <inkml:brushProperty name="width" value="0.1" units="cm"/>
      <inkml:brushProperty name="height" value="0.1" units="cm"/>
    </inkml:brush>
  </inkml:definitions>
  <inkml:trace contextRef="#ctx0" brushRef="#br0">427 18 1736 0 0,'-8'-11'3825'0'0,"4"10"-3583"0"0,0 0 1 0 0,1-1-1 0 0,-1 2 1 0 0,0-1-1 0 0,0 0 1 0 0,0 1-1 0 0,0 0 1 0 0,0 0-1 0 0,0 0 1 0 0,0 0-1 0 0,0 1 1 0 0,1-1-1 0 0,-1 1 1 0 0,0 0 0 0 0,0 0-1 0 0,0 1 1 0 0,1-1-1 0 0,-1 1 1 0 0,1 0-1 0 0,-1 0 1 0 0,-3 2-1 0 0,7-3-227 0 0,-1-1-1 0 0,0 1 0 0 0,1-1 0 0 0,-1 1 1 0 0,1-1-1 0 0,-1 1 0 0 0,1-1 0 0 0,0 1 1 0 0,-1 0-1 0 0,1-1 0 0 0,-1 1 0 0 0,1 0 1 0 0,0-1-1 0 0,0 1 0 0 0,-1 0 0 0 0,1 0 1 0 0,0-1-1 0 0,0 1 0 0 0,0 0 0 0 0,0 0 1 0 0,0-1-1 0 0,0 1 0 0 0,0 0 0 0 0,0 0 1 0 0,0-1-1 0 0,0 1 0 0 0,0 0 0 0 0,1-1 1 0 0,-1 1-1 0 0,0 0 0 0 0,0 0 0 0 0,1-1 1 0 0,-1 1-1 0 0,1 0 0 0 0,-1-1 0 0 0,0 1 1 0 0,1-1-1 0 0,-1 1 0 0 0,2 0 0 0 0,0 2-1 0 0,0-1-1 0 0,0 0 0 0 0,0 0 1 0 0,1 0-1 0 0,-1 0 0 0 0,1 0 1 0 0,4 1-1 0 0,74 28-1810 0 0,-25-17-2839 0 0,-36-9 1911 0 0</inkml:trace>
  <inkml:trace contextRef="#ctx0" brushRef="#br0" timeOffset="1">138 317 96 0 0,'-130'29'10988'0'0,"130"-29"-10943"0"0,0 0 1 0 0,0 0-1 0 0,-1 0 1 0 0,1 0 0 0 0,0-1-1 0 0,0 1 1 0 0,0 0-1 0 0,-1 0 1 0 0,1 0 0 0 0,0 0-1 0 0,0 0 1 0 0,-1 0-1 0 0,1 0 1 0 0,0 0-1 0 0,0 0 1 0 0,0 0 0 0 0,-1 1-1 0 0,1-1 1 0 0,0 0-1 0 0,0 0 1 0 0,0 0-1 0 0,-1 0 1 0 0,1 0 0 0 0,0 0-1 0 0,0 0 1 0 0,0 0-1 0 0,0 1 1 0 0,-1-1 0 0 0,1 0-1 0 0,0 0 1 0 0,0 0-1 0 0,0 0 1 0 0,0 1-1 0 0,0-1 1 0 0,0 0 0 0 0,-1 0-1 0 0,1 0 1 0 0,0 0-1 0 0,0 1 1 0 0,0-1 0 0 0,0 0-1 0 0,0 0 1 0 0,0 1-1 0 0,0-1 1 0 0,0 0-1 0 0,0 0 1 0 0,12 4 491 0 0,20 0-669 0 0,54 2-1556 0 0,25 1-5041 0 0,-87-5 3919 0 0</inkml:trace>
</inkml:ink>
</file>

<file path=ppt/ink/ink5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7:38.089"/>
    </inkml:context>
    <inkml:brush xml:id="br0">
      <inkml:brushProperty name="width" value="0.08571" units="cm"/>
      <inkml:brushProperty name="height" value="0.08571" units="cm"/>
    </inkml:brush>
  </inkml:definitions>
  <inkml:trace contextRef="#ctx0" brushRef="#br0">1 1 14639,'25'11'-540,"0"-2"0,-4-6-359,0-1-1350,3 0-809,-1 0 2644,-1 0 0,2-1 0,-1 1 1</inkml:trace>
</inkml:ink>
</file>

<file path=ppt/ink/ink5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7:38.239"/>
    </inkml:context>
    <inkml:brush xml:id="br0">
      <inkml:brushProperty name="width" value="0.08571" units="cm"/>
      <inkml:brushProperty name="height" value="0.08571" units="cm"/>
    </inkml:brush>
  </inkml:definitions>
  <inkml:trace contextRef="#ctx0" brushRef="#br0">61 0 9781,'-22'11'3778,"4"-2"-2249,7-4 1,2 0-1261,11-1-89,1-2 0,14-1-270,0-1-180,4-1-359,2 0-271,3 0-269,0 0-1530,0 0-1438,0-1 4137,0 0 0,1 0 0,1-2 0</inkml:trace>
</inkml:ink>
</file>

<file path=ppt/ink/ink5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7:40.977"/>
    </inkml:context>
    <inkml:brush xml:id="br0">
      <inkml:brushProperty name="width" value="0.08571" units="cm"/>
      <inkml:brushProperty name="height" value="0.08571" units="cm"/>
    </inkml:brush>
  </inkml:definitions>
  <inkml:trace contextRef="#ctx0" brushRef="#br0">0 0 13289,'11'5'1619,"-5"-2"-1888,30-2-271,-10 0-4611,5-1 2812,2 0-309,3 0 2648,0 0 0,2 0 0,0 0 0</inkml:trace>
</inkml:ink>
</file>

<file path=ppt/ink/ink5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7:43.855"/>
    </inkml:context>
    <inkml:brush xml:id="br0">
      <inkml:brushProperty name="width" value="0.08571" units="cm"/>
      <inkml:brushProperty name="height" value="0.08571" units="cm"/>
    </inkml:brush>
  </inkml:definitions>
  <inkml:trace contextRef="#ctx0" brushRef="#br0">1 1 12480,'23'1'90,"-1"0"-5930,-5 1 4850,14 2 91,-6-1 1139,41 5 1,-28-3-1,24 3 1</inkml:trace>
</inkml:ink>
</file>

<file path=ppt/ink/ink5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7:46.839"/>
    </inkml:context>
    <inkml:brush xml:id="br0">
      <inkml:brushProperty name="width" value="0.08571" units="cm"/>
      <inkml:brushProperty name="height" value="0.08571" units="cm"/>
    </inkml:brush>
  </inkml:definitions>
  <inkml:trace contextRef="#ctx0" brushRef="#br0">0 24 11760,'20'-6'540,"-1"0"-6290,-6 4 5120,18-1 0,-11 1 1320,12 0-2130,-14 1 861,-1 0 579,-1 1 0,-7-1 0,-3 2 0</inkml:trace>
</inkml:ink>
</file>

<file path=ppt/ink/ink5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7:47.550"/>
    </inkml:context>
    <inkml:brush xml:id="br0">
      <inkml:brushProperty name="width" value="0.08571" units="cm"/>
      <inkml:brushProperty name="height" value="0.08571" units="cm"/>
    </inkml:brush>
  </inkml:definitions>
  <inkml:trace contextRef="#ctx0" brushRef="#br0">23 31 9961,'5'16'2069,"-2"0"-1619,-5-1-90,0 1-1,0 2 271,-2 10-270,2-5 270,-2 15-361,2-16 1,0 7-90,1-10 90,0 5-180,1-7 0,-1 4 90,1-4 90,-1-2-270,-2-12 0,2-4 0,-2-16 0,3 1 0,0-5 0,2-2 0,-1-3 0,2-2 0,1-1 0,1-2 0,1 1-90,1 4 180,0 1-180,1 4 180,0 1-90,0 4 0,0 2 0,0 3 0,0 4 0,3 2 0,1 5 0,-1 2 0,0 4 0,-5 1 90,0 2-90,-1 1 0,-1 1 0,-1 1 0,-2 0 0,0 1 90,-3-1-90,0 1-90,-2 0-90,-1 0-360,-5 4 180,2-5-90,-4 3 1,4-7-1,-1-1-809,1-2-181,-4 0-179,1-3-809,0-2 2428,3-5 0,4 2 0,2-1 0</inkml:trace>
</inkml:ink>
</file>

<file path=ppt/ink/ink5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7:47.733"/>
    </inkml:context>
    <inkml:brush xml:id="br0">
      <inkml:brushProperty name="width" value="0.08571" units="cm"/>
      <inkml:brushProperty name="height" value="0.08571" units="cm"/>
    </inkml:brush>
  </inkml:definitions>
  <inkml:trace contextRef="#ctx0" brushRef="#br0">17 1 10771,'11'16'2698,"-3"-3"-2248,-10 1 0,-1-1 0,-2 0-91,1 1-89,-2 0 0,2 1 0,0-1-90,1 0 0,0-1 0,2 0-90,1 0-1,1-1 1,2 0-90,2 0 0,3-1-179,1-1-181,2-1-180,1-2-180,2-1-179,1-3-90,-1-1-1350,1-1-1079,0-3 3418,0-1 0,2-3 0,0-1 0</inkml:trace>
</inkml:ink>
</file>

<file path=ppt/ink/ink5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7:49.657"/>
    </inkml:context>
    <inkml:brush xml:id="br0">
      <inkml:brushProperty name="width" value="0.08571" units="cm"/>
      <inkml:brushProperty name="height" value="0.08571" units="cm"/>
    </inkml:brush>
  </inkml:definitions>
  <inkml:trace contextRef="#ctx0" brushRef="#br0">1 0 8342,'19'3'1170,"-2"-1"-991,1-1-89,-1 0-180,4 0-89,2 0-181,3 1-810,3-1 1170,15 3 0,-7-2 0,11 1 0</inkml:trace>
</inkml:ink>
</file>

<file path=ppt/ink/ink5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7:49.892"/>
    </inkml:context>
    <inkml:brush xml:id="br0">
      <inkml:brushProperty name="width" value="0.08571" units="cm"/>
      <inkml:brushProperty name="height" value="0.08571" units="cm"/>
    </inkml:brush>
  </inkml:definitions>
  <inkml:trace contextRef="#ctx0" brushRef="#br0">1 0 7533,'26'0'719,"0"0"-629,-3 1-90,-2 0-450,-1 0 450,-2 0 0,-10 0 0,-1-1 0</inkml:trace>
</inkml:ink>
</file>

<file path=ppt/ink/ink5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7:50.497"/>
    </inkml:context>
    <inkml:brush xml:id="br0">
      <inkml:brushProperty name="width" value="0.08571" units="cm"/>
      <inkml:brushProperty name="height" value="0.08571" units="cm"/>
    </inkml:brush>
  </inkml:definitions>
  <inkml:trace contextRef="#ctx0" brushRef="#br0">1 13 12390,'21'-7'0,"1"2"-180,-6 5-90,3 0-270,2 2-89,2 0-4382,2 0 3212,0 0 1799,0 0 0,1 0 0,2 0 0</inkml:trace>
</inkml:ink>
</file>

<file path=ppt/ink/ink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1:08.680"/>
    </inkml:context>
    <inkml:brush xml:id="br0">
      <inkml:brushProperty name="width" value="0.1" units="cm"/>
      <inkml:brushProperty name="height" value="0.1" units="cm"/>
    </inkml:brush>
  </inkml:definitions>
  <inkml:trace contextRef="#ctx0" brushRef="#br0">23 13 1556 0 0,'-22'8'5457'0'0,"35"-3"-4845"0"0,4-7-236 0 0,9 1-100 0 0,7-1-316 0 0,9-2-324 0 0,3 1-332 0 0,1 0-468 0 0,3-1-729 0 0,6-2 177 0 0</inkml:trace>
</inkml:ink>
</file>

<file path=ppt/ink/ink5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2T05:58:01.750"/>
    </inkml:context>
    <inkml:brush xml:id="br0">
      <inkml:brushProperty name="width" value="0.08571" units="cm"/>
      <inkml:brushProperty name="height" value="0.08571" units="cm"/>
    </inkml:brush>
  </inkml:definitions>
  <inkml:trace contextRef="#ctx0" brushRef="#br0">611 38 9422,'18'-14'1079,"2"2"-809,-3 8-90,-2 1 359,0 1-89,1 1-270,0 0 180,1 0-270,4 2 0,-8 0 0,4 1 0,-5 0-90,1 2 90,0 0-90,0 1 90,1 1-90,-1 1 0,-1 1 0,1 1 90,-1 2-90,-1 1 0,1 2 89,-2 1 91,0 1-90,-2 2 0,0 1 90,-1 2-90,-1 1 0,-2 2 180,2 15-90,-4-9-90,2 13 90,-3-10 0,0 2-1,-1 1-89,0 2 90,-1 0-90,0 2 0,1 0 0,-2 2 0,1 2 0,-1 2 0,1 0 0,-1-3 0,0 2 90,-1 18-90,0-12 0,-1 15-530,1-20 530,-2 0 0,1 1-90,-2 0 90,1 0 0,-4 22 0,2-16-90,-2 15 89,2-20-89,-3 21 90,2-15-670,-3 16 580,4-21 90,0 1-90,0 0-2687,-1 1 2776,2 0-89,-1 1 0,0 0 90,0 1 0,-4 45-90,2-12-394,3-33 1,1-2 393,-2 24 90,2-22-90,1 0 0,1 1 90,-1 0-90,1 0 0,0 0 90,0 1 206,-2 23-296,2-18 2330,-1 18-2330,0-25 0,1-1 0,0 0-372,0 0 372,-1 1 0,1-1 0,0 1 0,0 0 0,-1 0-1766,1 0 1856,-1 1-2057,0-1 1967,0 1-1163,0-1 1163,0-1 8,0 1 82,0-2-90,0 1 0,1-1 1452,0 0-1362,0-1 2081,0 1-2171,1 1 90,-1-1-90,1 1 90,-1 0 2824,1-1-2824,0 0 335,-1 0-335,1 21-90,-1 5-3278,0-2 3278,1-6-2191,1-21 2191,0-2-1272,0 2 1272,0-2-90,0 1 90,0 0-90,-1 0 90,1-1 0,-1 0 0,0-1 0,1-2 0,-1 2 0,-1-5 0,1 4 0,0-1 0,-1-1 0,0 17 0,0-13 0,0 14 0,0-17 0,1 1 0,0-4 0,-1 4 0,1-5 0,-2 23 0,2-18 90,-1 14 0,1-19-90,1 0 1255,-1-1-1165,0-1 1846,1 1-1846,-1-2 0,0 1-90,0-1 90,1-1-90,-1-1 90,1 1-90,-1-1 185,0 0-185,0 15 0,0-10 3100,-2 11-3100,2-15 0,-2 1 0,0 0 0,0 3 0,-2 0 694,0 4-694,-1-1 0,0 0 187,-6 18-97,0 4-90,-1-1-745,1-5 745,3-20 90,1-2-440,-4 12 350,4-13 0,-3 9 0,3-14 0,0-2 0,0-1 0,0-1 0,0-3-90,1-2 180,0-2 545,1-1-545,-1-2 280,0-1-280,-1-3 0,-5 3-90,2-4 90,-6 0-90,5-6 0,-2-1 0,0-2 90,-1-2-360,0-2-180,-3-1-359,-1-2-271,-1-1-539,0-1-1439,-3-2 3058,-12-4 0,4 1 0,-10-5 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18.922"/>
    </inkml:context>
    <inkml:brush xml:id="br0">
      <inkml:brushProperty name="width" value="0.1" units="cm"/>
      <inkml:brushProperty name="height" value="0.1" units="cm"/>
    </inkml:brush>
  </inkml:definitions>
  <inkml:trace contextRef="#ctx0" brushRef="#br0">28 280 952 0 0,'-3'0'653'0'0,"0"0"0"0"0,0-1 1 0 0,0 1-1 0 0,0-1 0 0 0,1 0 0 0 0,-1 0 0 0 0,0 0 0 0 0,-2-1 1 0 0,19-8 558 0 0,-13 9-1093 0 0,10-3 77 0 0,0 0 1 0 0,0 1-1 0 0,0 0 0 0 0,0 0 0 0 0,19-1 1 0 0,-4 0 23 0 0,736-92 2106 0 0,-592 79-2110 0 0,666-64 272 0 0,-278 42-3677 0 0,-528 37 2386 0 0,-11 1-695 0 0,1 0 0 0 0,24 3 0 0 0,-32-1-202 0 0</inkml:trace>
</inkml:ink>
</file>

<file path=ppt/ink/ink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11.634"/>
    </inkml:context>
    <inkml:brush xml:id="br0">
      <inkml:brushProperty name="width" value="0.1" units="cm"/>
      <inkml:brushProperty name="height" value="0.1" units="cm"/>
    </inkml:brush>
  </inkml:definitions>
  <inkml:trace contextRef="#ctx0" brushRef="#br0">0 16 2432 0 0,'12'-15'6830'0'0,"-8"21"-6416"0"0,-1 1 0 0 0,0 0 0 0 0,0 0 0 0 0,-1 0 1 0 0,0 0-1 0 0,0 0 0 0 0,-1 0 0 0 0,0 1 1 0 0,0 9-1 0 0,1-5-109 0 0,10 74 619 0 0,9 80-214 0 0,-20-136-2400 0 0,-4 52 1 0 0,-2-33-5031 0 0</inkml:trace>
</inkml:ink>
</file>

<file path=ppt/ink/ink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12.003"/>
    </inkml:context>
    <inkml:brush xml:id="br0">
      <inkml:brushProperty name="width" value="0.1" units="cm"/>
      <inkml:brushProperty name="height" value="0.1" units="cm"/>
    </inkml:brush>
  </inkml:definitions>
  <inkml:trace contextRef="#ctx0" brushRef="#br0">132 0 572 0 0,'8'3'4784'0'0,"-8"-3"-4702"0"0,-6 18 1754 0 0,-14 20-453 0 0,1-7-604 0 0,1 1 0 0 0,2 1 1 0 0,1 1-1 0 0,-21 71 0 0 0,33-91-626 0 0,1 0 1 0 0,0 0-1 0 0,1 0 0 0 0,0 1 0 0 0,1-1 0 0 0,3 26 0 0 0,-1-30-102 0 0,0 0-1 0 0,1-1 1 0 0,0 1-1 0 0,0-1 1 0 0,1 0-1 0 0,0 0 1 0 0,1 0-1 0 0,0 0 1 0 0,0-1-1 0 0,13 15 1 0 0,-16-20-38 0 0,0-1 1 0 0,0 1 0 0 0,1-1-1 0 0,-1 0 1 0 0,1 1 0 0 0,-1-1 0 0 0,1-1-1 0 0,0 1 1 0 0,0 0 0 0 0,0-1 0 0 0,0 1-1 0 0,0-1 1 0 0,0 0 0 0 0,0 0-1 0 0,1 0 1 0 0,-1 0 0 0 0,0-1 0 0 0,1 1-1 0 0,-1-1 1 0 0,0 0 0 0 0,6 0-1 0 0,-5-1-14 0 0,0 0 0 0 0,-1 0 0 0 0,1 0-1 0 0,-1-1 1 0 0,0 1 0 0 0,1-1-1 0 0,-1 0 1 0 0,0 0 0 0 0,0 0 0 0 0,0 0-1 0 0,0-1 1 0 0,-1 1 0 0 0,1-1-1 0 0,-1 0 1 0 0,1 1 0 0 0,-1-1 0 0 0,0 0-1 0 0,0 0 1 0 0,2-4 0 0 0,-2 3 10 0 0,0 0 0 0 0,0 1 1 0 0,-1-1-1 0 0,1 0 1 0 0,-1 0-1 0 0,0 0 0 0 0,0 0 1 0 0,0 0-1 0 0,0 0 1 0 0,-1 0-1 0 0,0 0 0 0 0,0 0 1 0 0,0-1-1 0 0,0 1 1 0 0,-1 0-1 0 0,1 0 0 0 0,-1 0 1 0 0,0 0-1 0 0,0 0 1 0 0,-3-6-1 0 0,0 3-152 0 0,0 1 0 0 0,0 0 0 0 0,0 1 1 0 0,0-1-1 0 0,-1 1 0 0 0,0 0 0 0 0,0 0 0 0 0,0 0 0 0 0,-1 1 1 0 0,0 0-1 0 0,-8-5 0 0 0,-15-4-2437 0 0,8 3-2822 0 0</inkml:trace>
</inkml:ink>
</file>

<file path=ppt/ink/ink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12.363"/>
    </inkml:context>
    <inkml:brush xml:id="br0">
      <inkml:brushProperty name="width" value="0.1" units="cm"/>
      <inkml:brushProperty name="height" value="0.1" units="cm"/>
    </inkml:brush>
  </inkml:definitions>
  <inkml:trace contextRef="#ctx0" brushRef="#br0">320 0 1020 0 0,'3'0'1852'0'0,"-1"0"-1514"0"0,0 0 0 0 0,0 0 0 0 0,0 0 0 0 0,-1 1-1 0 0,1-1 1 0 0,0 0 0 0 0,0 1 0 0 0,0-1 0 0 0,-1 1 0 0 0,1 0-1 0 0,3 1 1 0 0,-4-1-224 0 0,-1 0 1 0 0,1-1-1 0 0,-1 1 0 0 0,1 0 0 0 0,-1 0 0 0 0,0-1 0 0 0,1 1 0 0 0,-1 0 1 0 0,0 0-1 0 0,1 0 0 0 0,-1 0 0 0 0,0-1 0 0 0,0 1 0 0 0,0 0 1 0 0,0 0-1 0 0,0 0 0 0 0,0 0 0 0 0,0 0 0 0 0,0 0 0 0 0,0 0 0 0 0,0-1 1 0 0,-1 1-1 0 0,1 0 0 0 0,0 0 0 0 0,0 0 0 0 0,-1 0 0 0 0,1-1 1 0 0,-1 1-1 0 0,1 0 0 0 0,-1 0 0 0 0,1-1 0 0 0,-1 1 0 0 0,1 0 1 0 0,-2 0-1 0 0,-14 21 524 0 0,-1-1 0 0 0,-1-1 0 0 0,-1-1 1 0 0,-35 28-1 0 0,19-16-310 0 0,4-2-466 0 0,-50 41-1413 0 0,70-62-39 0 0,0-1 1 0 0,0 0 0 0 0,-17 6 0 0 0,14-8-2402 0 0</inkml:trace>
</inkml:ink>
</file>

<file path=ppt/ink/ink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12.703"/>
    </inkml:context>
    <inkml:brush xml:id="br0">
      <inkml:brushProperty name="width" value="0.1" units="cm"/>
      <inkml:brushProperty name="height" value="0.1" units="cm"/>
    </inkml:brush>
  </inkml:definitions>
  <inkml:trace contextRef="#ctx0" brushRef="#br0">0 125 1324 0 0,'14'3'4571'0'0,"-7"0"-3911"0"0,0 1 0 0 0,-1-1 0 0 0,0 1 0 0 0,0 1 0 0 0,0-1 0 0 0,-1 1 0 0 0,11 11 0 0 0,33 47 1687 0 0,-19-23-1566 0 0,48 70 90 0 0,-13-15-6291 0 0,-53-82 1186 0 0</inkml:trace>
  <inkml:trace contextRef="#ctx0" brushRef="#br0" timeOffset="1">660 0 1408 0 0,'3'1'3480'0'0,"-1"0"-3269"0"0,0-1 0 0 0,-1 1 0 0 0,1 0 0 0 0,-1 0 1 0 0,1-1-1 0 0,-1 1 0 0 0,0 0 0 0 0,1 0 0 0 0,-1 1 0 0 0,0-1 1 0 0,0 0-1 0 0,1 0 0 0 0,-1 1 0 0 0,0-1 0 0 0,0 0 0 0 0,-1 1 1 0 0,1-1-1 0 0,0 1 0 0 0,0-1 0 0 0,-1 1 0 0 0,1 0 0 0 0,-1-1 1 0 0,1 1-1 0 0,-1-1 0 0 0,0 1 0 0 0,1 0 0 0 0,-1 0 1 0 0,0 3-1 0 0,2 22 1257 0 0,-1 1 0 0 0,-3 40 0 0 0,-12 58-604 0 0,6-63-1173 0 0,-2-1-2037 0 0,0-22-4132 0 0</inkml:trace>
</inkml:ink>
</file>

<file path=ppt/ink/ink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13.111"/>
    </inkml:context>
    <inkml:brush xml:id="br0">
      <inkml:brushProperty name="width" value="0.1" units="cm"/>
      <inkml:brushProperty name="height" value="0.1" units="cm"/>
    </inkml:brush>
  </inkml:definitions>
  <inkml:trace contextRef="#ctx0" brushRef="#br0">76 1 240 0 0,'-25'8'3674'0'0,"19"-6"-2613"0"0,0-1-1 0 0,0 1 0 0 0,0 1 1 0 0,0-1-1 0 0,0 1 0 0 0,-8 5 0 0 0,13-7-628 0 0,60 5 645 0 0,143-7-2066 0 0,-68-4-2991 0 0,-95 4 1804 0 0,-2-1-1120 0 0</inkml:trace>
</inkml:ink>
</file>

<file path=ppt/ink/ink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13.453"/>
    </inkml:context>
    <inkml:brush xml:id="br0">
      <inkml:brushProperty name="width" value="0.1" units="cm"/>
      <inkml:brushProperty name="height" value="0.1" units="cm"/>
    </inkml:brush>
  </inkml:definitions>
  <inkml:trace contextRef="#ctx0" brushRef="#br0">65 14 2472 0 0,'-64'40'11306'0'0,"90"-39"-10052"0"0,140-22-132 0 0,-25 3-2971 0 0,-50 4-4043 0 0,-73 13-117 0 0</inkml:trace>
</inkml:ink>
</file>

<file path=ppt/ink/ink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09.160"/>
    </inkml:context>
    <inkml:brush xml:id="br0">
      <inkml:brushProperty name="width" value="0.1" units="cm"/>
      <inkml:brushProperty name="height" value="0.1" units="cm"/>
    </inkml:brush>
  </inkml:definitions>
  <inkml:trace contextRef="#ctx0" brushRef="#br0">1 31 1248 0 0,'0'0'1019'0'0,"0"-30"6820"0"0,0 46-7715 0 0,-1 28 269 0 0,3 0 1 0 0,8 56 0 0 0,-7-85-314 0 0,0-1 1 0 0,1 0-1 0 0,1-1 0 0 0,0 1 0 0 0,0-1 0 0 0,2 0 0 0 0,0 0 0 0 0,0 0 1 0 0,1-1-1 0 0,0-1 0 0 0,12 13 0 0 0,-15-18-31 0 0,0-1 1 0 0,1 1-1 0 0,-1-2 0 0 0,1 1 1 0 0,0-1-1 0 0,1 1 0 0 0,-1-2 1 0 0,10 5-1 0 0,-14-7-47 0 0,0 0-1 0 0,1 0 1 0 0,-1-1-1 0 0,1 1 1 0 0,-1-1-1 0 0,1 0 1 0 0,-1 1 0 0 0,1-1-1 0 0,-1 0 1 0 0,1-1-1 0 0,0 1 1 0 0,-1 0 0 0 0,1-1-1 0 0,-1 1 1 0 0,0-1-1 0 0,1 0 1 0 0,-1 0-1 0 0,1 0 1 0 0,-1 0 0 0 0,0 0-1 0 0,0-1 1 0 0,0 1-1 0 0,0 0 1 0 0,0-1-1 0 0,0 0 1 0 0,0 1 0 0 0,2-4-1 0 0,1-1-32 0 0,0 0-1 0 0,-1 0 1 0 0,0-1-1 0 0,0 1 1 0 0,0-1 0 0 0,-1 0-1 0 0,0 0 1 0 0,2-8-1 0 0,1-10-46 0 0,4-27 1 0 0,-1 7 5 0 0,0-26 200 0 0,-8 52-45 0 0,2 0 1 0 0,4-21-1 0 0,-6 38-54 0 0,0 3-12 0 0,-1 0 0 0 0,1 0 0 0 0,0 1 1 0 0,0-1-1 0 0,-1 1 0 0 0,1-1 0 0 0,-1 0 0 0 0,1 1 1 0 0,-1-1-1 0 0,0 1 0 0 0,0-1 0 0 0,1 1 1 0 0,-1-1-1 0 0,0 1 0 0 0,-1 2 0 0 0,2 0 95 0 0,10 76 879 0 0,16 171 391 0 0,-26-235-1726 0 0,-1-3-1016 0 0,1 0 0 0 0,4 26 0 0 0</inkml:trace>
</inkml:ink>
</file>

<file path=ppt/ink/ink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09.996"/>
    </inkml:context>
    <inkml:brush xml:id="br0">
      <inkml:brushProperty name="width" value="0.1" units="cm"/>
      <inkml:brushProperty name="height" value="0.1" units="cm"/>
    </inkml:brush>
  </inkml:definitions>
  <inkml:trace contextRef="#ctx0" brushRef="#br0">218 9 1912 0 0,'1'-1'266'0'0,"0"1"-1"0"0,0-1 1 0 0,0 0 0 0 0,0 0-1 0 0,1 0 1 0 0,-1 1 0 0 0,0-1-1 0 0,0 1 1 0 0,1-1-1 0 0,-1 1 1 0 0,0-1 0 0 0,1 1-1 0 0,-1 0 1 0 0,1-1 0 0 0,-1 1-1 0 0,0 0 1 0 0,1 0 0 0 0,-1 0-1 0 0,1 0 1 0 0,-1 1-1 0 0,3-1 1 0 0,-3 1-189 0 0,-1-1 0 0 0,1 1 1 0 0,-1-1-1 0 0,1 1 0 0 0,-1-1 0 0 0,0 1 0 0 0,1 0 1 0 0,-1-1-1 0 0,1 1 0 0 0,-1-1 0 0 0,0 1 0 0 0,0 0 1 0 0,1-1-1 0 0,-1 1 0 0 0,0 0 0 0 0,0-1 0 0 0,0 1 1 0 0,0 0-1 0 0,0 0 0 0 0,0-1 0 0 0,0 1 0 0 0,0 0 1 0 0,0-1-1 0 0,0 1 0 0 0,0 0 0 0 0,0 0 0 0 0,-4 18 829 0 0,-2 0-382 0 0,0-1-1 0 0,-2 0 0 0 0,0 0 0 0 0,-13 20 1 0 0,-46 64 245 0 0,58-90-660 0 0,-5 10-272 0 0,0-2 103 0 0,-22 27 1 0 0,33-44-493 0 0,0 1-1 0 0,0-1 1 0 0,-1 1 0 0 0,1-1 0 0 0,-1 0 0 0 0,0 0 0 0 0,0-1-1 0 0,0 1 1 0 0,0-1 0 0 0,0 0 0 0 0,-1 0 0 0 0,1-1 0 0 0,-9 3 0 0 0</inkml:trace>
  <inkml:trace contextRef="#ctx0" brushRef="#br0" timeOffset="1">16 108 1352 0 0,'3'0'2998'0'0,"0"1"-2685"0"0,0-1 1 0 0,0 1-1 0 0,-1 0 0 0 0,1 0 1 0 0,0 0-1 0 0,0 0 1 0 0,-1 0-1 0 0,1 1 0 0 0,-1-1 1 0 0,1 1-1 0 0,-1 0 1 0 0,1 0-1 0 0,-1 0 0 0 0,0 0 1 0 0,0 0-1 0 0,3 4 1 0 0,34 49 1632 0 0,-24-31-1196 0 0,50 78 798 0 0,-26-38-1749 0 0,3-3-3521 0 0,-28-49-610 0 0</inkml:trace>
  <inkml:trace contextRef="#ctx0" brushRef="#br0" timeOffset="2">568 46 1532 0 0,'3'-4'684'0'0,"10"-9"3793"0"0,-13 12-4411 0 0,0 1-1 0 0,1 0 1 0 0,-1 0-1 0 0,0 0 1 0 0,1 0-1 0 0,-1 0 1 0 0,0 0-1 0 0,1 0 1 0 0,-1 0-1 0 0,0 0 0 0 0,0 0 1 0 0,1 0-1 0 0,-1 0 1 0 0,0 0-1 0 0,1 0 1 0 0,-1 0-1 0 0,0 0 1 0 0,1 0-1 0 0,-1 0 1 0 0,0 0-1 0 0,0 0 1 0 0,1 0-1 0 0,-1 1 1 0 0,0-1-1 0 0,1 0 0 0 0,-1 0 1 0 0,0 0-1 0 0,0 0 1 0 0,0 1-1 0 0,1-1 1 0 0,-1 0-1 0 0,0 0 1 0 0,0 1-1 0 0,0-1 1 0 0,1 0-1 0 0,-1 0 1 0 0,0 1-1 0 0,0-1 0 0 0,0 0 1 0 0,0 1-1 0 0,0-1 1 0 0,0 0-1 0 0,0 0 1 0 0,0 1-1 0 0,1-1 1 0 0,-1 0-1 0 0,0 1 1 0 0,0-1-1 0 0,0 0 1 0 0,0 1-1 0 0,-1-1 0 0 0,1 1 1 0 0,3 20 965 0 0,-1 0-1 0 0,-1 1 1 0 0,-3 34 0 0 0,1-6-270 0 0,-2 109 84 0 0,-4-53-6267 0 0,6-104 4972 0 0,1 2-208 0 0</inkml:trace>
</inkml:ink>
</file>

<file path=ppt/ink/ink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10.354"/>
    </inkml:context>
    <inkml:brush xml:id="br0">
      <inkml:brushProperty name="width" value="0.1" units="cm"/>
      <inkml:brushProperty name="height" value="0.1" units="cm"/>
    </inkml:brush>
  </inkml:definitions>
  <inkml:trace contextRef="#ctx0" brushRef="#br0">81 18 356 0 0,'14'-18'6115'0'0,"-16"27"-4803"0"0,-30 57 1795 0 0,23-49-2599 0 0,0 0 0 0 0,-11 34 0 0 0,16-34-353 0 0,0-1 0 0 0,1 0 0 0 0,1 1 0 0 0,1-1 0 0 0,1 29 0 0 0,0-37-88 0 0,1 0 0 0 0,0 0 0 0 0,0 0 0 0 0,1 0 0 0 0,0 0 0 0 0,0 0 1 0 0,1 0-1 0 0,0-1 0 0 0,1 1 0 0 0,-1-1 0 0 0,1 0 0 0 0,1 0 0 0 0,7 10 0 0 0,-8-14 16 0 0,-1 0 0 0 0,0-1 0 0 0,1 1 0 0 0,-1-1 0 0 0,1 1 0 0 0,0-1 0 0 0,0 0-1 0 0,0-1 1 0 0,0 1 0 0 0,0-1 0 0 0,0 0 0 0 0,0 0 0 0 0,0 0 0 0 0,1 0 0 0 0,-1-1 0 0 0,0 1 0 0 0,1-1-1 0 0,-1-1 1 0 0,0 1 0 0 0,1 0 0 0 0,-1-1 0 0 0,0 0 0 0 0,0 0 0 0 0,0 0 0 0 0,1-1 0 0 0,-1 1 0 0 0,0-1-1 0 0,-1 0 1 0 0,1 0 0 0 0,0 0 0 0 0,-1-1 0 0 0,1 1 0 0 0,-1-1 0 0 0,1 0 0 0 0,-1 0 0 0 0,0 0-1 0 0,-1 0 1 0 0,1-1 0 0 0,0 1 0 0 0,-1-1 0 0 0,0 1 0 0 0,0-1 0 0 0,0 0 0 0 0,0 0 0 0 0,0 0 0 0 0,-1 0-1 0 0,1-6 1 0 0,-1 7-61 0 0,-1 1-1 0 0,0-1 0 0 0,0 1 1 0 0,0-1-1 0 0,0 0 0 0 0,0 1 1 0 0,-1-1-1 0 0,1 1 1 0 0,-1-1-1 0 0,1 1 0 0 0,-1 0 1 0 0,0-1-1 0 0,0 1 0 0 0,0-1 1 0 0,-1 1-1 0 0,-2-4 0 0 0,1 2-124 0 0,0 1 0 0 0,0-1-1 0 0,-1 1 1 0 0,1 0 0 0 0,-1 0 0 0 0,0 1-1 0 0,0-1 1 0 0,-7-3 0 0 0,-1 1-702 0 0,-1 0 0 0 0,0 0 0 0 0,0 2 1 0 0,0-1-1 0 0,-21-1 0 0 0,-20 2-5733 0 0,38 4 2613 0 0</inkml:trace>
</inkml:ink>
</file>

<file path=ppt/ink/ink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11.024"/>
    </inkml:context>
    <inkml:brush xml:id="br0">
      <inkml:brushProperty name="width" value="0.1" units="cm"/>
      <inkml:brushProperty name="height" value="0.1" units="cm"/>
    </inkml:brush>
  </inkml:definitions>
  <inkml:trace contextRef="#ctx0" brushRef="#br0">49 1 1636 0 0,'-20'12'10086'0'0,"2"2"-6207"0"0,7-6-2901 0 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19.327"/>
    </inkml:context>
    <inkml:brush xml:id="br0">
      <inkml:brushProperty name="width" value="0.1" units="cm"/>
      <inkml:brushProperty name="height" value="0.1" units="cm"/>
    </inkml:brush>
  </inkml:definitions>
  <inkml:trace contextRef="#ctx0" brushRef="#br0">66 266 184 0 0,'-66'44'7419'0'0,"67"-44"-7384"0"0,-1 0 0 0 0,0 0 1 0 0,0 0-1 0 0,0 0 0 0 0,1 0 1 0 0,-1 0-1 0 0,0 0 0 0 0,0 0 1 0 0,1 0-1 0 0,-1 0 0 0 0,0 0 1 0 0,0 0-1 0 0,0 0 0 0 0,1 0 1 0 0,-1 1-1 0 0,0-1 0 0 0,0 0 0 0 0,0 0 1 0 0,1 0-1 0 0,-1 0 0 0 0,0 0 1 0 0,0 1-1 0 0,0-1 0 0 0,0 0 1 0 0,1 0-1 0 0,-1 0 0 0 0,0 0 1 0 0,0 1-1 0 0,0-1 0 0 0,0 0 1 0 0,0 0-1 0 0,0 1 0 0 0,0-1 1 0 0,0 0-1 0 0,0 0 0 0 0,1 0 1 0 0,-1 1-1 0 0,0-1 0 0 0,0 0 1 0 0,0 0-1 0 0,0 1 0 0 0,0-1 1 0 0,0 0-1 0 0,-1 0 0 0 0,1 0 0 0 0,0 1 1 0 0,0-1-1 0 0,0 0 0 0 0,0 0 1 0 0,0 1-1 0 0,0-1 0 0 0,0 0 1 0 0,0 0-1 0 0,0 0 0 0 0,-1 1 1 0 0,1-1-1 0 0,0 0 0 0 0,0 0 1 0 0,0 0-1 0 0,0 0 0 0 0,-1 0 1 0 0,1 1-1 0 0,0-1 0 0 0,0 0 1 0 0,0 0-1 0 0,-1 0 0 0 0,1 0 1 0 0,0 0-1 0 0,16 4 534 0 0,29-4 191 0 0,0-2 1 0 0,73-11-1 0 0,-51 4-383 0 0,1160-173 2676 0 0,-709 64-4664 0 0</inkml:trace>
</inkml:ink>
</file>

<file path=ppt/ink/ink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13.938"/>
    </inkml:context>
    <inkml:brush xml:id="br0">
      <inkml:brushProperty name="width" value="0.1" units="cm"/>
      <inkml:brushProperty name="height" value="0.1" units="cm"/>
    </inkml:brush>
  </inkml:definitions>
  <inkml:trace contextRef="#ctx0" brushRef="#br0">32 11 1648 0 0,'-1'-9'6881'0'0,"0"8"-6614"0"0,-1 3-129 0 0,-1 0 0 0 0,1 1-1 0 0,-1-1 1 0 0,1 1 0 0 0,0 0 0 0 0,0 0-1 0 0,0 0 1 0 0,1 0 0 0 0,-1 0 0 0 0,1 0 0 0 0,0 0-1 0 0,0 0 1 0 0,0 1 0 0 0,0-1 0 0 0,0 0-1 0 0,0 1 1 0 0,1 5 0 0 0,-1 1 126 0 0,0 0 1 0 0,1 0-1 0 0,0 0 0 0 0,4 21 1 0 0,-1-19-205 0 0,1 0 0 0 0,0 0 0 0 0,1-1 0 0 0,0 1 0 0 0,0-1 0 0 0,2 0 0 0 0,-1-1 0 0 0,1 1 0 0 0,1-1 0 0 0,0-1 0 0 0,0 1 0 0 0,1-1-1 0 0,0-1 1 0 0,1 0 0 0 0,-1 0 0 0 0,2-1 0 0 0,-1 0 0 0 0,1 0 0 0 0,0-1 0 0 0,18 6 0 0 0,-25-10-138 0 0,0-1-1 0 0,0-1 1 0 0,0 1 0 0 0,0 0-1 0 0,0-1 1 0 0,0 0-1 0 0,0 0 1 0 0,0 0 0 0 0,0-1-1 0 0,0 1 1 0 0,0-1-1 0 0,0 0 1 0 0,0 0 0 0 0,0 0-1 0 0,5-3 1 0 0,-3 0-47 0 0,0 1 0 0 0,-1-1 0 0 0,0 0 0 0 0,1 0 0 0 0,-1 0 0 0 0,-1-1 1 0 0,1 0-1 0 0,6-8 0 0 0,0-4 148 0 0,0 1 1 0 0,-2-2-1 0 0,0 1 1 0 0,-1-1-1 0 0,8-26 1 0 0,-11 24 597 0 0,-2 12-266 0 0,-1-1-1 0 0,1 1 0 0 0,0 0 0 0 0,6-11 0 0 0,-5 13 106 0 0,-7 21-71 0 0,4 357 2370 0 0,2-295-3371 0 0,-3-56-411 0 0,2 22-2008 0 0,5-18-2846 0 0</inkml:trace>
</inkml:ink>
</file>

<file path=ppt/ink/ink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14.329"/>
    </inkml:context>
    <inkml:brush xml:id="br0">
      <inkml:brushProperty name="width" value="0.1" units="cm"/>
      <inkml:brushProperty name="height" value="0.1" units="cm"/>
    </inkml:brush>
  </inkml:definitions>
  <inkml:trace contextRef="#ctx0" brushRef="#br0">296 1 1304 0 0,'0'0'179'0'0,"1"0"-1"0"0,-1 0 0 0 0,1 0 1 0 0,0 0-1 0 0,-1 0 1 0 0,1 0-1 0 0,0 0 1 0 0,-1 0-1 0 0,1 0 0 0 0,-1 1 1 0 0,1-1-1 0 0,0 0 1 0 0,-1 1-1 0 0,1-1 1 0 0,-1 0-1 0 0,1 1 0 0 0,-1-1 1 0 0,1 1-1 0 0,-1-1 1 0 0,1 0-1 0 0,-1 1 1 0 0,0-1-1 0 0,1 1 0 0 0,-1 0 1 0 0,0-1-1 0 0,1 1 1 0 0,-1-1-1 0 0,0 1 1 0 0,0-1-1 0 0,1 1 0 0 0,-1 0 1 0 0,0-1-1 0 0,0 1 1 0 0,0 0-1 0 0,0-1 1 0 0,0 1-1 0 0,0-1 0 0 0,0 1 1 0 0,0 0-1 0 0,0-1 1 0 0,0 1-1 0 0,0 0 1 0 0,-1 0-1 0 0,0 2 202 0 0,-1 0 0 0 0,-1 0 1 0 0,1 0-1 0 0,0 0 0 0 0,-1 0 0 0 0,-4 3 0 0 0,-117 106 3003 0 0,38-40-3947 0 0,62-52-212 0 0,17-13-3 0 0,-13 9-566 0 0,3-8-3916 0 0,5-5 1191 0 0</inkml:trace>
</inkml:ink>
</file>

<file path=ppt/ink/ink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14.707"/>
    </inkml:context>
    <inkml:brush xml:id="br0">
      <inkml:brushProperty name="width" value="0.1" units="cm"/>
      <inkml:brushProperty name="height" value="0.1" units="cm"/>
    </inkml:brush>
  </inkml:definitions>
  <inkml:trace contextRef="#ctx0" brushRef="#br0">1 82 660 0 0,'2'1'3618'0'0,"3"1"-3070"0"0,-1 1-1 0 0,0-1 0 0 0,0 1 1 0 0,0 0-1 0 0,0 0 0 0 0,0 0 1 0 0,0 0-1 0 0,-1 1 1 0 0,0-1-1 0 0,4 5 0 0 0,31 48 1728 0 0,-22-29-1653 0 0,18 24 124 0 0,7 11-764 0 0,-11-22-2770 0 0,-13-28-2649 0 0</inkml:trace>
  <inkml:trace contextRef="#ctx0" brushRef="#br0" timeOffset="1">486 1 404 0 0,'16'12'5434'0'0,"-11"-1"-4384"0"0,-1 0 0 0 0,0 0 1 0 0,-1 0-1 0 0,0 0 0 0 0,1 15 1 0 0,4 61 1276 0 0,-6-58-1639 0 0,1 9-385 0 0,2 74 43 0 0,-6-99-2290 0 0,0 0 0 0 0,0 0 0 0 0,-6 18 0 0 0</inkml:trace>
</inkml:ink>
</file>

<file path=ppt/ink/ink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46.239"/>
    </inkml:context>
    <inkml:brush xml:id="br0">
      <inkml:brushProperty name="width" value="0.1" units="cm"/>
      <inkml:brushProperty name="height" value="0.1" units="cm"/>
    </inkml:brush>
  </inkml:definitions>
  <inkml:trace contextRef="#ctx0" brushRef="#br0">1 1 304 0 0,'5'139'4611'0'0,"1"-79"-4058"0"0,18 85 0 0 0,2-43-150 0 0,13 66-3669 0 0,-37-155 2512 0 0</inkml:trace>
</inkml:ink>
</file>

<file path=ppt/ink/ink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46.603"/>
    </inkml:context>
    <inkml:brush xml:id="br0">
      <inkml:brushProperty name="width" value="0.1" units="cm"/>
      <inkml:brushProperty name="height" value="0.1" units="cm"/>
    </inkml:brush>
  </inkml:definitions>
  <inkml:trace contextRef="#ctx0" brushRef="#br0">108 1 164 0 0,'-11'1'542'0'0,"0"0"0"0"0,0 1 0 0 0,1 0 0 0 0,-14 5 0 0 0,21-6-443 0 0,1 0 1 0 0,0-1-1 0 0,0 1 1 0 0,0 0-1 0 0,0 0 0 0 0,0 1 1 0 0,0-1-1 0 0,0 0 0 0 0,0 1 1 0 0,0-1-1 0 0,0 1 1 0 0,1-1-1 0 0,-1 1 0 0 0,1 0 1 0 0,-1 0-1 0 0,1 0 0 0 0,0 0 1 0 0,0 0-1 0 0,0 0 1 0 0,0 0-1 0 0,0 0 0 0 0,0 0 1 0 0,0 1-1 0 0,1-1 0 0 0,-1 0 1 0 0,1 0-1 0 0,0 3 1 0 0,0-2-8 0 0,1-1 1 0 0,-1 1 0 0 0,1 0 0 0 0,0-1 0 0 0,0 1 0 0 0,0-1 0 0 0,0 1 0 0 0,1-1-1 0 0,-1 1 1 0 0,1-1 0 0 0,-1 0 0 0 0,1 0 0 0 0,0 0 0 0 0,0 0 0 0 0,0 0-1 0 0,0 0 1 0 0,0 0 0 0 0,4 1 0 0 0,4 4 118 0 0,1 0 0 0 0,17 8-1 0 0,1-3 94 0 0,-1-1-1 0 0,60 12 0 0 0,-83-22-407 0 0,0 0 0 0 0,0-1 0 0 0,0 0 0 0 0,0 0 0 0 0,0 0 0 0 0,0-1 1 0 0,9-1-1 0 0,-11 1-332 0 0,-1 0 0 0 0,1 0 1 0 0,0 0-1 0 0,0 0 0 0 0,-1 0 0 0 0,1-1 1 0 0,0 1-1 0 0,4-4 0 0 0,-1-1-1370 0 0</inkml:trace>
</inkml:ink>
</file>

<file path=ppt/ink/ink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47.773"/>
    </inkml:context>
    <inkml:brush xml:id="br0">
      <inkml:brushProperty name="width" value="0.1" units="cm"/>
      <inkml:brushProperty name="height" value="0.1" units="cm"/>
    </inkml:brush>
  </inkml:definitions>
  <inkml:trace contextRef="#ctx0" brushRef="#br0">38 286 120 0 0,'-21'-30'4185'0'0,"21"29"-3792"0"0,0 1-361 0 0,-1-1-1 0 0,1 1 1 0 0,0 0-1 0 0,0-1 0 0 0,0 1 1 0 0,-1 0-1 0 0,1-1 0 0 0,0 1 1 0 0,0 0-1 0 0,-1 0 0 0 0,1-1 1 0 0,0 1-1 0 0,-1 0 0 0 0,1 0 1 0 0,0-1-1 0 0,-1 1 1 0 0,1 0-1 0 0,0 0 0 0 0,-1 0 1 0 0,1 0-1 0 0,0-1 0 0 0,-1 1 1 0 0,1 0-1 0 0,0 0 0 0 0,-1 0 1 0 0,1 0-1 0 0,-1 0 1 0 0,1 0-1 0 0,0 0 0 0 0,-1 0 1 0 0,1 0-1 0 0,0 0 0 0 0,-1 0 1 0 0,1 0-1 0 0,-1 1 0 0 0,1-1 1 0 0,0 0-1 0 0,-1 0 1 0 0,1 0-1 0 0,0 0 0 0 0,-1 1 1 0 0,1-1-1 0 0,0 0 0 0 0,-1 0 1 0 0,1 1-1 0 0,0-1 0 0 0,0 0 1 0 0,-1 0-1 0 0,1 1 1 0 0,0-1-1 0 0,0 1 0 0 0,0 2 84 0 0,0-1-1 0 0,0 1 0 0 0,0 0 0 0 0,1-1 1 0 0,0 1-1 0 0,-1 0 0 0 0,1-1 1 0 0,0 1-1 0 0,0-1 0 0 0,1 1 1 0 0,-1-1-1 0 0,0 0 0 0 0,1 1 0 0 0,-1-1 1 0 0,1 0-1 0 0,2 2 0 0 0,0 0 61 0 0,1 0-1 0 0,-1-1 1 0 0,1 1-1 0 0,-1-1 1 0 0,1-1-1 0 0,0 1 1 0 0,8 3-1 0 0,2-1 180 0 0,1 0 1 0 0,0-1-1 0 0,0-1 0 0 0,27 2 0 0 0,-31-4-240 0 0,1 0 0 0 0,-1-1 0 0 0,0-1 0 0 0,0 0 0 0 0,1-1 0 0 0,-1 0 0 0 0,0 0 0 0 0,0-2 0 0 0,-1 1-1 0 0,1-2 1 0 0,-1 1 0 0 0,0-2 0 0 0,0 1 0 0 0,0-2 0 0 0,-1 1 0 0 0,0-1 0 0 0,0-1 0 0 0,-1 0 0 0 0,0 0 0 0 0,0-1 0 0 0,-1 0 0 0 0,0 0 0 0 0,-1-1 0 0 0,0 0 0 0 0,0-1 0 0 0,-1 1-1 0 0,0-1 1 0 0,5-16 0 0 0,16-69-1818 0 0,-12 37-6545 0 0,-12 49 5863 0 0</inkml:trace>
</inkml:ink>
</file>

<file path=ppt/ink/ink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48.415"/>
    </inkml:context>
    <inkml:brush xml:id="br0">
      <inkml:brushProperty name="width" value="0.1" units="cm"/>
      <inkml:brushProperty name="height" value="0.1" units="cm"/>
    </inkml:brush>
  </inkml:definitions>
  <inkml:trace contextRef="#ctx0" brushRef="#br0">39 203 1772 0 0,'-8'-11'1666'0'0,"-14"-14"2145"0"0,20 24-3349 0 0,1 2-372 0 0,1 0-1 0 0,-1 0 0 0 0,0 0 0 0 0,1 1 0 0 0,-1-1 0 0 0,1 0 0 0 0,-1 1 1 0 0,1-1-1 0 0,-1 1 0 0 0,1-1 0 0 0,0 0 0 0 0,0 1 0 0 0,0-1 0 0 0,0 1 1 0 0,0 1-1 0 0,4 26 511 0 0,-3-21-402 0 0,7 32 217 0 0,1-1 0 0 0,29 74 1 0 0,4 17 643 0 0,-41-128-915 0 0,-6-2 3 0 0,5 1-138 0 0,-1-1-1 0 0,1 0 0 0 0,-1 0 1 0 0,0 0-1 0 0,1 0 0 0 0,-1 0 1 0 0,1-1-1 0 0,-1 1 0 0 0,1 0 1 0 0,-1 0-1 0 0,1 0 0 0 0,-1 0 1 0 0,1-1-1 0 0,-1 1 0 0 0,1 0 1 0 0,-1 0-1 0 0,1-1 0 0 0,-1 1 1 0 0,1 0-1 0 0,-1-1 0 0 0,1 1 1 0 0,-1-1-1 0 0,1 1 0 0 0,0 0 1 0 0,-1-1-1 0 0,1 1 0 0 0,-1-1 1 0 0,-7-10-1 0 0,1 0-1 0 0,-1 0 1 0 0,2-1 0 0 0,-1 1 0 0 0,2-1-1 0 0,0-1 1 0 0,0 1 0 0 0,-4-20 0 0 0,2 3-47 0 0,2 0 0 0 0,-2-49 0 0 0,6 62 4 0 0,1-1 0 0 0,1 1 0 0 0,0 0 0 0 0,1 0 0 0 0,1 0 0 0 0,1 0 0 0 0,0 1 0 0 0,1-1 0 0 0,11-23 0 0 0,-13 32-212 0 0,1 1-1 0 0,0-1 1 0 0,0 1-1 0 0,0 0 0 0 0,1 1 1 0 0,-1-1-1 0 0,1 1 1 0 0,1-1-1 0 0,-1 1 1 0 0,1 1-1 0 0,0-1 1 0 0,0 1-1 0 0,0 0 0 0 0,1 1 1 0 0,-1-1-1 0 0,1 1 1 0 0,0 0-1 0 0,0 1 1 0 0,0 0-1 0 0,0 0 1 0 0,0 1-1 0 0,0-1 0 0 0,11 1 1 0 0,-1 2-1692 0 0,-1 1-146 0 0</inkml:trace>
</inkml:ink>
</file>

<file path=ppt/ink/ink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48.912"/>
    </inkml:context>
    <inkml:brush xml:id="br0">
      <inkml:brushProperty name="width" value="0.1" units="cm"/>
      <inkml:brushProperty name="height" value="0.1" units="cm"/>
    </inkml:brush>
  </inkml:definitions>
  <inkml:trace contextRef="#ctx0" brushRef="#br0">67 230 260 0 0,'-21'24'2780'0'0,"11"-14"-1222"0"0,1 1 1 0 0,0 0 0 0 0,-8 13 0 0 0,17-23-1515 0 0,0-1 0 0 0,0 0 0 0 0,0 0 0 0 0,0 1 0 0 0,0-1 0 0 0,0 0 0 0 0,0 1 0 0 0,0-1 0 0 0,0 0 0 0 0,0 0 1 0 0,0 1-1 0 0,0-1 0 0 0,0 0 0 0 0,0 1 0 0 0,0-1 0 0 0,0 0 0 0 0,0 1 0 0 0,0-1 0 0 0,0 0 0 0 0,0 0 0 0 0,0 1 0 0 0,0-1 0 0 0,0 0 0 0 0,1 0 0 0 0,-1 1 1 0 0,0-1-1 0 0,0 0 0 0 0,0 0 0 0 0,1 1 0 0 0,-1-1 0 0 0,0 0 0 0 0,0 0 0 0 0,0 0 0 0 0,1 1 0 0 0,-1-1 0 0 0,0 0 0 0 0,1 0 0 0 0,-1 0 0 0 0,0 0 0 0 0,0 0 1 0 0,1 0-1 0 0,-1 0 0 0 0,1 1 0 0 0,11 1 424 0 0,-11-1-458 0 0,13-1 198 0 0,0 0-1 0 0,0-1 0 0 0,0 0 1 0 0,0-1-1 0 0,14-4 0 0 0,-1 1-62 0 0,29-4-262 0 0,-1-2 1 0 0,0-3 0 0 0,-1-3 0 0 0,0-1 0 0 0,-2-3 0 0 0,55-31 0 0 0,-64 32-96 0 0,-40 19 174 0 0,-1 1-15 0 0,-1 0 53 0 0,0 0 0 0 0,0 0-1 0 0,0 0 1 0 0,0 0 0 0 0,0 0 0 0 0,0 1-1 0 0,0-1 1 0 0,0 0 0 0 0,0 1 0 0 0,0-1 0 0 0,-1 0-1 0 0,1 1 1 0 0,0-1 0 0 0,0 1 0 0 0,0-1-1 0 0,0 1 1 0 0,-1 0 0 0 0,1-1 0 0 0,0 1-1 0 0,-1 0 1 0 0,1 0 0 0 0,-1-1 0 0 0,1 1-1 0 0,0 0 1 0 0,-1 0 0 0 0,0 0 0 0 0,1 0 0 0 0,-1 0-1 0 0,1-1 1 0 0,-1 1 0 0 0,0 0 0 0 0,0 0-1 0 0,0 0 1 0 0,1 0 0 0 0,-1 0 0 0 0,0 0-1 0 0,0 0 1 0 0,0 0 0 0 0,-1 2 0 0 0,1 2 2 0 0,5 21 913 0 0,0 50 0 0 0,-5-74-274 0 0,2 2 292 0 0,0 0-191 0 0,1-11-76 0 0,51-128-109 0 0,-45 116-616 0 0,1 1 0 0 0,1-1-1 0 0,1 2 1 0 0,27-32 0 0 0,-37 46 42 0 0,0 1-1 0 0,0 0 1 0 0,1 0 0 0 0,-1 0 0 0 0,1 0 0 0 0,-1 0-1 0 0,1 1 1 0 0,-1-1 0 0 0,1 1 0 0 0,0 0-1 0 0,0-1 1 0 0,0 1 0 0 0,0 1 0 0 0,0-1-1 0 0,0 0 1 0 0,0 1 0 0 0,0-1 0 0 0,0 1 0 0 0,0 0-1 0 0,0 0 1 0 0,0 0 0 0 0,0 1 0 0 0,0-1-1 0 0,5 2 1 0 0,-2 0-67 0 0,-1 0 0 0 0,0 1-1 0 0,0-1 1 0 0,0 1-1 0 0,0 1 1 0 0,-1-1 0 0 0,1 0-1 0 0,-1 1 1 0 0,0 0 0 0 0,0 0-1 0 0,0 1 1 0 0,5 7-1 0 0,-4-5-463 0 0,0 0-1 0 0,-1 1 0 0 0,0-1 0 0 0,-1 1 0 0 0,1 0 0 0 0,3 14 0 0 0,-6-17-254 0 0,0 1 0 0 0,0-1 0 0 0,-1 1 0 0 0,1-1-1 0 0,-1 1 1 0 0,-1-1 0 0 0,0 6 0 0 0,1-2-2029 0 0</inkml:trace>
</inkml:ink>
</file>

<file path=ppt/ink/ink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49.364"/>
    </inkml:context>
    <inkml:brush xml:id="br0">
      <inkml:brushProperty name="width" value="0.1" units="cm"/>
      <inkml:brushProperty name="height" value="0.1" units="cm"/>
    </inkml:brush>
  </inkml:definitions>
  <inkml:trace contextRef="#ctx0" brushRef="#br0">1 269 1148 0 0,'1'-2'294'0'0,"0"0"1"0"0,1 0-1 0 0,-1 0 0 0 0,1 0 1 0 0,-1 0-1 0 0,1 1 0 0 0,0-1 1 0 0,-1 0-1 0 0,1 1 0 0 0,0 0 1 0 0,0-1-1 0 0,0 1 0 0 0,3-1 0 0 0,-4 1-170 0 0,0 1-1 0 0,0 0 0 0 0,1 0 0 0 0,-1-1 0 0 0,0 1 1 0 0,0 0-1 0 0,1 0 0 0 0,-1 0 0 0 0,0 0 0 0 0,0 1 0 0 0,0-1 1 0 0,1 0-1 0 0,-1 0 0 0 0,0 1 0 0 0,0-1 0 0 0,0 1 1 0 0,0-1-1 0 0,2 2 0 0 0,2 1 92 0 0,-1 1-1 0 0,-1-1 1 0 0,1 1 0 0 0,-1 0-1 0 0,1 0 1 0 0,-1 1 0 0 0,0-1-1 0 0,0 1 1 0 0,-1-1 0 0 0,3 6-1 0 0,3 9 206 0 0,0 0 0 0 0,-1 0 0 0 0,-1 0 0 0 0,-1 1-1 0 0,-1-1 1 0 0,0 1 0 0 0,-2 0 0 0 0,0 1 0 0 0,-2 27 0 0 0,0-48-360 0 0,0 1 0 0 0,0 0 0 0 0,0 0 0 0 0,0 0 0 0 0,0 0 0 0 0,0 0 1 0 0,-1 0-1 0 0,1-1 0 0 0,0 1 0 0 0,-1 0 0 0 0,1 0 0 0 0,0 0 0 0 0,-1 0 0 0 0,1-1 1 0 0,-1 1-1 0 0,1 0 0 0 0,-1-1 0 0 0,1 1 0 0 0,-1 0 0 0 0,0-1 0 0 0,1 1 1 0 0,-1-1-1 0 0,0 1 0 0 0,0-1 0 0 0,1 1 0 0 0,-1-1 0 0 0,0 1 0 0 0,0-1 0 0 0,0 0 1 0 0,1 1-1 0 0,-1-1 0 0 0,0 0 0 0 0,0 0 0 0 0,0 0 0 0 0,0 0 0 0 0,0 0 1 0 0,0 0-1 0 0,1 0 0 0 0,-3 0 0 0 0,1 0-22 0 0,0-1 0 0 0,0 0 0 0 0,0 1 0 0 0,0-1 0 0 0,0 0 0 0 0,0 0 0 0 0,1 0-1 0 0,-1 0 1 0 0,0 0 0 0 0,1 0 0 0 0,-1-1 0 0 0,0 1 0 0 0,1 0 0 0 0,0-1 0 0 0,-1 0 0 0 0,1 1 0 0 0,-2-3 0 0 0,-1-5-67 0 0,0 0 0 0 0,0 0 1 0 0,1-1-1 0 0,0 1 0 0 0,1-1 0 0 0,0 1 1 0 0,0-1-1 0 0,1 0 0 0 0,0-16 0 0 0,2 1-175 0 0,0-1 0 0 0,9-38-1 0 0,-6 43 57 0 0,2-1 0 0 0,0 1 0 0 0,2 1 0 0 0,0-1 0 0 0,1 1 0 0 0,17-26 0 0 0,-20 36 36 0 0,1 0-1 0 0,0 0 1 0 0,1 0 0 0 0,0 1-1 0 0,0 0 1 0 0,1 1-1 0 0,0 0 1 0 0,1 0-1 0 0,0 1 1 0 0,0 0-1 0 0,0 1 1 0 0,1 0-1 0 0,11-5 1 0 0,-19 10 73 0 0,-1 1 1 0 0,1-1-1 0 0,0 0 1 0 0,0 1-1 0 0,0-1 0 0 0,-1 1 1 0 0,1 0-1 0 0,0 0 1 0 0,0 0-1 0 0,0 0 0 0 0,0 0 1 0 0,-1 1-1 0 0,1-1 1 0 0,4 2-1 0 0,-6-1 33 0 0,0-1 0 0 0,0 1 0 0 0,0 0 0 0 0,0-1 0 0 0,0 1 0 0 0,-1 0 0 0 0,1-1 0 0 0,0 1 0 0 0,0 0 0 0 0,-1 0-1 0 0,1 0 1 0 0,-1-1 0 0 0,1 1 0 0 0,0 0 0 0 0,-1 0 0 0 0,0 0 0 0 0,1 0 0 0 0,-1 0 0 0 0,0 0 0 0 0,1 0 0 0 0,-1 0 0 0 0,0 0 0 0 0,0 0 0 0 0,0 1 0 0 0,0-1 0 0 0,0 0 0 0 0,0 0 0 0 0,0 0 0 0 0,0 0 0 0 0,0 0 0 0 0,-1 0 0 0 0,1 0-1 0 0,0 0 1 0 0,-1 0 0 0 0,1 0 0 0 0,-1 0 0 0 0,1 0 0 0 0,-2 1 0 0 0,-3 9-22 0 0,-2 0 1 0 0,1 0-1 0 0,-2-1 0 0 0,1 0 0 0 0,-1 0 0 0 0,-1 0 0 0 0,0-1 1 0 0,-12 9-1 0 0,-87 59-1515 0 0,81-59 619 0 0,18-13 374 0 0,-21 15-999 0 0,10-10-2579 0 0</inkml:trace>
</inkml:ink>
</file>

<file path=ppt/ink/ink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49.888"/>
    </inkml:context>
    <inkml:brush xml:id="br0">
      <inkml:brushProperty name="width" value="0.1" units="cm"/>
      <inkml:brushProperty name="height" value="0.1" units="cm"/>
    </inkml:brush>
  </inkml:definitions>
  <inkml:trace contextRef="#ctx0" brushRef="#br0">1 338 744 0 0,'2'1'350'0'0,"1"0"-1"0"0,0 0 1 0 0,0 1-1 0 0,-1-1 1 0 0,1 1 0 0 0,0 0-1 0 0,-1 0 1 0 0,0 0-1 0 0,1 0 1 0 0,-1 0-1 0 0,3 4 1 0 0,20 32 2263 0 0,2 1-986 0 0,-24-35-1563 0 0,0-1 1 0 0,0 0-1 0 0,1 0 0 0 0,-1 0 1 0 0,1 0-1 0 0,0-1 1 0 0,0 1-1 0 0,0-1 1 0 0,0 0-1 0 0,0 0 0 0 0,0-1 1 0 0,0 1-1 0 0,1-1 1 0 0,-1 0-1 0 0,0 0 0 0 0,1 0 1 0 0,-1-1-1 0 0,1 0 1 0 0,-1 0-1 0 0,1 0 0 0 0,6-1 1 0 0,-4 0-81 0 0,-1-1 1 0 0,0 0 0 0 0,0 0-1 0 0,0-1 1 0 0,-1 1-1 0 0,1-1 1 0 0,-1-1 0 0 0,1 1-1 0 0,-1-1 1 0 0,0 0 0 0 0,0 0-1 0 0,0 0 1 0 0,-1-1-1 0 0,8-9 1 0 0,4-10 36 0 0,0 1 0 0 0,21-46 0 0 0,-37 67 282 0 0,6 37 687 0 0,-4-32-945 0 0,-1 0 0 0 0,1-1 0 0 0,-1 1 0 0 0,1-1 0 0 0,0 0 0 0 0,0 0 0 0 0,0 0 1 0 0,0 0-1 0 0,1 0 0 0 0,-1 0 0 0 0,1 0 0 0 0,-1-1 0 0 0,1 1 0 0 0,-1-1 0 0 0,1 0 0 0 0,0 1 0 0 0,-1-1 0 0 0,1 0 0 0 0,0-1 0 0 0,0 1 0 0 0,0-1 0 0 0,0 1 0 0 0,0-1 0 0 0,0 0 0 0 0,0 0 0 0 0,0 0 1 0 0,0 0-1 0 0,0-1 0 0 0,0 1 0 0 0,-1-1 0 0 0,1 0 0 0 0,3-1 0 0 0,0 0-31 0 0,0 0 0 0 0,-1 0 1 0 0,0-1-1 0 0,1 0 0 0 0,-1 0 0 0 0,0-1 1 0 0,0 1-1 0 0,-1-1 0 0 0,1 0 0 0 0,-1 0 1 0 0,0-1-1 0 0,0 1 0 0 0,0-1 0 0 0,-1 0 1 0 0,1 0-1 0 0,-1 0 0 0 0,0 0 0 0 0,-1-1 1 0 0,1 1-1 0 0,-1-1 0 0 0,2-9 0 0 0,3-10-24 0 0,-2-1 0 0 0,0 0-1 0 0,0-39 1 0 0,-4 59 2 0 0,0-109 1014 0 0,-2 111-497 0 0,-3 15-223 0 0,-2 17-35 0 0,7 47-205 0 0,3-1 1 0 0,23 128-1 0 0,-12-97-5635 0 0,-10-87 1402 0 0</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21.044"/>
    </inkml:context>
    <inkml:brush xml:id="br0">
      <inkml:brushProperty name="width" value="0.1" units="cm"/>
      <inkml:brushProperty name="height" value="0.1" units="cm"/>
    </inkml:brush>
  </inkml:definitions>
  <inkml:trace contextRef="#ctx0" brushRef="#br0">405 1288 8 0 0,'-9'-5'2746'0'0,"-5"-3"-1535"0"0,13 8-814 0 0,7 9-274 0 0,-1-4-78 0 0,1 0 0 0 0,1-1 0 0 0,-1 0 0 0 0,1 0 0 0 0,0 0 0 0 0,-1-1 0 0 0,2 0 0 0 0,8 3 0 0 0,3 1 31 0 0,56 21 63 0 0,1-3 1 0 0,0-4-1 0 0,109 17 0 0 0,-55-21-24 0 0,167 0-1 0 0,-40-26-32 0 0,-213 3-64 0 0,0-1 1 0 0,-1-1 0 0 0,78-28 0 0 0,-97 27-12 0 0,-1-2 1 0 0,0 0 0 0 0,-1-2 0 0 0,0 0-1 0 0,-1-1 1 0 0,-1-1 0 0 0,0-1 0 0 0,-1-1 0 0 0,17-20-1 0 0,-23 21 89 0 0,0 0 0 0 0,-1 0 0 0 0,-1-1 0 0 0,-1-1 0 0 0,0 1 0 0 0,-1-2 0 0 0,-1 1 0 0 0,-1-1 0 0 0,0-1 0 0 0,-2 1 0 0 0,6-38 0 0 0,-7 15-44 0 0,-2 1 0 0 0,-2-1 1 0 0,-2 0-1 0 0,-10-60 0 0 0,-49-161-92 0 0,51 231 17 0 0,-1-1-1 0 0,-2 2 1 0 0,-21-40 0 0 0,23 52 8 0 0,-1 0 0 0 0,-1 2 0 0 0,0 0 0 0 0,-1 0 0 0 0,-1 1 0 0 0,-21-18 0 0 0,13 16-2 0 0,0 1 0 0 0,-1 1 1 0 0,0 1-1 0 0,-1 2 0 0 0,-1 0 0 0 0,-50-17 0 0 0,39 19 7 0 0,0 2 1 0 0,-1 2-1 0 0,0 1 1 0 0,-58-2-1 0 0,17 9 28 0 0,-1 4 0 0 0,1 3 0 0 0,0 4 0 0 0,-103 29 0 0 0,111-22-18 0 0,2 3-1 0 0,0 3 1 0 0,2 3 0 0 0,1 2 0 0 0,-102 66 0 0 0,127-69 5 0 0,2 2 0 0 0,1 2 0 0 0,1 1 1 0 0,2 2-1 0 0,1 1 0 0 0,2 2 0 0 0,1 2 0 0 0,2 0 0 0 0,-32 59 0 0 0,51-78 2 0 0,0 1 0 0 0,1 0 0 0 0,2 1 0 0 0,0 0-1 0 0,1 0 1 0 0,1 0 0 0 0,1 0 0 0 0,1 1 0 0 0,2 0-1 0 0,0 0 1 0 0,1-1 0 0 0,1 1 0 0 0,1 0 0 0 0,1 0-1 0 0,1-1 1 0 0,1 0 0 0 0,1 0 0 0 0,1 0 0 0 0,10 21-1 0 0,-2-11 39 0 0,1 0 0 0 0,1-1-1 0 0,2-1 1 0 0,1-1-1 0 0,2-1 1 0 0,0 0 0 0 0,2-2-1 0 0,1 0 1 0 0,1-2 0 0 0,1-1-1 0 0,1-1 1 0 0,42 24-1 0 0,-41-28 5 0 0,1-2 0 0 0,1-2-1 0 0,0 0 1 0 0,1-2 0 0 0,1-2-1 0 0,-1-1 1 0 0,2-1 0 0 0,-1-2-1 0 0,1-1 1 0 0,0-2 0 0 0,0-1-1 0 0,66-5 1 0 0,-81 0 28 0 0,0 0-1 0 0,33-10 0 0 0,-44 10-537 0 0,0 0-1 0 0,-1 0 0 0 0,1 0 1 0 0,-1-1-1 0 0,0 0 0 0 0,0-1 0 0 0,-1 1 1 0 0,1-1-1 0 0,6-7 0 0 0,-6 3-1230 0 0</inkml:trace>
</inkml:ink>
</file>

<file path=ppt/ink/ink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50.291"/>
    </inkml:context>
    <inkml:brush xml:id="br0">
      <inkml:brushProperty name="width" value="0.1" units="cm"/>
      <inkml:brushProperty name="height" value="0.1" units="cm"/>
    </inkml:brush>
  </inkml:definitions>
  <inkml:trace contextRef="#ctx0" brushRef="#br0">0 114 512 0 0,'2'-4'334'0'0,"-1"-1"0"0"0,1 1 0 0 0,-1 0 0 0 0,1 0 0 0 0,1 0 0 0 0,-1 0-1 0 0,0 0 1 0 0,1 0 0 0 0,0 1 0 0 0,0-1 0 0 0,0 1 0 0 0,0 0 0 0 0,1 0 0 0 0,-1 0 0 0 0,1 0 0 0 0,0 1 0 0 0,0-1-1 0 0,0 1 1 0 0,5-2 0 0 0,5-3-60 0 0,1 1 0 0 0,0 0 0 0 0,1 1 0 0 0,17-3-1 0 0,-13 4-353 0 0,0 1-1 0 0,30-1 0 0 0,-40 4-973 0 0,0 0 0 0 0,0 1-1 0 0,18 5 1 0 0</inkml:trace>
</inkml:ink>
</file>

<file path=ppt/ink/ink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51.239"/>
    </inkml:context>
    <inkml:brush xml:id="br0">
      <inkml:brushProperty name="width" value="0.1" units="cm"/>
      <inkml:brushProperty name="height" value="0.1" units="cm"/>
    </inkml:brush>
  </inkml:definitions>
  <inkml:trace contextRef="#ctx0" brushRef="#br0">2 159 720 0 0,'-1'-7'5805'0'0,"0"23"-5128"0"0,2 1-1 0 0,0-1 0 0 0,1 1 0 0 0,0-1 1 0 0,2 0-1 0 0,0 0 0 0 0,7 20 0 0 0,2 6-108 0 0,12 42 1233 0 0,-24-82-1254 0 0,10-20-807 0 0,27-183-2525 0 0,-38 200 2779 0 0,0 0 0 0 0,0 1 1 0 0,1-1-1 0 0,-1 0 0 0 0,0 0 1 0 0,0 0-1 0 0,0 0 0 0 0,0 1 0 0 0,1-1 1 0 0,-1 0-1 0 0,0 0 0 0 0,1 0 1 0 0,-1 1-1 0 0,1-1 0 0 0,-1 0 1 0 0,1 1-1 0 0,-1-1 0 0 0,1 0 1 0 0,-1 1-1 0 0,1-1 0 0 0,-1 1 0 0 0,1-1 1 0 0,0 1-1 0 0,0-1 0 0 0,-1 1 1 0 0,1-1-1 0 0,0 1 0 0 0,0 0 1 0 0,-1-1-1 0 0,1 1 0 0 0,0 0 1 0 0,0 0-1 0 0,0-1 0 0 0,-1 1 0 0 0,1 0 1 0 0,0 0-1 0 0,0 0 0 0 0,1 0 1 0 0,2 1 51 0 0,0 0 1 0 0,1 1-1 0 0,-1-1 0 0 0,0 1 1 0 0,0 0-1 0 0,5 3 1 0 0,5 2 93 0 0,-7-4-109 0 0,0-1 0 0 0,0 0 0 0 0,0 0 0 0 0,0-1-1 0 0,0 0 1 0 0,0 0 0 0 0,0 0 0 0 0,0-1 0 0 0,0 0 0 0 0,1 0 0 0 0,-1-1-1 0 0,0 0 1 0 0,0 0 0 0 0,0-1 0 0 0,0 0 0 0 0,10-4 0 0 0,3-4 101 0 0,0-1 0 0 0,0 0 1 0 0,32-27-1 0 0,-24 18 404 0 0,-27 19-510 0 0,0-1 0 0 0,1 1 0 0 0,-1 0 1 0 0,1 0-1 0 0,-1 0 0 0 0,1 1 1 0 0,-1-1-1 0 0,1 0 0 0 0,0 1 0 0 0,-1-1 1 0 0,1 1-1 0 0,0-1 0 0 0,-1 1 1 0 0,5-1-1 0 0,-6 2-20 0 0,1-1 0 0 0,0 1 0 0 0,0 0 0 0 0,0-1 0 0 0,-1 1 0 0 0,1 0 0 0 0,0-1 0 0 0,-1 1 0 0 0,1 0 0 0 0,0 0 0 0 0,-1 0 0 0 0,1 0 0 0 0,-1-1 0 0 0,1 1 0 0 0,-1 0 0 0 0,0 0 0 0 0,1 0 0 0 0,-1 0 0 0 0,0 0 0 0 0,0 0 0 0 0,0 0 0 0 0,0 0 0 0 0,0 0 0 0 0,0 0 0 0 0,0 0 0 0 0,0 2 0 0 0,2 19 31 0 0,0 0 0 0 0,2 0 1 0 0,1-1-1 0 0,0 0 0 0 0,2 1 1 0 0,0-2-1 0 0,10 21 0 0 0,-13-34-123 0 0,0 1 0 0 0,1-1 0 0 0,0 0-1 0 0,0-1 1 0 0,1 1 0 0 0,-1-1 0 0 0,1 0 0 0 0,1-1 0 0 0,8 7 0 0 0,-9-8-44 0 0,-1-1 1 0 0,1 0 0 0 0,0-1-1 0 0,0 1 1 0 0,0-1 0 0 0,0 0 0 0 0,0-1-1 0 0,1 1 1 0 0,-1-1 0 0 0,1 0 0 0 0,-1-1-1 0 0,1 0 1 0 0,9-1 0 0 0,-7 0-69 0 0,1-1 1 0 0,-1 0-1 0 0,0 0 0 0 0,0-1 1 0 0,0 0-1 0 0,-1-1 1 0 0,1 0-1 0 0,-1 0 0 0 0,0-1 1 0 0,0 0-1 0 0,0-1 1 0 0,7-6-1 0 0,-11 8 167 0 0,1 0 0 0 0,0 0 0 0 0,-1-1 1 0 0,0 1-1 0 0,0-1 0 0 0,-1 0 0 0 0,1-1 0 0 0,-1 1 0 0 0,0-1 0 0 0,0 1 0 0 0,-1-1 1 0 0,0 0-1 0 0,0 0 0 0 0,0 0 0 0 0,0 0 0 0 0,-1 0 0 0 0,0 0 0 0 0,-1 0 0 0 0,1-8 0 0 0,-1 13 69 0 0,0-1 0 0 0,-1 0 0 0 0,1 1 0 0 0,0-1 0 0 0,-1 0-1 0 0,1 1 1 0 0,-1-1 0 0 0,1 0 0 0 0,-1 1 0 0 0,0-1 0 0 0,1 1-1 0 0,-1-1 1 0 0,0 1 0 0 0,0 0 0 0 0,0-1 0 0 0,-1 1 0 0 0,1 0-1 0 0,0 0 1 0 0,0-1 0 0 0,-1 1 0 0 0,1 0 0 0 0,0 0 0 0 0,-1 1-1 0 0,1-1 1 0 0,-1 0 0 0 0,1 0 0 0 0,-1 1 0 0 0,0-1 0 0 0,1 1-1 0 0,-1-1 1 0 0,0 1 0 0 0,-1-1 0 0 0,-2 1 32 0 0,-1 0 0 0 0,1 0 0 0 0,0 0 0 0 0,-1 1 0 0 0,1-1 0 0 0,0 1 0 0 0,-1 0 0 0 0,1 1 0 0 0,-7 2 0 0 0,8-2-42 0 0,-1 0-1 0 0,1 0 0 0 0,0 0 1 0 0,0 1-1 0 0,1-1 1 0 0,-1 1-1 0 0,0 0 0 0 0,1 0 1 0 0,0 0-1 0 0,-1 0 0 0 0,1 1 1 0 0,1-1-1 0 0,-1 1 0 0 0,0 0 1 0 0,1 0-1 0 0,0 0 1 0 0,0 0-1 0 0,0 0 0 0 0,-2 8 1 0 0,4-11-28 0 0,0 0 1 0 0,0 0 0 0 0,-1 0-1 0 0,1 0 1 0 0,0 0 0 0 0,0 0 0 0 0,1 0-1 0 0,-1 0 1 0 0,0 0 0 0 0,0 0-1 0 0,1 0 1 0 0,-1 0 0 0 0,0 0-1 0 0,1 0 1 0 0,-1 0 0 0 0,1 0 0 0 0,-1 0-1 0 0,1 0 1 0 0,-1 0 0 0 0,1 0-1 0 0,0-1 1 0 0,-1 1 0 0 0,1 0-1 0 0,0 0 1 0 0,0-1 0 0 0,0 1 0 0 0,-1-1-1 0 0,1 1 1 0 0,0-1 0 0 0,0 1-1 0 0,0-1 1 0 0,0 1 0 0 0,0-1-1 0 0,0 0 1 0 0,0 1 0 0 0,0-1-1 0 0,0 0 1 0 0,2 0 0 0 0,2 1-68 0 0,0-1 0 0 0,0 1 0 0 0,0-1 0 0 0,0-1 1 0 0,7 0-1 0 0,-1-2 17 0 0,1 0 1 0 0,0-1-1 0 0,-1 0 1 0 0,0-1 0 0 0,21-12-1 0 0,21-9 1095 0 0,-52 26-971 0 0,18 2 57 0 0,-14-1-67 0 0,-1 0 0 0 0,1-1 0 0 0,0 0 0 0 0,-1 0 0 0 0,10 0 0 0 0,-8-2-61 0 0,-1 1-1 0 0,1-1 1 0 0,-1 0-1 0 0,0-1 1 0 0,1 1 0 0 0,-1-1-1 0 0,0 0 1 0 0,-1-1-1 0 0,1 1 1 0 0,0-1 0 0 0,-1 0-1 0 0,0 0 1 0 0,0 0-1 0 0,0 0 1 0 0,0-1 0 0 0,-1 1-1 0 0,0-1 1 0 0,0 0-1 0 0,3-6 1 0 0,5-14-21 0 0,0 1-1 0 0,-2-2 1 0 0,6-25 0 0 0,3-9 1151 0 0,-17 58-999 0 0,0 3-125 0 0,-1-1 0 0 0,1 0 1 0 0,-1 1-1 0 0,1-1 1 0 0,-1 1-1 0 0,0-1 1 0 0,1 0-1 0 0,-1 1 1 0 0,1-1-1 0 0,-1 1 0 0 0,0 0 1 0 0,1-1-1 0 0,-1 1 1 0 0,0-1-1 0 0,0 1 1 0 0,1-1-1 0 0,-1 1 1 0 0,0 0-1 0 0,0-1 0 0 0,0 1 1 0 0,0 0-1 0 0,0-1 1 0 0,0 2-1 0 0,2 19 116 0 0,-1-15-82 0 0,5 38 179 0 0,-1-5-1130 0 0,1 48 1 0 0,-6-83 493 0 0,-2 39-1879 0 0,1-40 1547 0 0,1 0-1 0 0,-1 1 1 0 0,0-1-1 0 0,0 0 1 0 0,-1 0 0 0 0,-2 5-1 0 0,-1 1-1059 0 0</inkml:trace>
</inkml:ink>
</file>

<file path=ppt/ink/ink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51.584"/>
    </inkml:context>
    <inkml:brush xml:id="br0">
      <inkml:brushProperty name="width" value="0.1" units="cm"/>
      <inkml:brushProperty name="height" value="0.1" units="cm"/>
    </inkml:brush>
  </inkml:definitions>
  <inkml:trace contextRef="#ctx0" brushRef="#br0">0 277 616 0 0,'2'-6'432'0'0,"0"0"0"0"0,0 0 0 0 0,0 0 0 0 0,1 0 0 0 0,0 1 0 0 0,0-1 0 0 0,0 1 0 0 0,1 0 0 0 0,0 0 0 0 0,0 0 0 0 0,0 1-1 0 0,0-1 1 0 0,1 1 0 0 0,0 0 0 0 0,0 0 0 0 0,10-6 0 0 0,8-3-8 0 0,0 1 0 0 0,42-14 0 0 0,-57 22-170 0 0,-2 2-169 0 0,0 0 1 0 0,-1 1 0 0 0,1-1-1 0 0,0 1 1 0 0,0 0-1 0 0,0 1 1 0 0,0-1 0 0 0,0 1-1 0 0,0 0 1 0 0,0 1-1 0 0,0-1 1 0 0,0 1 0 0 0,0 1-1 0 0,0-1 1 0 0,9 4-1 0 0,-11-3-54 0 0,-1 0-1 0 0,1 0 1 0 0,-1 0-1 0 0,0 0 1 0 0,0 1-1 0 0,0-1 1 0 0,0 1-1 0 0,-1-1 1 0 0,1 1-1 0 0,-1 0 1 0 0,1 0-1 0 0,-1 0 1 0 0,0 1-1 0 0,0-1 1 0 0,0 0-1 0 0,-1 1 1 0 0,1-1-1 0 0,-1 1 1 0 0,0 0-1 0 0,0-1 1 0 0,0 1-1 0 0,0 0 1 0 0,-1 0-1 0 0,0 0 1 0 0,0 6-1 0 0,0-3-334 0 0,0 0 1 0 0,-1-1-1 0 0,0 1 0 0 0,-3 11 1 0 0,3-14-485 0 0,0-1 1 0 0,0 1 0 0 0,-1-1 0 0 0,0 1 0 0 0,0-1 0 0 0,-3 5 0 0 0,-2 0-1428 0 0</inkml:trace>
  <inkml:trace contextRef="#ctx0" brushRef="#br0" timeOffset="1">278 89 776 0 0,'-5'-13'1472'0'0,"5"3"-392"0"0,-3 0-180 0 0,1 3-236 0 0,-1-2-100 0 0,1 0 153 0 0,1-4-701 0 0,-4 3-941 0 0,2 3-1235 0 0</inkml:trace>
</inkml:ink>
</file>

<file path=ppt/ink/ink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51.981"/>
    </inkml:context>
    <inkml:brush xml:id="br0">
      <inkml:brushProperty name="width" value="0.1" units="cm"/>
      <inkml:brushProperty name="height" value="0.1" units="cm"/>
    </inkml:brush>
  </inkml:definitions>
  <inkml:trace contextRef="#ctx0" brushRef="#br0">1 0 1124 0 0,'12'11'1147'0'0,"-1"1"0"0"0,0 0 0 0 0,-1 0 0 0 0,0 1 0 0 0,-1 0 0 0 0,16 29 0 0 0,-21-33-1014 0 0,0 0-1 0 0,-1 0 1 0 0,0 0-1 0 0,-1 1 1 0 0,1-1-1 0 0,-2 1 1 0 0,1-1-1 0 0,-1 1 1 0 0,-1 0-1 0 0,0-1 1 0 0,0 1-1 0 0,-4 17 1 0 0,4-16 549 0 0,5-19-428 0 0,8-11-393 0 0,173-171 142 0 0,-185 188 43 0 0,1 0 0 0 0,-1 0 1 0 0,1 0-1 0 0,-1 1 0 0 0,1-1 1 0 0,0 1-1 0 0,-1-1 0 0 0,1 1 1 0 0,0-1-1 0 0,0 1 0 0 0,0 0 1 0 0,0 0-1 0 0,0 0 0 0 0,0 0 1 0 0,1 1-1 0 0,-1-1 0 0 0,0 0 1 0 0,0 1-1 0 0,1-1 0 0 0,-1 1 1 0 0,0 0-1 0 0,1 0 0 0 0,3 0 1 0 0,-4 2-22 0 0,-1-1 1 0 0,1 1-1 0 0,-1-1 1 0 0,1 1-1 0 0,-1-1 1 0 0,0 1-1 0 0,0 0 1 0 0,0 0-1 0 0,0 0 1 0 0,0-1-1 0 0,0 1 1 0 0,0 0-1 0 0,0 0 1 0 0,0 4-1 0 0,0-3 16 0 0,2 7-208 0 0,0 0 1 0 0,-1 1-1 0 0,0-1 1 0 0,-1 1-1 0 0,0-1 1 0 0,-1 21-1 0 0,-1-21-1187 0 0,0 0 0 0 0,-1 0-1 0 0,0-1 1 0 0,-4 13-1 0 0,2-11-1514 0 0</inkml:trace>
</inkml:ink>
</file>

<file path=ppt/ink/ink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52.353"/>
    </inkml:context>
    <inkml:brush xml:id="br0">
      <inkml:brushProperty name="width" value="0.1" units="cm"/>
      <inkml:brushProperty name="height" value="0.1" units="cm"/>
    </inkml:brush>
  </inkml:definitions>
  <inkml:trace contextRef="#ctx0" brushRef="#br0">31 139 164 0 0,'-3'-16'2076'0'0,"-2"1"-308"0"0,2 0-460 0 0,-2 2-171 0 0,1 2-345 0 0,1-1-28 0 0,0 2-284 0 0,1 1 0 0 0,-1 1-412 0 0,3-4-464 0 0,8 3-740 0 0,10 5-900 0 0,-2 1 307 0 0,0 2 393 0 0</inkml:trace>
  <inkml:trace contextRef="#ctx0" brushRef="#br0" timeOffset="1">450 66 1168 0 0,'3'4'446'0'0,"-1"1"0"0"0,0-1 0 0 0,0 1 0 0 0,-1-1 0 0 0,1 1 0 0 0,-1 0 0 0 0,0 0 0 0 0,0 0 0 0 0,-1 0 0 0 0,1 0 1 0 0,-1 0-1 0 0,0-1 0 0 0,0 1 0 0 0,-1 0 0 0 0,0 0 0 0 0,1 0 0 0 0,-3 6 0 0 0,-1 3-264 0 0,-1 1 1 0 0,0-2-1 0 0,0 1 1 0 0,-13 21 0 0 0,14-29-698 0 0,-1 1 1 0 0,1-1 0 0 0,-1 0 0 0 0,-1-1-1 0 0,1 1 1 0 0,-1-1 0 0 0,0 0 0 0 0,0 0-1 0 0,-12 6 1 0 0,3-2-2049 0 0</inkml:trace>
  <inkml:trace contextRef="#ctx0" brushRef="#br0" timeOffset="2">260 281 1072 0 0,'24'-10'6932'0'0,"-11"11"-6467"0"0,0 0 0 0 0,0 1-1 0 0,0 1 1 0 0,-1 0 0 0 0,1 1 0 0 0,-1 0-1 0 0,0 1 1 0 0,13 7 0 0 0,11 7-579 0 0,43 31-1 0 0,-32-11-1835 0 0,-21-10-2531 0 0,-20-17 1358 0 0</inkml:trace>
</inkml:ink>
</file>

<file path=ppt/ink/ink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53.106"/>
    </inkml:context>
    <inkml:brush xml:id="br0">
      <inkml:brushProperty name="width" value="0.1" units="cm"/>
      <inkml:brushProperty name="height" value="0.1" units="cm"/>
    </inkml:brush>
  </inkml:definitions>
  <inkml:trace contextRef="#ctx0" brushRef="#br0">95 162 1212 0 0,'-7'10'2065'0'0,"4"2"-1543"0"0,-1-1 1 0 0,2 0-1 0 0,0 1 0 0 0,0-1 0 0 0,1 1 1 0 0,1 0-1 0 0,0-1 0 0 0,1 14 0 0 0,0 3 311 0 0,0 11 6 0 0,0-22 188 0 0,-1 1 0 0 0,-2 20 1 0 0,2-36-608 0 0,-13-2 436 0 0,8-4-814 0 0,0 0 0 0 0,1-1 0 0 0,0 1 0 0 0,0-1 0 0 0,0 0 0 0 0,0 0-1 0 0,1 0 1 0 0,0-1 0 0 0,0 1 0 0 0,0-1 0 0 0,1 0 0 0 0,0 0 0 0 0,0 0 0 0 0,-1-8-1 0 0,-1-4-33 0 0,1 1-1 0 0,0 0 0 0 0,2-1 0 0 0,0-18 0 0 0,2 18-47 0 0,0 0 0 0 0,2 0 0 0 0,0 1-1 0 0,1-1 1 0 0,7-20 0 0 0,-8 29-199 0 0,0 1 0 0 0,1 0 0 0 0,0 0-1 0 0,0 0 1 0 0,1 0 0 0 0,0 1-1 0 0,1 0 1 0 0,-1 0 0 0 0,1 0 0 0 0,1 0-1 0 0,-1 1 1 0 0,9-6 0 0 0,-13 10 25 0 0,-1 1 0 0 0,1 1 0 0 0,0-1 0 0 0,-1 0 0 0 0,1 0 0 0 0,0 0 0 0 0,0 1 0 0 0,-1-1 0 0 0,1 1 0 0 0,0 0 0 0 0,0-1 0 0 0,0 1 1 0 0,-1 0-1 0 0,4 0 0 0 0,-4 0 87 0 0,0 0 1 0 0,0 1 0 0 0,0-1-1 0 0,0 0 1 0 0,-1 1-1 0 0,1-1 1 0 0,0 0 0 0 0,0 1-1 0 0,-1-1 1 0 0,1 1-1 0 0,0-1 1 0 0,-1 1 0 0 0,1-1-1 0 0,0 1 1 0 0,-1 0 0 0 0,1-1-1 0 0,-1 1 1 0 0,1 0-1 0 0,-1 0 1 0 0,0-1 0 0 0,1 1-1 0 0,-1 0 1 0 0,0 0-1 0 0,1-1 1 0 0,-1 1 0 0 0,0 0-1 0 0,0 0 1 0 0,0 0 0 0 0,1 0-1 0 0,-1-1 1 0 0,0 3-1 0 0,0 9-1535 0 0</inkml:trace>
</inkml:ink>
</file>

<file path=ppt/ink/ink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54.194"/>
    </inkml:context>
    <inkml:brush xml:id="br0">
      <inkml:brushProperty name="width" value="0.1" units="cm"/>
      <inkml:brushProperty name="height" value="0.1" units="cm"/>
    </inkml:brush>
  </inkml:definitions>
  <inkml:trace contextRef="#ctx0" brushRef="#br0">53 529 476 0 0,'-3'2'281'0'0,"-6"7"1032"0"0,0 0 0 0 0,0 1 0 0 0,-13 20 0 0 0,22-30-1274 0 0,0 0 1 0 0,0 0 0 0 0,0 1 0 0 0,0-1-1 0 0,0 0 1 0 0,0 1 0 0 0,0-1 0 0 0,0 0-1 0 0,0 1 1 0 0,0-1 0 0 0,-1 0 0 0 0,2 0 0 0 0,-1 1-1 0 0,0-1 1 0 0,0 0 0 0 0,0 1 0 0 0,0-1-1 0 0,0 0 1 0 0,0 1 0 0 0,0-1 0 0 0,0 0 0 0 0,0 0-1 0 0,0 1 1 0 0,1-1 0 0 0,-1 0 0 0 0,0 0-1 0 0,0 1 1 0 0,0-1 0 0 0,1 0 0 0 0,-1 0-1 0 0,0 1 1 0 0,0-1 0 0 0,0 0 0 0 0,1 0 0 0 0,-1 0-1 0 0,0 0 1 0 0,1 0 0 0 0,-1 1 0 0 0,0-1-1 0 0,0 0 1 0 0,1 0 0 0 0,-1 0 0 0 0,1 0 0 0 0,10 3 390 0 0,4-4-212 0 0,-1 0 1 0 0,0-1 0 0 0,1 0-1 0 0,-1-1 1 0 0,0-1 0 0 0,26-10-1 0 0,-18 7-89 0 0,51-21 150 0 0,104-55 0 0 0,-86 38 175 0 0,-88 43-441 0 0,0 1 1 0 0,-1-1-1 0 0,1 1 0 0 0,0 0 1 0 0,0 0-1 0 0,0 0 1 0 0,0 1-1 0 0,0-1 0 0 0,0 1 1 0 0,0-1-1 0 0,1 1 1 0 0,-1 0-1 0 0,0 0 1 0 0,4 1-1 0 0,-4 0-1 0 0,-1 0-1 0 0,0 0 1 0 0,0 1 0 0 0,0-1-1 0 0,0 0 1 0 0,0 1-1 0 0,0-1 1 0 0,0 1 0 0 0,0 0-1 0 0,0 0 1 0 0,-1-1 0 0 0,1 1-1 0 0,-1 0 1 0 0,1 1-1 0 0,-1-1 1 0 0,0 0 0 0 0,1 3-1 0 0,21 39 1622 0 0,-21-44-1556 0 0,-1 0 0 0 0,1 0 0 0 0,-1-1 1 0 0,1 1-1 0 0,-1-1 0 0 0,1 1 0 0 0,-1-1 0 0 0,1 0 0 0 0,-1 0 0 0 0,0 1 0 0 0,1-1 0 0 0,-1 0 0 0 0,0 0 0 0 0,0 0 0 0 0,0 0 1 0 0,0-1-1 0 0,0 1 0 0 0,2-2 0 0 0,22-33-61 0 0,-14 20 41 0 0,4-4-142 0 0,-8 8-12 0 0,2 0 0 0 0,-1 1 0 0 0,2 1 0 0 0,-1-1 0 0 0,1 1 0 0 0,22-16 0 0 0,-28 25 76 0 0,0 0 0 0 0,0 0 0 0 0,0 1 1 0 0,0-1-1 0 0,0 1 0 0 0,0 0 0 0 0,0 0 0 0 0,-1 1 0 0 0,1-1 0 0 0,0 1 0 0 0,0 0 0 0 0,0 0 0 0 0,0 0 0 0 0,-1 0 0 0 0,6 3 1 0 0,30 15 73 0 0,-28-13-16 0 0,0-1 1 0 0,1 0-1 0 0,23 7 1 0 0,-31-12-40 0 0,-1 0 0 0 0,1-1 1 0 0,0 0-1 0 0,-1 0 0 0 0,1 0 0 0 0,-1 0 0 0 0,1 0 1 0 0,-1-1-1 0 0,0 1 0 0 0,1-1 0 0 0,-1 0 0 0 0,0 0 1 0 0,0 0-1 0 0,0-1 0 0 0,3-2 0 0 0,12-13-323 0 0,24-27 0 0 0,-29 31 154 0 0,-1 0 0 0 0,2 0 1 0 0,0 1-1 0 0,17-11 0 0 0,-24 20 132 0 0,1 0-1 0 0,0 1 1 0 0,0 0-1 0 0,0 0 1 0 0,0 1-1 0 0,0 0 1 0 0,1 1-1 0 0,-1 0 1 0 0,0 0-1 0 0,1 0 1 0 0,-1 1-1 0 0,14 2 1 0 0,31-2 36 0 0,-44-1 21 0 0,0 0-1 0 0,0-1 1 0 0,0 0-1 0 0,0 0 1 0 0,-1-1 0 0 0,1 0-1 0 0,-1 0 1 0 0,12-7-1 0 0,-15 7-7 0 0,0-1 0 0 0,0 0 0 0 0,-1 0-1 0 0,1 0 1 0 0,-1 0 0 0 0,0-1-1 0 0,0 1 1 0 0,-1-1 0 0 0,1 0 0 0 0,-1 0-1 0 0,0-1 1 0 0,3-9 0 0 0,-6 15-13 0 0,1 0 1 0 0,-1-1-1 0 0,0 1 1 0 0,0 0 0 0 0,0-1-1 0 0,0 1 1 0 0,0 0-1 0 0,0-1 1 0 0,0 1-1 0 0,0 0 1 0 0,0-1-1 0 0,0 1 1 0 0,0 0-1 0 0,0-1 1 0 0,0 1 0 0 0,0 0-1 0 0,0-1 1 0 0,0 1-1 0 0,0 0 1 0 0,0-1-1 0 0,0 1 1 0 0,-1 0-1 0 0,1 0 1 0 0,0-1 0 0 0,0 1-1 0 0,0 0 1 0 0,-1-1-1 0 0,1 1 1 0 0,0 0-1 0 0,0 0 1 0 0,-1-1-1 0 0,1 1 1 0 0,0 0 0 0 0,0 0-1 0 0,-1 0 1 0 0,1 0-1 0 0,0-1 1 0 0,-1 1-1 0 0,1 0 1 0 0,0 0-1 0 0,-1 0 1 0 0,1 0 0 0 0,0 0-1 0 0,-1 0 1 0 0,0 0-1 0 0,0 0-6 0 0,-1-1-1 0 0,1 1 0 0 0,-1 0 1 0 0,1 0-1 0 0,-1 0 1 0 0,1 1-1 0 0,-1-1 1 0 0,1 0-1 0 0,0 0 1 0 0,-1 1-1 0 0,-1 0 0 0 0,-1 1-7 0 0,0 0-1 0 0,0 0 0 0 0,0 0 1 0 0,1 1-1 0 0,-1 0 1 0 0,0-1-1 0 0,1 1 0 0 0,0 1 1 0 0,0-1-1 0 0,0 0 0 0 0,0 1 1 0 0,0 0-1 0 0,1-1 1 0 0,0 1-1 0 0,-1 0 0 0 0,1 0 1 0 0,-2 7-1 0 0,4-9 22 0 0,0-1 0 0 0,0 0 0 0 0,0 0 0 0 0,0 0 0 0 0,0 0-1 0 0,0 0 1 0 0,0 1 0 0 0,1-1 0 0 0,-1 0 0 0 0,0 0 0 0 0,1 0 0 0 0,-1 0 0 0 0,1 0 0 0 0,-1 0-1 0 0,1 0 1 0 0,0 0 0 0 0,-1 0 0 0 0,1 0 0 0 0,0 0 0 0 0,0 0 0 0 0,-1-1 0 0 0,1 1 0 0 0,0 0 0 0 0,0 0-1 0 0,0-1 1 0 0,0 1 0 0 0,0-1 0 0 0,0 1 0 0 0,0-1 0 0 0,0 1 0 0 0,0-1 0 0 0,1 1 0 0 0,-1-1 0 0 0,0 0-1 0 0,0 0 1 0 0,2 1 0 0 0,3 0 5 0 0,0 0-1 0 0,0 0 0 0 0,0 0 1 0 0,9-1-1 0 0,-6-1-4 0 0,-1 0-1 0 0,1 0 1 0 0,-1-1 0 0 0,0 0-1 0 0,8-4 1 0 0,-9 3-8 0 0,0 1 0 0 0,0 0 0 0 0,0 0 0 0 0,0 1-1 0 0,0 0 1 0 0,7 0 0 0 0,-11 1-2 0 0,0 0-1 0 0,-1 1 0 0 0,1-1 0 0 0,-1 1 0 0 0,1-1 1 0 0,-1 1-1 0 0,1 0 0 0 0,-1 0 0 0 0,1 0 0 0 0,-1 1 1 0 0,0-1-1 0 0,0 1 0 0 0,3 1 0 0 0,25 26-72 0 0,-7-6 67 0 0,-20-20 40 0 0,1-1 0 0 0,-1 1 0 0 0,0-1 0 0 0,1 0-1 0 0,0 0 1 0 0,0-1 0 0 0,-1 1 0 0 0,1-1 0 0 0,0 0 0 0 0,0 0 0 0 0,5 1 0 0 0,-6-2-15 0 0,-1 0 1 0 0,0 0-1 0 0,0 0 0 0 0,0 0 0 0 0,0-1 1 0 0,0 1-1 0 0,0-1 0 0 0,0 1 0 0 0,0-1 1 0 0,0 0-1 0 0,0 0 0 0 0,0 0 0 0 0,-1 0 1 0 0,1 0-1 0 0,0 0 0 0 0,-1 0 0 0 0,1 0 1 0 0,0-1-1 0 0,-1 1 0 0 0,0-1 0 0 0,1 1 1 0 0,-1-1-1 0 0,0 0 0 0 0,2-3 0 0 0,1-2 3 0 0,-1 1 0 0 0,0-1 0 0 0,0 0-1 0 0,-1 0 1 0 0,0 0 0 0 0,0-1-1 0 0,-1 1 1 0 0,1-10 0 0 0,-1-8 42 0 0,-2-28 0 0 0,0 14-110 0 0,1 37-164 0 0,0 4 84 0 0,0 15 47 0 0,0 29 83 0 0,0-32 24 0 0,0 1-1 0 0,-1-1 0 0 0,0 1 1 0 0,-1-1-1 0 0,-1 0 1 0 0,-4 15-1 0 0,-3 1-1214 0 0,-23 46 0 0 0</inkml:trace>
</inkml:ink>
</file>

<file path=ppt/ink/ink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55.230"/>
    </inkml:context>
    <inkml:brush xml:id="br0">
      <inkml:brushProperty name="width" value="0.1" units="cm"/>
      <inkml:brushProperty name="height" value="0.1" units="cm"/>
    </inkml:brush>
  </inkml:definitions>
  <inkml:trace contextRef="#ctx0" brushRef="#br0">218 1 424 0 0,'-3'0'1127'0'0,"-8"1"-756"0"0,0 1 1 0 0,0 1 0 0 0,0-1-1 0 0,1 2 1 0 0,0 0 0 0 0,-1 0-1 0 0,1 0 1 0 0,1 1-1 0 0,-1 1 1 0 0,1 0 0 0 0,0 0-1 0 0,0 1 1 0 0,1 0 0 0 0,-1 0-1 0 0,2 1 1 0 0,-1 0-1 0 0,-10 16 1 0 0,14-19-298 0 0,0 1 1 0 0,0 0-1 0 0,1 0 0 0 0,0 0 0 0 0,0 0 1 0 0,1 0-1 0 0,-1 0 0 0 0,2 1 1 0 0,-1-1-1 0 0,0 1 0 0 0,1-1 1 0 0,0 1-1 0 0,1 0 0 0 0,0-1 0 0 0,0 1 1 0 0,0 0-1 0 0,1 0 0 0 0,0-1 1 0 0,0 1-1 0 0,0-1 0 0 0,1 1 0 0 0,0-1 1 0 0,1 0-1 0 0,-1 1 0 0 0,1-1 1 0 0,0 0-1 0 0,1-1 0 0 0,-1 1 0 0 0,1 0 1 0 0,6 5-1 0 0,-2-2 10 0 0,0-1 1 0 0,1 0-1 0 0,0 0 1 0 0,0-1-1 0 0,1-1 1 0 0,0 0-1 0 0,0 0 0 0 0,1 0 1 0 0,-1-2-1 0 0,1 1 1 0 0,0-1-1 0 0,17 3 1 0 0,-23-6-35 0 0,0 0 0 0 0,0 0 1 0 0,1 0-1 0 0,-1-1 1 0 0,0 0-1 0 0,1 0 1 0 0,-1-1-1 0 0,0 1 0 0 0,1-1 1 0 0,-1 0-1 0 0,0-1 1 0 0,0 1-1 0 0,0-1 0 0 0,0 0 1 0 0,0 0-1 0 0,0-1 1 0 0,-1 1-1 0 0,1-1 1 0 0,-1 0-1 0 0,0 0 0 0 0,1-1 1 0 0,-2 1-1 0 0,1-1 1 0 0,0 0-1 0 0,-1 0 1 0 0,1 0-1 0 0,-1-1 0 0 0,0 1 1 0 0,3-7-1 0 0,-3 5-101 0 0,0 0 0 0 0,0 0 0 0 0,-1 0 0 0 0,1 0 0 0 0,-1-1 0 0 0,-1 1 0 0 0,1-1 0 0 0,-1 0 0 0 0,0 1 1 0 0,-1-1-1 0 0,1 0 0 0 0,-2 0 0 0 0,1 1 0 0 0,0-1 0 0 0,-1 0 0 0 0,-1 1 0 0 0,1-1 0 0 0,-1 1 0 0 0,0-1 0 0 0,0 1 0 0 0,-1 0 0 0 0,0 0 0 0 0,0 0 0 0 0,0 0 0 0 0,-1 0 0 0 0,0 1 0 0 0,0-1 0 0 0,0 1 0 0 0,-1 0 0 0 0,0 0 0 0 0,0 1 0 0 0,0 0 0 0 0,0 0 0 0 0,-1 0 0 0 0,1 0 0 0 0,-1 1 0 0 0,-11-5 0 0 0,7 5-1582 0 0,0 0 0 0 0,0 1 0 0 0,-11-2 0 0 0</inkml:trace>
</inkml:ink>
</file>

<file path=ppt/ink/ink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55.751"/>
    </inkml:context>
    <inkml:brush xml:id="br0">
      <inkml:brushProperty name="width" value="0.1" units="cm"/>
      <inkml:brushProperty name="height" value="0.1" units="cm"/>
    </inkml:brush>
  </inkml:definitions>
  <inkml:trace contextRef="#ctx0" brushRef="#br0">0 251 908 0 0,'0'13'3343'0'0,"0"-3"-2651"0"0,0 0-1 0 0,1 0 1 0 0,0-1-1 0 0,0 1 1 0 0,1 0-1 0 0,5 15 1 0 0,-6-22-628 0 0,1 0 0 0 0,-1 0 0 0 0,1 0 0 0 0,0 0 1 0 0,0 0-1 0 0,0 0 0 0 0,1 0 0 0 0,-1-1 0 0 0,0 1 0 0 0,1-1 0 0 0,0 0 1 0 0,0 0-1 0 0,-1 0 0 0 0,1 0 0 0 0,0 0 0 0 0,1 0 0 0 0,-1-1 0 0 0,0 0 0 0 0,0 1 1 0 0,1-1-1 0 0,-1 0 0 0 0,7 0 0 0 0,-4 0-96 0 0,0 0 0 0 0,0-1 0 0 0,0 0 0 0 0,0 0 0 0 0,0-1 0 0 0,-1 0 1 0 0,1 0-1 0 0,0 0 0 0 0,0 0 0 0 0,-1-1 0 0 0,1 0 0 0 0,-1 0 0 0 0,0-1 0 0 0,1 0 0 0 0,-1 1 0 0 0,0-2 0 0 0,5-3 1 0 0,4-5-208 0 0,0-1 0 0 0,-1 0 0 0 0,0-1 1 0 0,11-17-1 0 0,-17 20 140 0 0,-5 8 186 0 0,-4 9 12 0 0,2-5-63 0 0,0 1 1 0 0,0-1-1 0 0,0 0 0 0 0,0 1 1 0 0,0-1-1 0 0,0 1 0 0 0,0-1 0 0 0,0 0 1 0 0,1 1-1 0 0,-1-1 0 0 0,0 0 1 0 0,1 0-1 0 0,0 1 0 0 0,-1-1 0 0 0,1 0 1 0 0,-1 0-1 0 0,1 0 0 0 0,0 1 0 0 0,0-1 1 0 0,0 0-1 0 0,0 0 0 0 0,1 1 1 0 0,0 0 30 0 0,0 0 1 0 0,0 0-1 0 0,0 0 1 0 0,0 0-1 0 0,1-1 1 0 0,-1 1-1 0 0,1-1 0 0 0,-1 1 1 0 0,1-1-1 0 0,2 1 1 0 0,0-1-35 0 0,0-1 0 0 0,0 1 1 0 0,0-1-1 0 0,0 0 0 0 0,0-1 0 0 0,-1 1 0 0 0,1-1 1 0 0,0 0-1 0 0,0 0 0 0 0,-1 0 0 0 0,1-1 0 0 0,0 0 1 0 0,-1 0-1 0 0,1 0 0 0 0,-1 0 0 0 0,0-1 0 0 0,0 1 1 0 0,0-1-1 0 0,0 0 0 0 0,-1-1 0 0 0,1 1 0 0 0,-1-1 1 0 0,1 1-1 0 0,2-5 0 0 0,3-7 14 0 0,0 0 1 0 0,0-1-1 0 0,-2 0 1 0 0,0-1-1 0 0,-1 0 0 0 0,0 0 1 0 0,3-20-1 0 0,0 6 387 0 0,11-56 2114 0 0,-16 73-2076 0 0,-1 21-262 0 0,1 31-129 0 0,-3-28-23 0 0,11 77-124 0 0,2 28-2786 0 0,-13-98 458 0 0,-1 0 1 0 0,-3 24-1 0 0,2-30-578 0 0</inkml:trace>
</inkml:ink>
</file>

<file path=ppt/ink/ink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56.209"/>
    </inkml:context>
    <inkml:brush xml:id="br0">
      <inkml:brushProperty name="width" value="0.1" units="cm"/>
      <inkml:brushProperty name="height" value="0.1" units="cm"/>
    </inkml:brush>
  </inkml:definitions>
  <inkml:trace contextRef="#ctx0" brushRef="#br0">1 244 1232 0 0,'7'-9'725'0'0,"0"-1"-1"0"0,1 2 1 0 0,0-1-1 0 0,0 1 1 0 0,1 0-1 0 0,0 1 1 0 0,14-10 0 0 0,-3 5 254 0 0,1 1 0 0 0,36-16 1 0 0,-54 26-925 0 0,0-1 1 0 0,0 1-1 0 0,0 0 1 0 0,0 0-1 0 0,1 0 0 0 0,-1 1 1 0 0,0-1-1 0 0,0 1 1 0 0,0 0-1 0 0,1 0 1 0 0,-1 0-1 0 0,0 0 0 0 0,0 0 1 0 0,0 1-1 0 0,1-1 1 0 0,-1 1-1 0 0,0 0 1 0 0,0 0-1 0 0,0 0 0 0 0,0 1 1 0 0,0-1-1 0 0,0 1 1 0 0,-1-1-1 0 0,1 1 1 0 0,0 0-1 0 0,-1 0 0 0 0,1 0 1 0 0,-1 0-1 0 0,0 1 1 0 0,0-1-1 0 0,0 1 0 0 0,0-1 1 0 0,0 1-1 0 0,0 0 1 0 0,-1-1-1 0 0,1 1 1 0 0,-1 0-1 0 0,1 4 0 0 0,4 10 107 0 0,-1 1-1 0 0,-1 0 1 0 0,-1 0-1 0 0,0 1 1 0 0,0 27-1 0 0,-4-1 53 0 0,-6 49-1 0 0,6-89-165 0 0,1 0 0 0 0,-1 0 0 0 0,-1 0 0 0 0,1-1 0 0 0,-1 1 0 0 0,1 0 0 0 0,-1-1 1 0 0,-3 5-1 0 0,5-8-42 0 0,-1-1 0 0 0,1 1 1 0 0,0-1-1 0 0,-1 1 0 0 0,1-1 1 0 0,0 1-1 0 0,-1-1 1 0 0,1 0-1 0 0,-1 1 0 0 0,1-1 1 0 0,0 0-1 0 0,-1 1 0 0 0,1-1 1 0 0,-1 0-1 0 0,0 1 0 0 0,1-1 1 0 0,-1 0-1 0 0,1 0 1 0 0,-1 0-1 0 0,1 0 0 0 0,-1 1 1 0 0,1-1-1 0 0,-1 0 0 0 0,0 0 1 0 0,1 0-1 0 0,-1 0 0 0 0,1 0 1 0 0,-1 0-1 0 0,0 0 1 0 0,1-1-1 0 0,-1 1 0 0 0,1 0 1 0 0,-1 0-1 0 0,1 0 0 0 0,-1-1 1 0 0,1 1-1 0 0,-1 0 1 0 0,1 0-1 0 0,-1-1 0 0 0,1 1 1 0 0,-1-1-1 0 0,1 1 0 0 0,-1 0 1 0 0,1-1-1 0 0,0 1 0 0 0,-1-1 1 0 0,1 1-1 0 0,0-1 1 0 0,-1 1-1 0 0,1-1 0 0 0,-1 0 1 0 0,-9-27 19 0 0,8 13-126 0 0,0 0 0 0 0,2 0-1 0 0,0 0 1 0 0,0-1 0 0 0,2 1 0 0 0,0 0-1 0 0,0 0 1 0 0,2 0 0 0 0,6-19 0 0 0,-1 7-5 0 0,2 2 0 0 0,0-1 0 0 0,2 2 1 0 0,20-31-1 0 0,-22 40 26 0 0,0-1 1 0 0,1 1-1 0 0,21-18 1 0 0,-28 28 35 0 0,1 0 1 0 0,0 0 0 0 0,0 1-1 0 0,0-1 1 0 0,0 2-1 0 0,1-1 1 0 0,-1 1 0 0 0,1 0-1 0 0,0 0 1 0 0,0 1-1 0 0,13-3 1 0 0,-20 5 41 0 0,1-1-1 0 0,0 1 0 0 0,0 0 1 0 0,0 0-1 0 0,0 0 1 0 0,0 0-1 0 0,0 0 0 0 0,0 0 1 0 0,0 0-1 0 0,0 0 1 0 0,0 0-1 0 0,0 0 0 0 0,0 1 1 0 0,0-1-1 0 0,0 0 1 0 0,0 1-1 0 0,0-1 0 0 0,0 1 1 0 0,-1-1-1 0 0,1 1 1 0 0,0-1-1 0 0,1 2 0 0 0,-2-2 2 0 0,0 1 0 0 0,1 0 0 0 0,-1 0 1 0 0,0-1-1 0 0,0 1 0 0 0,0 0 0 0 0,0 0 0 0 0,0 0 0 0 0,1-1 0 0 0,-1 1 0 0 0,-1 0 0 0 0,1 0 0 0 0,0 0 0 0 0,0-1 0 0 0,0 1 0 0 0,0 0 0 0 0,-1 0 0 0 0,1 0 0 0 0,0-1 0 0 0,-1 2 0 0 0,-1 3 5 0 0,-1-1 0 0 0,0 1 1 0 0,1 0-1 0 0,-2-1 0 0 0,1 0 0 0 0,-4 4 0 0 0,-13 10-32 0 0,0-1 0 0 0,-1-2 0 0 0,-28 17 1 0 0,-30 9-3629 0 0,69-39 168 0 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30.370"/>
    </inkml:context>
    <inkml:brush xml:id="br0">
      <inkml:brushProperty name="width" value="0.1" units="cm"/>
      <inkml:brushProperty name="height" value="0.1" units="cm"/>
    </inkml:brush>
  </inkml:definitions>
  <inkml:trace contextRef="#ctx0" brushRef="#br0">5 1 228 0 0,'0'0'851'0'0,"0"0"-759"0"0,-1 0-1 0 0,1 1 1 0 0,0-1-1 0 0,-1 0 1 0 0,1 0-1 0 0,0 1 0 0 0,-1-1 1 0 0,1 0-1 0 0,0 1 1 0 0,0-1-1 0 0,-1 1 1 0 0,1-1-1 0 0,0 0 1 0 0,0 1-1 0 0,0-1 0 0 0,0 1 1 0 0,-1-1-1 0 0,1 0 1 0 0,0 1-1 0 0,0 0 1 0 0,4 1 29 0 0,0 0 0 0 0,0 0 0 0 0,0 0 0 0 0,0-1-1 0 0,0 0 1 0 0,0 0 0 0 0,0 0 0 0 0,0 0 0 0 0,7 0 0 0 0,47 0 422 0 0,-29-1-315 0 0,960 7 2368 0 0,-647-15-4139 0 0,-339 8 529 0 0</inkml:trace>
</inkml:ink>
</file>

<file path=ppt/ink/ink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56.728"/>
    </inkml:context>
    <inkml:brush xml:id="br0">
      <inkml:brushProperty name="width" value="0.1" units="cm"/>
      <inkml:brushProperty name="height" value="0.1" units="cm"/>
    </inkml:brush>
  </inkml:definitions>
  <inkml:trace contextRef="#ctx0" brushRef="#br0">1 70 636 0 0,'1'15'2046'0'0,"1"0"-1"0"0,-2 23 1 0 0,-1-24-1501 0 0,1 0-1 0 0,1 0 1 0 0,3 16-1 0 0,-3-25-457 0 0,0-1-1 0 0,0 1 0 0 0,1-1 0 0 0,-1 0 0 0 0,1 0 1 0 0,0 1-1 0 0,1-1 0 0 0,-1-1 0 0 0,1 1 0 0 0,-1 0 1 0 0,1-1-1 0 0,0 1 0 0 0,7 5 0 0 0,-7-7-100 0 0,-1 1 0 0 0,1-1 0 0 0,0 0 1 0 0,0 0-1 0 0,0 0 0 0 0,0-1 0 0 0,1 1 0 0 0,-1-1 0 0 0,0 0 0 0 0,1 0 0 0 0,-1 0 0 0 0,1 0 0 0 0,-1 0 0 0 0,1-1 0 0 0,-1 1 0 0 0,1-1 0 0 0,-1 0 0 0 0,1 0 0 0 0,-1-1 0 0 0,1 1 1 0 0,-1-1-1 0 0,1 0 0 0 0,-1 0 0 0 0,1 0 0 0 0,-1 0 0 0 0,0 0 0 0 0,1-1 0 0 0,-1 1 0 0 0,0-1 0 0 0,0 0 0 0 0,5-4 0 0 0,5-6-252 0 0,0 0 0 0 0,-1 0-1 0 0,0-2 1 0 0,-1 1 0 0 0,10-18-1 0 0,-7 13 570 0 0,-10 11-114 0 0,-7 8 285 0 0,3-1-436 0 0,-1 1 1 0 0,1-1-1 0 0,0 1 0 0 0,-1 0 1 0 0,1-1-1 0 0,0 1 0 0 0,-1 0 0 0 0,1 0 1 0 0,0-1-1 0 0,0 1 0 0 0,-1 0 0 0 0,1 0 1 0 0,0-1-1 0 0,0 1 0 0 0,0 0 1 0 0,0 0-1 0 0,0-1 0 0 0,0 1 0 0 0,0 0 1 0 0,1 0-1 0 0,-1 1 0 0 0,0-1 34 0 0,1 1 0 0 0,-1 0 0 0 0,1 0 0 0 0,-1 0 0 0 0,1 0 0 0 0,0 0 0 0 0,0-1 0 0 0,0 1 0 0 0,0 0 0 0 0,0-1 0 0 0,0 1 0 0 0,0-1 0 0 0,1 1 0 0 0,-1-1 0 0 0,0 0 0 0 0,1 1 0 0 0,-1-1 0 0 0,1 0 0 0 0,0 0 0 0 0,-1 0 0 0 0,4 1 0 0 0,13-7 266 0 0,-16 5-320 0 0,0 0 1 0 0,0 0-1 0 0,-1 0 0 0 0,1-1 0 0 0,0 1 0 0 0,-1-1 0 0 0,1 1 1 0 0,0-1-1 0 0,-1 0 0 0 0,1 0 0 0 0,-1 0 0 0 0,1 0 0 0 0,2-2 0 0 0,2-3 23 0 0,-1 1-1 0 0,0-2 0 0 0,0 1 0 0 0,-1-1 0 0 0,0 1 0 0 0,0-1 0 0 0,6-14 0 0 0,16-59 1470 0 0,-14 40 452 0 0,-9 32-1244 0 0,-9 23-446 0 0,-8 26-68 0 0,8-8-150 0 0,1 0-1 0 0,2 1 1 0 0,2 0-1 0 0,2 39 1 0 0,0-15-675 0 0,1 15-1735 0 0,-1-35-408 0 0,-1 1-3624 0 0,0-32 3568 0 0</inkml:trace>
</inkml:ink>
</file>

<file path=ppt/ink/ink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0:57.133"/>
    </inkml:context>
    <inkml:brush xml:id="br0">
      <inkml:brushProperty name="width" value="0.1" units="cm"/>
      <inkml:brushProperty name="height" value="0.1" units="cm"/>
    </inkml:brush>
  </inkml:definitions>
  <inkml:trace contextRef="#ctx0" brushRef="#br0">1 102 1304 0 0,'6'-13'1372'0'0,"4"3"-336"0"0,-1-2-128 0 0,4 4-260 0 0,0-2-87 0 0,2 1-137 0 0,1 2-20 0 0,2-2-164 0 0,1 3 32 0 0,0 2-96 0 0,1-1-4 0 0,-1 1-200 0 0,-3 2-116 0 0,2 0-156 0 0,-2 3-192 0 0,-1 0-228 0 0,-2 1-1121 0 0,-1 1 253 0 0</inkml:trace>
</inkml:ink>
</file>

<file path=ppt/ink/ink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3:22.471"/>
    </inkml:context>
    <inkml:brush xml:id="br0">
      <inkml:brushProperty name="width" value="0.1" units="cm"/>
      <inkml:brushProperty name="height" value="0.1" units="cm"/>
    </inkml:brush>
  </inkml:definitions>
  <inkml:trace contextRef="#ctx0" brushRef="#br0">7 1 1464 0 0,'-3'19'2492'0'0,"1"0"0"0"0,1 31 0 0 0,12 83 140 0 0,-11-132-2608 0 0,50 245 658 0 0,-42-214-1688 0 0,-1-3-1390 0 0,-4-15-1752 0 0,-2-7 1824 0 0</inkml:trace>
</inkml:ink>
</file>

<file path=ppt/ink/ink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3:22.819"/>
    </inkml:context>
    <inkml:brush xml:id="br0">
      <inkml:brushProperty name="width" value="0.1" units="cm"/>
      <inkml:brushProperty name="height" value="0.1" units="cm"/>
    </inkml:brush>
  </inkml:definitions>
  <inkml:trace contextRef="#ctx0" brushRef="#br0">77 10 888 0 0,'-7'3'723'0'0,"1"0"0"0"0,0 0-1 0 0,0 0 1 0 0,0 0 0 0 0,0 1 0 0 0,1 0 0 0 0,0 0-1 0 0,-1 0 1 0 0,-4 7 0 0 0,8-9-578 0 0,1-1 0 0 0,0 1 0 0 0,0 0 0 0 0,-1 0 0 0 0,1 0 0 0 0,0 0 0 0 0,0 0 1 0 0,1 0-1 0 0,-1 0 0 0 0,0 0 0 0 0,1 0 0 0 0,-1 0 0 0 0,1 0 0 0 0,0 1 0 0 0,0-1 0 0 0,0 0 0 0 0,0 0 0 0 0,0 0 1 0 0,0 1-1 0 0,1-1 0 0 0,-1 0 0 0 0,0 0 0 0 0,1 0 0 0 0,0 0 0 0 0,0 0 0 0 0,-1 0 0 0 0,1 0 0 0 0,1 0 0 0 0,-1 0 1 0 0,0 0-1 0 0,0-1 0 0 0,2 3 0 0 0,5 5 322 0 0,0-1 0 0 0,0 0 0 0 0,1 0 0 0 0,0-1 0 0 0,0 0 0 0 0,1-1 0 0 0,0 0 0 0 0,0 0 0 0 0,0-1 0 0 0,22 8 0 0 0,-23-10-269 0 0,1 0 0 0 0,-1-1-1 0 0,1 1 1 0 0,0-2-1 0 0,-1 0 1 0 0,1 0-1 0 0,0 0 1 0 0,0-1-1 0 0,0-1 1 0 0,0 0 0 0 0,-1 0-1 0 0,1-1 1 0 0,12-3-1 0 0,-17 3-251 0 0,0-1 0 0 0,0 0 0 0 0,-1 1 0 0 0,1-2 0 0 0,-1 1 0 0 0,1 0 0 0 0,-1-1 0 0 0,0 0 0 0 0,0 0 0 0 0,0 0 0 0 0,-1 0 0 0 0,0-1 0 0 0,0 1 0 0 0,0-1 0 0 0,0 0 0 0 0,0 0 0 0 0,-1 0 0 0 0,0 0 0 0 0,2-8 0 0 0,-3 8-407 0 0,0 0-1 0 0,0 0 0 0 0,0 0 0 0 0,-1-1 1 0 0,0 1-1 0 0,0 0 0 0 0,0 0 0 0 0,-1 0 0 0 0,-1-7 1 0 0,1 8-210 0 0,0 0 0 0 0,0 0 0 0 0,-1 0 0 0 0,0 0 0 0 0,0 0 0 0 0,0 0 0 0 0,0 1 0 0 0,0-1 0 0 0,-1 1 0 0 0,0-1 0 0 0,0 1 0 0 0,-3-3 0 0 0,-8-6-3312 0 0</inkml:trace>
</inkml:ink>
</file>

<file path=ppt/ink/ink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3:23.529"/>
    </inkml:context>
    <inkml:brush xml:id="br0">
      <inkml:brushProperty name="width" value="0.1" units="cm"/>
      <inkml:brushProperty name="height" value="0.1" units="cm"/>
    </inkml:brush>
  </inkml:definitions>
  <inkml:trace contextRef="#ctx0" brushRef="#br0">370 60 1748 0 0,'-3'-4'630'0'0,"1"-1"0"0"0,-1 1 0 0 0,0 0 0 0 0,0 0 1 0 0,-1 0-1 0 0,1 0 0 0 0,-1 0 0 0 0,0 1 0 0 0,0 0 0 0 0,-8-5 0 0 0,8 6-474 0 0,0 0 0 0 0,-1 0 0 0 0,0 0-1 0 0,1 1 1 0 0,-1 0 0 0 0,1 0 0 0 0,-1 0 0 0 0,0 1-1 0 0,0 0 1 0 0,0 0 0 0 0,1 0 0 0 0,-1 0 0 0 0,0 1 0 0 0,0 0-1 0 0,1-1 1 0 0,-1 2 0 0 0,0-1 0 0 0,-4 3 0 0 0,-7 2 9 0 0,1 1 1 0 0,0 0-1 0 0,0 2 1 0 0,0 0-1 0 0,1 0 0 0 0,0 1 1 0 0,1 1-1 0 0,-16 16 1 0 0,20-18-101 0 0,0 1 0 0 0,1 0 0 0 0,0 1 0 0 0,1 0 0 0 0,0 0 0 0 0,0 1 0 0 0,1-1 0 0 0,1 1 0 0 0,0 1 0 0 0,1-1 0 0 0,-4 17 0 0 0,7-22-43 0 0,0 0 0 0 0,1-1 0 0 0,-1 1 0 0 0,2 0 0 0 0,-1 0 0 0 0,1-1 0 0 0,0 1 0 0 0,0 0 0 0 0,1-1 0 0 0,0 1 0 0 0,0-1 0 0 0,0 0 0 0 0,4 7 0 0 0,-1-4-3 0 0,1 0 0 0 0,-1-1 0 0 0,1 0 0 0 0,1 0 0 0 0,-1 0-1 0 0,1-1 1 0 0,1 0 0 0 0,11 9 0 0 0,-9-9-7 0 0,-1-1 0 0 0,1 0 1 0 0,1 0-1 0 0,-1-1 0 0 0,1-1 0 0 0,0 0 0 0 0,14 4 1 0 0,-17-6-5 0 0,0-1 1 0 0,0 0-1 0 0,0 0 0 0 0,0 0 1 0 0,0-1-1 0 0,0 0 1 0 0,0-1-1 0 0,1 0 0 0 0,-1 0 1 0 0,11-4-1 0 0,-12 2-7 0 0,0 0-1 0 0,0 0 1 0 0,0-1-1 0 0,-1 0 1 0 0,0 0-1 0 0,1-1 1 0 0,-1 1-1 0 0,-1-1 1 0 0,1-1-1 0 0,-1 1 1 0 0,0-1-1 0 0,7-10 1 0 0,-4 3-29 0 0,0 0 0 0 0,-1 0 1 0 0,0 0-1 0 0,-1-1 1 0 0,6-20-1 0 0,-12 33 24 0 0,1 0 0 0 0,-1 0-1 0 0,0 0 1 0 0,1 0 0 0 0,-1-1 0 0 0,0 1 0 0 0,0 0-1 0 0,0 0 1 0 0,0 0 0 0 0,0 0 0 0 0,0 0 0 0 0,0 0-1 0 0,0 0 1 0 0,0 0 0 0 0,0 0 0 0 0,-1 0 0 0 0,1 0-1 0 0,0 0 1 0 0,-1-2 0 0 0,0 3 4 0 0,1 0-1 0 0,-1-1 1 0 0,1 1 0 0 0,-1 0 0 0 0,1-1-1 0 0,-1 1 1 0 0,0 0 0 0 0,1 0-1 0 0,-1 0 1 0 0,1-1 0 0 0,-1 1 0 0 0,1 0-1 0 0,-1 0 1 0 0,0 0 0 0 0,1 0 0 0 0,-1 0-1 0 0,1 0 1 0 0,-1 0 0 0 0,0 0-1 0 0,1 1 1 0 0,-1-1 0 0 0,1 0 0 0 0,-1 0-1 0 0,0 1 1 0 0,-3 0 10 0 0,1 1 0 0 0,0 0 0 0 0,-1-1-1 0 0,1 2 1 0 0,0-1 0 0 0,0 0 0 0 0,0 0 0 0 0,0 1 0 0 0,1 0-1 0 0,-3 2 1 0 0,3-1 29 0 0,0-1 1 0 0,0 0-1 0 0,0 1 0 0 0,0-1 0 0 0,1 1 0 0 0,0 0 0 0 0,-1-1 1 0 0,1 1-1 0 0,1 0 0 0 0,-1 0 0 0 0,1 0 0 0 0,-1-1 0 0 0,1 1 0 0 0,0 0 1 0 0,0 0-1 0 0,1 0 0 0 0,-1 0 0 0 0,1 0 0 0 0,0-1 0 0 0,0 1 1 0 0,0 0-1 0 0,1 0 0 0 0,-1-1 0 0 0,1 1 0 0 0,0-1 0 0 0,0 0 0 0 0,0 1 1 0 0,0-1-1 0 0,0 0 0 0 0,4 3 0 0 0,0 1 129 0 0,1 0-1 0 0,-1-1 1 0 0,1 0-1 0 0,0 0 1 0 0,1-1-1 0 0,0 1 0 0 0,0-2 1 0 0,0 1-1 0 0,0-1 1 0 0,0 0-1 0 0,14 3 1 0 0,-20-6-148 0 0,0 0-1 0 0,-1-1 1 0 0,1 0 0 0 0,0 1 0 0 0,-1-1-1 0 0,1 0 1 0 0,0 0 0 0 0,0 0 0 0 0,-1 0-1 0 0,1 0 1 0 0,0 0 0 0 0,0 0 0 0 0,-1 0-1 0 0,1-1 1 0 0,0 1 0 0 0,-1-1 0 0 0,1 1 0 0 0,0-1-1 0 0,-1 0 1 0 0,1 0 0 0 0,-1 0 0 0 0,1 0-1 0 0,-1 0 1 0 0,1 0 0 0 0,-1 0 0 0 0,0 0-1 0 0,0 0 1 0 0,1-1 0 0 0,-1 1 0 0 0,0-1-1 0 0,0 1 1 0 0,0 0 0 0 0,0-1 0 0 0,-1 0-1 0 0,1 1 1 0 0,0-1 0 0 0,-1 1 0 0 0,1-1-1 0 0,-1 0 1 0 0,1 0 0 0 0,-1 1 0 0 0,0-1-1 0 0,0-3 1 0 0,1-4-211 0 0,-1 0-1 0 0,0 1 1 0 0,-1-1-1 0 0,1 1 1 0 0,-2-1 0 0 0,1 1-1 0 0,-5-13 1 0 0,-14-27-2485 0 0,14 36 834 0 0,1 0 0 0 0,0-1 0 0 0,1 0 1 0 0,-4-16-1 0 0,8 19-866 0 0</inkml:trace>
</inkml:ink>
</file>

<file path=ppt/ink/ink9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3:23.920"/>
    </inkml:context>
    <inkml:brush xml:id="br0">
      <inkml:brushProperty name="width" value="0.1" units="cm"/>
      <inkml:brushProperty name="height" value="0.1" units="cm"/>
    </inkml:brush>
  </inkml:definitions>
  <inkml:trace contextRef="#ctx0" brushRef="#br0">0 0 672 0 0,'8'5'628'0'0,"0"0"-1"0"0,0 0 1 0 0,-1 0 0 0 0,0 1-1 0 0,0 0 1 0 0,0 1 0 0 0,-1-1-1 0 0,0 1 1 0 0,0 0-1 0 0,-1 1 1 0 0,0-1 0 0 0,0 1-1 0 0,-1 0 1 0 0,7 18 0 0 0,-2 0 1400 0 0,-1 1 0 0 0,-1 0 0 0 0,5 44 1 0 0,-12-69-1575 0 0,0-2-427 0 0,0 0-1 0 0,0 0 1 0 0,1 0 0 0 0,-1 1 0 0 0,0-1 0 0 0,0 0 0 0 0,0 0 0 0 0,0 0 0 0 0,1 0 0 0 0,-1 0-1 0 0,0 0 1 0 0,0 0 0 0 0,0 0 0 0 0,1 0 0 0 0,-1 0 0 0 0,0 0 0 0 0,0 0 0 0 0,0 0-1 0 0,1 0 1 0 0,-1 0 0 0 0,0 0 0 0 0,0 0 0 0 0,0 0 0 0 0,1 0 0 0 0,-1 0 0 0 0,0 0-1 0 0,0 0 1 0 0,0 0 0 0 0,0 0 0 0 0,1 0 0 0 0,-1-1 0 0 0,0 1 0 0 0,0 0 0 0 0,0 0 0 0 0,0 0-1 0 0,1 0 1 0 0,-1 0 0 0 0,0 0 0 0 0,0-1 0 0 0,0 1 0 0 0,0 0 0 0 0,0-1 0 0 0,13-13 358 0 0,14-26-439 0 0,-22 33 142 0 0,36-49-89 0 0,-37 51-12 0 0,0 0 0 0 0,0 0 0 0 0,1 1 0 0 0,-1 0 0 0 0,1 0 0 0 0,0 0 0 0 0,0 1 0 0 0,11-6 0 0 0,-12 8 5 0 0,-2 1 0 0 0,0-1-1 0 0,0 1 1 0 0,0 0 0 0 0,-1 0-1 0 0,1 1 1 0 0,0-1-1 0 0,0 0 1 0 0,0 1-1 0 0,0-1 1 0 0,-1 1 0 0 0,1-1-1 0 0,0 1 1 0 0,0 0-1 0 0,-1 0 1 0 0,1 0-1 0 0,-1 0 1 0 0,1 0 0 0 0,-1 0-1 0 0,1 0 1 0 0,-1 0-1 0 0,1 1 1 0 0,-1-1 0 0 0,0 0-1 0 0,0 1 1 0 0,0-1-1 0 0,0 1 1 0 0,0 0-1 0 0,0-1 1 0 0,0 1 0 0 0,0 0-1 0 0,-1-1 1 0 0,1 1-1 0 0,-1 0 1 0 0,1 3 0 0 0,1-1-149 0 0,12 39-2042 0 0,-10-28 499 0 0,1-1-1 0 0,8 18 1 0 0,-11-28 717 0 0,0 1-1 0 0,1-1 1 0 0,0 0 0 0 0,0 0-1 0 0,0-1 1 0 0,5 6-1 0 0</inkml:trace>
</inkml:ink>
</file>

<file path=ppt/ink/ink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3:24.266"/>
    </inkml:context>
    <inkml:brush xml:id="br0">
      <inkml:brushProperty name="width" value="0.1" units="cm"/>
      <inkml:brushProperty name="height" value="0.1" units="cm"/>
    </inkml:brush>
  </inkml:definitions>
  <inkml:trace contextRef="#ctx0" brushRef="#br0">1 140 1536 0 0,'4'-10'1312'0'0,"0"0"-1"0"0,1 0 1 0 0,0 1-1 0 0,0 0 0 0 0,8-9 1 0 0,-12 17-786 0 0,0 1-469 0 0,-1 0 0 0 0,1 0 1 0 0,0 0-1 0 0,-1 0 0 0 0,1 1 0 0 0,0-1 0 0 0,-1 0 1 0 0,1 0-1 0 0,0 1 0 0 0,-1-1 0 0 0,1 1 1 0 0,0-1-1 0 0,-1 0 0 0 0,1 1 0 0 0,-1-1 0 0 0,1 1 1 0 0,-1-1-1 0 0,1 1 0 0 0,-1-1 0 0 0,0 1 1 0 0,1 0-1 0 0,-1-1 0 0 0,1 1 0 0 0,-1 0 0 0 0,1 0 1 0 0,5 23 418 0 0,-2-10 33 0 0,2 3-21 0 0,28 62 1046 0 0,-31-72-1248 0 0,1 0 1 0 0,0-1-1 0 0,1 1 0 0 0,-1-1 1 0 0,1 0-1 0 0,1 0 1 0 0,-1 0-1 0 0,9 6 1 0 0,-13-11-238 0 0,0 0 0 0 0,1-1 0 0 0,-1 1 1 0 0,0-1-1 0 0,1 1 0 0 0,-1-1 1 0 0,1 1-1 0 0,-1-1 0 0 0,1 0 1 0 0,-1 0-1 0 0,1 0 0 0 0,-1 1 1 0 0,1-2-1 0 0,-1 1 0 0 0,1 0 1 0 0,-1 0-1 0 0,1 0 0 0 0,-1-1 0 0 0,0 1 1 0 0,1 0-1 0 0,-1-1 0 0 0,1 0 1 0 0,-1 1-1 0 0,0-1 0 0 0,1 0 1 0 0,-1 0-1 0 0,0 1 0 0 0,0-1 1 0 0,0 0-1 0 0,1 0 0 0 0,-1 0 1 0 0,0-1-1 0 0,1-1 0 0 0,3-2 3 0 0,-1-1-1 0 0,1 0 1 0 0,-1 0 0 0 0,0-1-1 0 0,3-7 1 0 0,6-16-188 0 0,-2 0 1 0 0,8-37 0 0 0,2-19-5976 0 0,-18 72 4083 0 0</inkml:trace>
</inkml:ink>
</file>

<file path=ppt/ink/ink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3:24.629"/>
    </inkml:context>
    <inkml:brush xml:id="br0">
      <inkml:brushProperty name="width" value="0.1" units="cm"/>
      <inkml:brushProperty name="height" value="0.1" units="cm"/>
    </inkml:brush>
  </inkml:definitions>
  <inkml:trace contextRef="#ctx0" brushRef="#br0">78 173 232 0 0,'2'0'3288'0'0,"1"0"-3021"0"0,-1-1 1 0 0,0 1-1 0 0,0-1 1 0 0,0 1-1 0 0,0-1 0 0 0,0 0 1 0 0,0 0-1 0 0,0 0 1 0 0,0 0-1 0 0,0 0 1 0 0,0 0-1 0 0,0-1 1 0 0,-1 1-1 0 0,1-1 1 0 0,0 1-1 0 0,-1-1 1 0 0,0 1-1 0 0,1-1 1 0 0,-1 0-1 0 0,0 0 0 0 0,0 0 1 0 0,0 0-1 0 0,0 0 1 0 0,0 0-1 0 0,1-2 1 0 0,-1 1-203 0 0,0-1 0 0 0,-1 1-1 0 0,1 0 1 0 0,-1-1 0 0 0,1 1 0 0 0,-1 0 0 0 0,0-1 0 0 0,0 1 0 0 0,-1 0 0 0 0,1-1 0 0 0,-1 1 0 0 0,1 0-1 0 0,-1-1 1 0 0,0 1 0 0 0,0 0 0 0 0,-3-6 0 0 0,3 9-57 0 0,0-1 0 0 0,1 0 1 0 0,-1 0-1 0 0,0 0 0 0 0,0 1 0 0 0,0-1 0 0 0,0 0 1 0 0,0 1-1 0 0,0-1 0 0 0,0 1 0 0 0,0-1 0 0 0,0 1 0 0 0,0 0 1 0 0,0-1-1 0 0,0 1 0 0 0,0 0 0 0 0,0 0 0 0 0,0-1 1 0 0,0 1-1 0 0,0 0 0 0 0,0 0 0 0 0,-1 0 0 0 0,0 1 0 0 0,-26 5 61 0 0,24-4-63 0 0,0 0 1 0 0,0 0-1 0 0,0 1 1 0 0,0-1-1 0 0,0 1 1 0 0,1 0 0 0 0,-1 0-1 0 0,1 1 1 0 0,0-1-1 0 0,-1 1 1 0 0,2-1-1 0 0,-1 1 1 0 0,0 0-1 0 0,1 0 1 0 0,0 0-1 0 0,0 1 1 0 0,0-1 0 0 0,0 0-1 0 0,1 1 1 0 0,-1-1-1 0 0,1 1 1 0 0,0 6-1 0 0,0-7 113 0 0,1 1 0 0 0,-1-1-1 0 0,1 1 1 0 0,0-1 0 0 0,1 1 0 0 0,-1 0-1 0 0,1-1 1 0 0,0 1 0 0 0,0-1 0 0 0,0 0-1 0 0,1 1 1 0 0,-1-1 0 0 0,1 0 0 0 0,0 0-1 0 0,0 0 1 0 0,1 0 0 0 0,-1 0 0 0 0,1 0-1 0 0,0-1 1 0 0,0 1 0 0 0,0-1 0 0 0,0 0-1 0 0,5 4 1 0 0,-6-6-12 0 0,-1 0 0 0 0,1 0 0 0 0,0 0 0 0 0,0 0 1 0 0,0 0-1 0 0,0 0 0 0 0,0 0 0 0 0,0 0 0 0 0,0-1 0 0 0,0 1 0 0 0,0-1 0 0 0,0 0 0 0 0,0 1 1 0 0,1-1-1 0 0,-1 0 0 0 0,0 0 0 0 0,0-1 0 0 0,0 1 0 0 0,0 0 0 0 0,4-2 0 0 0,-2 1-26 0 0,-1-1 0 0 0,0 1 0 0 0,0-1 0 0 0,0 0 0 0 0,-1 0 0 0 0,1-1 0 0 0,0 1 0 0 0,-1 0 0 0 0,0-1 0 0 0,1 1 0 0 0,3-7 0 0 0,-1 1-145 0 0,0-1 0 0 0,0 0 0 0 0,-1 0 0 0 0,0-1 0 0 0,-1 1 0 0 0,0-1 0 0 0,4-19 0 0 0,-6 12-1431 0 0,-1 1-1 0 0,0 0 1 0 0,-5-29 0 0 0,0 3-4617 0 0,5 32 3058 0 0</inkml:trace>
</inkml:ink>
</file>

<file path=ppt/ink/ink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3:25.019"/>
    </inkml:context>
    <inkml:brush xml:id="br0">
      <inkml:brushProperty name="width" value="0.1" units="cm"/>
      <inkml:brushProperty name="height" value="0.1" units="cm"/>
    </inkml:brush>
  </inkml:definitions>
  <inkml:trace contextRef="#ctx0" brushRef="#br0">1 0 380 0 0,'3'1'340'0'0,"-1"0"1"0"0,1 1-1 0 0,-1-1 0 0 0,1 0 1 0 0,-1 1-1 0 0,0 0 0 0 0,0-1 1 0 0,1 1-1 0 0,-1 0 0 0 0,0 0 1 0 0,-1 0-1 0 0,1 1 1 0 0,0-1-1 0 0,-1 0 0 0 0,1 1 1 0 0,-1-1-1 0 0,1 1 0 0 0,-1-1 1 0 0,0 1-1 0 0,0-1 0 0 0,-1 1 1 0 0,1 0-1 0 0,0 0 0 0 0,-1-1 1 0 0,0 1-1 0 0,1 3 0 0 0,0 12 771 0 0,0 0 1 0 0,-3 36-1 0 0,1-38-584 0 0,0 1-476 0 0,-12 244 2717 0 0,11-174-5258 0 0,1-1-4231 0 0,0-69 2087 0 0</inkml:trace>
</inkml:ink>
</file>

<file path=ppt/ink/ink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3-06T04:23:25.395"/>
    </inkml:context>
    <inkml:brush xml:id="br0">
      <inkml:brushProperty name="width" value="0.1" units="cm"/>
      <inkml:brushProperty name="height" value="0.1" units="cm"/>
    </inkml:brush>
  </inkml:definitions>
  <inkml:trace contextRef="#ctx0" brushRef="#br0">37 201 2288 0 0,'0'0'3244'0'0,"0"9"167"0"0,-4-1-2904 0 0,-1-1 1 0 0,1 1-1 0 0,0-1 0 0 0,0 1 1 0 0,1 0-1 0 0,0 0 1 0 0,0 1-1 0 0,-2 15 1 0 0,4-20-445 0 0,1 1 0 0 0,0 0 0 0 0,0-1 0 0 0,0 1 0 0 0,0 0 0 0 0,1-1 0 0 0,0 1 0 0 0,0-1 0 0 0,0 1 0 0 0,0-1 0 0 0,1 1 0 0 0,0-1 1 0 0,0 0-1 0 0,0 1 0 0 0,0-1 0 0 0,1 0 0 0 0,0-1 0 0 0,3 5 0 0 0,-5-7-100 0 0,0 0 1 0 0,0-1-1 0 0,0 1 0 0 0,0-1 0 0 0,0 1 1 0 0,0-1-1 0 0,0 1 0 0 0,0-1 0 0 0,0 0 1 0 0,1 0-1 0 0,-1 1 0 0 0,0-1 0 0 0,0 0 1 0 0,0 0-1 0 0,0 0 0 0 0,0 0 0 0 0,1 0 1 0 0,-1-1-1 0 0,0 1 0 0 0,0 0 0 0 0,0 0 1 0 0,1-1-1 0 0,23-11-1009 0 0,-17 5 900 0 0,0-1 0 0 0,-1 0 0 0 0,0 0 0 0 0,-1-1 0 0 0,0 0 0 0 0,0 0 0 0 0,-1 0 0 0 0,5-13 0 0 0,5-6 1017 0 0,-12 31-707 0 0,-1-1 0 0 0,1 0 0 0 0,0 1 1 0 0,-1 0-1 0 0,1-1 0 0 0,-1 1 0 0 0,4 6 0 0 0,-5-7-131 0 0,0-1 1 0 0,0 1-1 0 0,0 0 0 0 0,0-1 0 0 0,1 0 0 0 0,-1 1 0 0 0,1-1 1 0 0,-1 0-1 0 0,1 1 0 0 0,0-1 0 0 0,-1 0 0 0 0,1 0 0 0 0,0 0 0 0 0,0-1 1 0 0,0 1-1 0 0,0 0 0 0 0,0-1 0 0 0,0 1 0 0 0,0-1 0 0 0,0 1 1 0 0,0-1-1 0 0,0 0 0 0 0,0 0 0 0 0,3 0 0 0 0,-3-1-29 0 0,0 0-1 0 0,0 1 1 0 0,1-1-1 0 0,-1 0 1 0 0,0 0 0 0 0,0 0-1 0 0,0-1 1 0 0,0 1-1 0 0,0 0 1 0 0,-1-1-1 0 0,1 1 1 0 0,0-1 0 0 0,0 0-1 0 0,-1 1 1 0 0,1-1-1 0 0,-1 0 1 0 0,0 0-1 0 0,0 0 1 0 0,1 0 0 0 0,-1 0-1 0 0,1-4 1 0 0,10-29 72 0 0,-1-1 1 0 0,9-47-1 0 0,1-8 2428 0 0,-14 65-1536 0 0,-6 25-388 0 0,5 10-60 0 0,5 19-640 0 0,-1 1 0 0 0,-1 0 0 0 0,-1 0 0 0 0,4 44 0 0 0,-6-17-3356 0 0,-6-51 2774 0 0,0 0 0 0 0,0-1-1 0 0,-1 1 1 0 0,1 0 0 0 0,-1 0-1 0 0,0 0 1 0 0,0-1 0 0 0,-1 1 0 0 0,-2 4-1 0 0,4-8 618 0 0,0-1 0 0 0,0 1 0 0 0,0-1 0 0 0,0 0 0 0 0,0 1-1 0 0,0-1 1 0 0,-1 0 0 0 0,1 1 0 0 0,0-1 0 0 0,0 1 0 0 0,-1-1 0 0 0,1 0-1 0 0,0 0 1 0 0,0 1 0 0 0,-1-1 0 0 0,1 0 0 0 0,0 1 0 0 0,-1-1-1 0 0,1 0 1 0 0,0 0 0 0 0,-1 0 0 0 0,1 1 0 0 0,-1-1 0 0 0,1 0-1 0 0,0 0 1 0 0,-1 0 0 0 0,1 0 0 0 0,-1 0 0 0 0,1 0 0 0 0,-1 0 0 0 0,1 0-1 0 0,0 0 1 0 0,-1 0 0 0 0,1 0 0 0 0,-1 0 0 0 0,1 0 0 0 0,0 0-1 0 0,-1 0 1 0 0,1 0 0 0 0,-1 0 0 0 0,1 0 0 0 0,0-1 0 0 0,-1 1-1 0 0,1 0 1 0 0,-1 0 0 0 0,1 0 0 0 0,-1-1 0 0 0,0 0 77 0 0,1 0 0 0 0,-1 0 0 0 0,0 0 0 0 0,0-1 0 0 0,1 1 0 0 0,-1 0 0 0 0,1 0 0 0 0,-1-1 0 0 0,1 1 0 0 0,-1 0 0 0 0,1 0 0 0 0,0-1 0 0 0,-1 1 0 0 0,1 0 0 0 0,0-2 0 0 0,1-4 207 0 0,0 1-1 0 0,0-1 1 0 0,0 1 0 0 0,1 0 0 0 0,0-1 0 0 0,0 1 0 0 0,0 0 0 0 0,1 0-1 0 0,0 1 1 0 0,0-1 0 0 0,1 0 0 0 0,-1 1 0 0 0,1 0 0 0 0,9-10 0 0 0,-2 4 348 0 0,1 1 0 0 0,-1 0 1 0 0,2 0-1 0 0,-1 2 1 0 0,17-10-1 0 0,-26 16-339 0 0,0 0 0 0 0,0 1 0 0 0,0-1 0 0 0,0 1 0 0 0,0-1 0 0 0,1 1-1 0 0,-1 0 1 0 0,0 0 0 0 0,1 1 0 0 0,-1-1 0 0 0,0 1 0 0 0,1-1 0 0 0,-1 1 0 0 0,1 0 0 0 0,-1 0 0 0 0,1 1 0 0 0,-1-1 0 0 0,0 1 0 0 0,1 0 0 0 0,-1 0 0 0 0,0 0-1 0 0,0 0 1 0 0,1 0 0 0 0,4 4 0 0 0,-4-2 6 0 0,0 1-1 0 0,0 0 0 0 0,-1 0 1 0 0,1 0-1 0 0,-1 0 0 0 0,0 1 1 0 0,0-1-1 0 0,0 1 1 0 0,0 0-1 0 0,-1 0 0 0 0,0 0 1 0 0,0 0-1 0 0,-1 0 0 0 0,2 8 1 0 0,2 10-651 0 0,2 37 0 0 0,-5-37-3065 0 0,0 0-3449 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marR="0" lvl="0"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1pPr>
            <a:lvl2pPr marL="914400" marR="0" lvl="1"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2pPr>
            <a:lvl3pPr marL="1371600" marR="0" lvl="2"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3pPr>
            <a:lvl4pPr marL="1828800" marR="0" lvl="3"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4pPr>
            <a:lvl5pPr marL="2286000" marR="0" lvl="4"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5pPr>
            <a:lvl6pPr marL="2743200" marR="0" lvl="5"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6pPr>
            <a:lvl7pPr marL="3200400" marR="0" lvl="6"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7pPr>
            <a:lvl8pPr marL="3657600" marR="0" lvl="7"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8pPr>
            <a:lvl9pPr marL="4114800" marR="0" lvl="8"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
        <p:cNvGrpSpPr/>
        <p:nvPr/>
      </p:nvGrpSpPr>
      <p:grpSpPr>
        <a:xfrm>
          <a:off x="0" y="0"/>
          <a:ext cx="0" cy="0"/>
          <a:chOff x="0" y="0"/>
          <a:chExt cx="0" cy="0"/>
        </a:xfrm>
      </p:grpSpPr>
      <p:sp>
        <p:nvSpPr>
          <p:cNvPr id="60" name="Google Shape;60;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1" name="Google Shape;61;p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5"/>
        <p:cNvGrpSpPr/>
        <p:nvPr/>
      </p:nvGrpSpPr>
      <p:grpSpPr>
        <a:xfrm>
          <a:off x="0" y="0"/>
          <a:ext cx="0" cy="0"/>
          <a:chOff x="0" y="0"/>
          <a:chExt cx="0" cy="0"/>
        </a:xfrm>
      </p:grpSpPr>
      <p:sp>
        <p:nvSpPr>
          <p:cNvPr id="116" name="Google Shape;116;p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17" name="Google Shape;117;p1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0"/>
        <p:cNvGrpSpPr/>
        <p:nvPr/>
      </p:nvGrpSpPr>
      <p:grpSpPr>
        <a:xfrm>
          <a:off x="0" y="0"/>
          <a:ext cx="0" cy="0"/>
          <a:chOff x="0" y="0"/>
          <a:chExt cx="0" cy="0"/>
        </a:xfrm>
      </p:grpSpPr>
      <p:sp>
        <p:nvSpPr>
          <p:cNvPr id="121" name="Google Shape;121;p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22" name="Google Shape;122;p1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7"/>
        <p:cNvGrpSpPr/>
        <p:nvPr/>
      </p:nvGrpSpPr>
      <p:grpSpPr>
        <a:xfrm>
          <a:off x="0" y="0"/>
          <a:ext cx="0" cy="0"/>
          <a:chOff x="0" y="0"/>
          <a:chExt cx="0" cy="0"/>
        </a:xfrm>
      </p:grpSpPr>
      <p:sp>
        <p:nvSpPr>
          <p:cNvPr id="128" name="Google Shape;128;p1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29" name="Google Shape;129;p1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
        <p:cNvGrpSpPr/>
        <p:nvPr/>
      </p:nvGrpSpPr>
      <p:grpSpPr>
        <a:xfrm>
          <a:off x="0" y="0"/>
          <a:ext cx="0" cy="0"/>
          <a:chOff x="0" y="0"/>
          <a:chExt cx="0" cy="0"/>
        </a:xfrm>
      </p:grpSpPr>
      <p:sp>
        <p:nvSpPr>
          <p:cNvPr id="135" name="Google Shape;135;p1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36" name="Google Shape;136;p1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1"/>
        <p:cNvGrpSpPr/>
        <p:nvPr/>
      </p:nvGrpSpPr>
      <p:grpSpPr>
        <a:xfrm>
          <a:off x="0" y="0"/>
          <a:ext cx="0" cy="0"/>
          <a:chOff x="0" y="0"/>
          <a:chExt cx="0" cy="0"/>
        </a:xfrm>
      </p:grpSpPr>
      <p:sp>
        <p:nvSpPr>
          <p:cNvPr id="142" name="Google Shape;142;p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43" name="Google Shape;143;p1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8"/>
        <p:cNvGrpSpPr/>
        <p:nvPr/>
      </p:nvGrpSpPr>
      <p:grpSpPr>
        <a:xfrm>
          <a:off x="0" y="0"/>
          <a:ext cx="0" cy="0"/>
          <a:chOff x="0" y="0"/>
          <a:chExt cx="0" cy="0"/>
        </a:xfrm>
      </p:grpSpPr>
      <p:sp>
        <p:nvSpPr>
          <p:cNvPr id="149" name="Google Shape;149;p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50" name="Google Shape;150;p1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5"/>
        <p:cNvGrpSpPr/>
        <p:nvPr/>
      </p:nvGrpSpPr>
      <p:grpSpPr>
        <a:xfrm>
          <a:off x="0" y="0"/>
          <a:ext cx="0" cy="0"/>
          <a:chOff x="0" y="0"/>
          <a:chExt cx="0" cy="0"/>
        </a:xfrm>
      </p:grpSpPr>
      <p:sp>
        <p:nvSpPr>
          <p:cNvPr id="156" name="Google Shape;156;p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57" name="Google Shape;157;p1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p:cNvGrpSpPr/>
        <p:nvPr/>
      </p:nvGrpSpPr>
      <p:grpSpPr>
        <a:xfrm>
          <a:off x="0" y="0"/>
          <a:ext cx="0" cy="0"/>
          <a:chOff x="0" y="0"/>
          <a:chExt cx="0" cy="0"/>
        </a:xfrm>
      </p:grpSpPr>
      <p:sp>
        <p:nvSpPr>
          <p:cNvPr id="163" name="Google Shape;163;p1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64" name="Google Shape;164;p1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9"/>
        <p:cNvGrpSpPr/>
        <p:nvPr/>
      </p:nvGrpSpPr>
      <p:grpSpPr>
        <a:xfrm>
          <a:off x="0" y="0"/>
          <a:ext cx="0" cy="0"/>
          <a:chOff x="0" y="0"/>
          <a:chExt cx="0" cy="0"/>
        </a:xfrm>
      </p:grpSpPr>
      <p:sp>
        <p:nvSpPr>
          <p:cNvPr id="170" name="Google Shape;170;p1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71" name="Google Shape;171;p1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p1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76" name="Google Shape;176;p1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
        <p:cNvGrpSpPr/>
        <p:nvPr/>
      </p:nvGrpSpPr>
      <p:grpSpPr>
        <a:xfrm>
          <a:off x="0" y="0"/>
          <a:ext cx="0" cy="0"/>
          <a:chOff x="0" y="0"/>
          <a:chExt cx="0" cy="0"/>
        </a:xfrm>
      </p:grpSpPr>
      <p:sp>
        <p:nvSpPr>
          <p:cNvPr id="66" name="Google Shape;66;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7" name="Google Shape;67;p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1"/>
        <p:cNvGrpSpPr/>
        <p:nvPr/>
      </p:nvGrpSpPr>
      <p:grpSpPr>
        <a:xfrm>
          <a:off x="0" y="0"/>
          <a:ext cx="0" cy="0"/>
          <a:chOff x="0" y="0"/>
          <a:chExt cx="0" cy="0"/>
        </a:xfrm>
      </p:grpSpPr>
      <p:sp>
        <p:nvSpPr>
          <p:cNvPr id="182" name="Google Shape;182;p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83" name="Google Shape;183;p2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
        <p:cNvGrpSpPr/>
        <p:nvPr/>
      </p:nvGrpSpPr>
      <p:grpSpPr>
        <a:xfrm>
          <a:off x="0" y="0"/>
          <a:ext cx="0" cy="0"/>
          <a:chOff x="0" y="0"/>
          <a:chExt cx="0" cy="0"/>
        </a:xfrm>
      </p:grpSpPr>
      <p:sp>
        <p:nvSpPr>
          <p:cNvPr id="94" name="Google Shape;94;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95" name="Google Shape;95;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Google Shape;190;p2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91" name="Google Shape;191;p2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
        <p:cNvGrpSpPr/>
        <p:nvPr/>
      </p:nvGrpSpPr>
      <p:grpSpPr>
        <a:xfrm>
          <a:off x="0" y="0"/>
          <a:ext cx="0" cy="0"/>
          <a:chOff x="0" y="0"/>
          <a:chExt cx="0" cy="0"/>
        </a:xfrm>
      </p:grpSpPr>
      <p:sp>
        <p:nvSpPr>
          <p:cNvPr id="195" name="Google Shape;195;p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96" name="Google Shape;196;p2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
        <p:cNvGrpSpPr/>
        <p:nvPr/>
      </p:nvGrpSpPr>
      <p:grpSpPr>
        <a:xfrm>
          <a:off x="0" y="0"/>
          <a:ext cx="0" cy="0"/>
          <a:chOff x="0" y="0"/>
          <a:chExt cx="0" cy="0"/>
        </a:xfrm>
      </p:grpSpPr>
      <p:sp>
        <p:nvSpPr>
          <p:cNvPr id="201" name="Google Shape;201;p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02" name="Google Shape;202;p2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1"/>
        <p:cNvGrpSpPr/>
        <p:nvPr/>
      </p:nvGrpSpPr>
      <p:grpSpPr>
        <a:xfrm>
          <a:off x="0" y="0"/>
          <a:ext cx="0" cy="0"/>
          <a:chOff x="0" y="0"/>
          <a:chExt cx="0" cy="0"/>
        </a:xfrm>
      </p:grpSpPr>
      <p:sp>
        <p:nvSpPr>
          <p:cNvPr id="72" name="Google Shape;72;p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3" name="Google Shape;73;p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7"/>
        <p:cNvGrpSpPr/>
        <p:nvPr/>
      </p:nvGrpSpPr>
      <p:grpSpPr>
        <a:xfrm>
          <a:off x="0" y="0"/>
          <a:ext cx="0" cy="0"/>
          <a:chOff x="0" y="0"/>
          <a:chExt cx="0" cy="0"/>
        </a:xfrm>
      </p:grpSpPr>
      <p:sp>
        <p:nvSpPr>
          <p:cNvPr id="78" name="Google Shape;78;p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9" name="Google Shape;79;p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2"/>
        <p:cNvGrpSpPr/>
        <p:nvPr/>
      </p:nvGrpSpPr>
      <p:grpSpPr>
        <a:xfrm>
          <a:off x="0" y="0"/>
          <a:ext cx="0" cy="0"/>
          <a:chOff x="0" y="0"/>
          <a:chExt cx="0" cy="0"/>
        </a:xfrm>
      </p:grpSpPr>
      <p:sp>
        <p:nvSpPr>
          <p:cNvPr id="83" name="Google Shape;83;p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84" name="Google Shape;84;p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
        <p:cNvGrpSpPr/>
        <p:nvPr/>
      </p:nvGrpSpPr>
      <p:grpSpPr>
        <a:xfrm>
          <a:off x="0" y="0"/>
          <a:ext cx="0" cy="0"/>
          <a:chOff x="0" y="0"/>
          <a:chExt cx="0" cy="0"/>
        </a:xfrm>
      </p:grpSpPr>
      <p:sp>
        <p:nvSpPr>
          <p:cNvPr id="90" name="Google Shape;90;p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91" name="Google Shape;91;p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
        <p:cNvGrpSpPr/>
        <p:nvPr/>
      </p:nvGrpSpPr>
      <p:grpSpPr>
        <a:xfrm>
          <a:off x="0" y="0"/>
          <a:ext cx="0" cy="0"/>
          <a:chOff x="0" y="0"/>
          <a:chExt cx="0" cy="0"/>
        </a:xfrm>
      </p:grpSpPr>
      <p:sp>
        <p:nvSpPr>
          <p:cNvPr id="97" name="Google Shape;97;p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98" name="Google Shape;98;p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3"/>
        <p:cNvGrpSpPr/>
        <p:nvPr/>
      </p:nvGrpSpPr>
      <p:grpSpPr>
        <a:xfrm>
          <a:off x="0" y="0"/>
          <a:ext cx="0" cy="0"/>
          <a:chOff x="0" y="0"/>
          <a:chExt cx="0" cy="0"/>
        </a:xfrm>
      </p:grpSpPr>
      <p:sp>
        <p:nvSpPr>
          <p:cNvPr id="104" name="Google Shape;104;p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05" name="Google Shape;105;p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8"/>
        <p:cNvGrpSpPr/>
        <p:nvPr/>
      </p:nvGrpSpPr>
      <p:grpSpPr>
        <a:xfrm>
          <a:off x="0" y="0"/>
          <a:ext cx="0" cy="0"/>
          <a:chOff x="0" y="0"/>
          <a:chExt cx="0" cy="0"/>
        </a:xfrm>
      </p:grpSpPr>
      <p:sp>
        <p:nvSpPr>
          <p:cNvPr id="109" name="Google Shape;109;p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10" name="Google Shape;110;p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hyperlink" Target="http://example.com" TargetMode="Externa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hyperlink" Target="http://example.com" TargetMode="External"/><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0"/>
        <p:cNvGrpSpPr/>
        <p:nvPr/>
      </p:nvGrpSpPr>
      <p:grpSpPr>
        <a:xfrm>
          <a:off x="0" y="0"/>
          <a:ext cx="0" cy="0"/>
          <a:chOff x="0" y="0"/>
          <a:chExt cx="0" cy="0"/>
        </a:xfrm>
      </p:grpSpPr>
      <p:sp>
        <p:nvSpPr>
          <p:cNvPr id="11" name="Google Shape;11;p25"/>
          <p:cNvSpPr txBox="1">
            <a:spLocks noGrp="1"/>
          </p:cNvSpPr>
          <p:nvPr>
            <p:ph type="ctrTitle"/>
          </p:nvPr>
        </p:nvSpPr>
        <p:spPr>
          <a:xfrm>
            <a:off x="311708" y="744575"/>
            <a:ext cx="8520600" cy="2052600"/>
          </a:xfrm>
          <a:prstGeom prst="rect">
            <a:avLst/>
          </a:prstGeom>
          <a:noFill/>
          <a:ln>
            <a:noFill/>
          </a:ln>
        </p:spPr>
        <p:txBody>
          <a:bodyPr spcFirstLastPara="1" wrap="square" lIns="91425" tIns="91425" rIns="91425" bIns="91425" anchor="b" anchorCtr="0">
            <a:noAutofit/>
          </a:bodyPr>
          <a:lstStyle>
            <a:lvl1pPr lvl="0" algn="ctr">
              <a:lnSpc>
                <a:spcPct val="100000"/>
              </a:lnSpc>
              <a:spcBef>
                <a:spcPts val="0"/>
              </a:spcBef>
              <a:spcAft>
                <a:spcPts val="0"/>
              </a:spcAft>
              <a:buClr>
                <a:srgbClr val="365F91"/>
              </a:buClr>
              <a:buSzPts val="5200"/>
              <a:buFont typeface="Helvetica Neue Light"/>
              <a:buNone/>
              <a:defRPr sz="5200">
                <a:solidFill>
                  <a:srgbClr val="365F91"/>
                </a:solidFill>
                <a:latin typeface="Helvetica Neue Light"/>
                <a:ea typeface="Helvetica Neue Light"/>
                <a:cs typeface="Helvetica Neue Light"/>
                <a:sym typeface="Helvetica Neue Light"/>
              </a:defRPr>
            </a:lvl1pPr>
            <a:lvl2pPr lvl="1" algn="ctr">
              <a:lnSpc>
                <a:spcPct val="100000"/>
              </a:lnSpc>
              <a:spcBef>
                <a:spcPts val="0"/>
              </a:spcBef>
              <a:spcAft>
                <a:spcPts val="0"/>
              </a:spcAft>
              <a:buSzPts val="5200"/>
              <a:buNone/>
              <a:defRPr sz="5200"/>
            </a:lvl2pPr>
            <a:lvl3pPr lvl="2" algn="ctr">
              <a:lnSpc>
                <a:spcPct val="100000"/>
              </a:lnSpc>
              <a:spcBef>
                <a:spcPts val="0"/>
              </a:spcBef>
              <a:spcAft>
                <a:spcPts val="0"/>
              </a:spcAft>
              <a:buSzPts val="5200"/>
              <a:buNone/>
              <a:defRPr sz="5200"/>
            </a:lvl3pPr>
            <a:lvl4pPr lvl="3" algn="ctr">
              <a:lnSpc>
                <a:spcPct val="100000"/>
              </a:lnSpc>
              <a:spcBef>
                <a:spcPts val="0"/>
              </a:spcBef>
              <a:spcAft>
                <a:spcPts val="0"/>
              </a:spcAft>
              <a:buSzPts val="5200"/>
              <a:buNone/>
              <a:defRPr sz="5200"/>
            </a:lvl4pPr>
            <a:lvl5pPr lvl="4" algn="ctr">
              <a:lnSpc>
                <a:spcPct val="100000"/>
              </a:lnSpc>
              <a:spcBef>
                <a:spcPts val="0"/>
              </a:spcBef>
              <a:spcAft>
                <a:spcPts val="0"/>
              </a:spcAft>
              <a:buSzPts val="5200"/>
              <a:buNone/>
              <a:defRPr sz="5200"/>
            </a:lvl5pPr>
            <a:lvl6pPr lvl="5" algn="ctr">
              <a:lnSpc>
                <a:spcPct val="100000"/>
              </a:lnSpc>
              <a:spcBef>
                <a:spcPts val="0"/>
              </a:spcBef>
              <a:spcAft>
                <a:spcPts val="0"/>
              </a:spcAft>
              <a:buSzPts val="5200"/>
              <a:buNone/>
              <a:defRPr sz="5200"/>
            </a:lvl6pPr>
            <a:lvl7pPr lvl="6" algn="ctr">
              <a:lnSpc>
                <a:spcPct val="100000"/>
              </a:lnSpc>
              <a:spcBef>
                <a:spcPts val="0"/>
              </a:spcBef>
              <a:spcAft>
                <a:spcPts val="0"/>
              </a:spcAft>
              <a:buSzPts val="5200"/>
              <a:buNone/>
              <a:defRPr sz="5200"/>
            </a:lvl7pPr>
            <a:lvl8pPr lvl="7" algn="ctr">
              <a:lnSpc>
                <a:spcPct val="100000"/>
              </a:lnSpc>
              <a:spcBef>
                <a:spcPts val="0"/>
              </a:spcBef>
              <a:spcAft>
                <a:spcPts val="0"/>
              </a:spcAft>
              <a:buSzPts val="5200"/>
              <a:buNone/>
              <a:defRPr sz="5200"/>
            </a:lvl8pPr>
            <a:lvl9pPr lvl="8" algn="ctr">
              <a:lnSpc>
                <a:spcPct val="100000"/>
              </a:lnSpc>
              <a:spcBef>
                <a:spcPts val="0"/>
              </a:spcBef>
              <a:spcAft>
                <a:spcPts val="0"/>
              </a:spcAft>
              <a:buSzPts val="5200"/>
              <a:buNone/>
              <a:defRPr sz="5200"/>
            </a:lvl9pPr>
          </a:lstStyle>
          <a:p>
            <a:endParaRPr/>
          </a:p>
        </p:txBody>
      </p:sp>
      <p:sp>
        <p:nvSpPr>
          <p:cNvPr id="12" name="Google Shape;12;p25"/>
          <p:cNvSpPr txBox="1">
            <a:spLocks noGrp="1"/>
          </p:cNvSpPr>
          <p:nvPr>
            <p:ph type="subTitle" idx="1"/>
          </p:nvPr>
        </p:nvSpPr>
        <p:spPr>
          <a:xfrm>
            <a:off x="311700" y="2834125"/>
            <a:ext cx="8520600" cy="792600"/>
          </a:xfrm>
          <a:prstGeom prst="rect">
            <a:avLst/>
          </a:prstGeom>
          <a:noFill/>
          <a:ln>
            <a:noFill/>
          </a:ln>
        </p:spPr>
        <p:txBody>
          <a:bodyPr spcFirstLastPara="1" wrap="square" lIns="91425" tIns="91425" rIns="91425" bIns="91425" anchor="t" anchorCtr="0">
            <a:noAutofit/>
          </a:bodyPr>
          <a:lstStyle>
            <a:lvl1pPr lvl="0" algn="ctr">
              <a:lnSpc>
                <a:spcPct val="100000"/>
              </a:lnSpc>
              <a:spcBef>
                <a:spcPts val="0"/>
              </a:spcBef>
              <a:spcAft>
                <a:spcPts val="0"/>
              </a:spcAft>
              <a:buClr>
                <a:srgbClr val="039BE5"/>
              </a:buClr>
              <a:buSzPts val="2800"/>
              <a:buNone/>
              <a:defRPr sz="2800">
                <a:solidFill>
                  <a:srgbClr val="039BE5"/>
                </a:solidFill>
              </a:defRPr>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13" name="Google Shape;13;p25"/>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41"/>
        <p:cNvGrpSpPr/>
        <p:nvPr/>
      </p:nvGrpSpPr>
      <p:grpSpPr>
        <a:xfrm>
          <a:off x="0" y="0"/>
          <a:ext cx="0" cy="0"/>
          <a:chOff x="0" y="0"/>
          <a:chExt cx="0" cy="0"/>
        </a:xfrm>
      </p:grpSpPr>
      <p:sp>
        <p:nvSpPr>
          <p:cNvPr id="42" name="Google Shape;42;p34"/>
          <p:cNvSpPr txBox="1">
            <a:spLocks noGrp="1"/>
          </p:cNvSpPr>
          <p:nvPr>
            <p:ph type="title"/>
          </p:nvPr>
        </p:nvSpPr>
        <p:spPr>
          <a:xfrm>
            <a:off x="490250" y="450150"/>
            <a:ext cx="6367800" cy="4090800"/>
          </a:xfrm>
          <a:prstGeom prst="rect">
            <a:avLst/>
          </a:prstGeom>
          <a:noFill/>
          <a:ln>
            <a:noFill/>
          </a:ln>
        </p:spPr>
        <p:txBody>
          <a:bodyPr spcFirstLastPara="1" wrap="square" lIns="91425" tIns="91425" rIns="91425" bIns="91425" anchor="ctr" anchorCtr="0">
            <a:noAutofit/>
          </a:bodyPr>
          <a:lstStyle>
            <a:lvl1pPr lvl="0" algn="l">
              <a:lnSpc>
                <a:spcPct val="100000"/>
              </a:lnSpc>
              <a:spcBef>
                <a:spcPts val="0"/>
              </a:spcBef>
              <a:spcAft>
                <a:spcPts val="0"/>
              </a:spcAft>
              <a:buSzPts val="4800"/>
              <a:buNone/>
              <a:defRPr sz="4800"/>
            </a:lvl1pPr>
            <a:lvl2pPr lvl="1" algn="l">
              <a:lnSpc>
                <a:spcPct val="100000"/>
              </a:lnSpc>
              <a:spcBef>
                <a:spcPts val="0"/>
              </a:spcBef>
              <a:spcAft>
                <a:spcPts val="0"/>
              </a:spcAft>
              <a:buSzPts val="4800"/>
              <a:buNone/>
              <a:defRPr sz="4800"/>
            </a:lvl2pPr>
            <a:lvl3pPr lvl="2" algn="l">
              <a:lnSpc>
                <a:spcPct val="100000"/>
              </a:lnSpc>
              <a:spcBef>
                <a:spcPts val="0"/>
              </a:spcBef>
              <a:spcAft>
                <a:spcPts val="0"/>
              </a:spcAft>
              <a:buSzPts val="4800"/>
              <a:buNone/>
              <a:defRPr sz="4800"/>
            </a:lvl3pPr>
            <a:lvl4pPr lvl="3" algn="l">
              <a:lnSpc>
                <a:spcPct val="100000"/>
              </a:lnSpc>
              <a:spcBef>
                <a:spcPts val="0"/>
              </a:spcBef>
              <a:spcAft>
                <a:spcPts val="0"/>
              </a:spcAft>
              <a:buSzPts val="4800"/>
              <a:buNone/>
              <a:defRPr sz="4800"/>
            </a:lvl4pPr>
            <a:lvl5pPr lvl="4" algn="l">
              <a:lnSpc>
                <a:spcPct val="100000"/>
              </a:lnSpc>
              <a:spcBef>
                <a:spcPts val="0"/>
              </a:spcBef>
              <a:spcAft>
                <a:spcPts val="0"/>
              </a:spcAft>
              <a:buSzPts val="4800"/>
              <a:buNone/>
              <a:defRPr sz="4800"/>
            </a:lvl5pPr>
            <a:lvl6pPr lvl="5" algn="l">
              <a:lnSpc>
                <a:spcPct val="100000"/>
              </a:lnSpc>
              <a:spcBef>
                <a:spcPts val="0"/>
              </a:spcBef>
              <a:spcAft>
                <a:spcPts val="0"/>
              </a:spcAft>
              <a:buSzPts val="4800"/>
              <a:buNone/>
              <a:defRPr sz="4800"/>
            </a:lvl6pPr>
            <a:lvl7pPr lvl="6" algn="l">
              <a:lnSpc>
                <a:spcPct val="100000"/>
              </a:lnSpc>
              <a:spcBef>
                <a:spcPts val="0"/>
              </a:spcBef>
              <a:spcAft>
                <a:spcPts val="0"/>
              </a:spcAft>
              <a:buSzPts val="4800"/>
              <a:buNone/>
              <a:defRPr sz="4800"/>
            </a:lvl7pPr>
            <a:lvl8pPr lvl="7" algn="l">
              <a:lnSpc>
                <a:spcPct val="100000"/>
              </a:lnSpc>
              <a:spcBef>
                <a:spcPts val="0"/>
              </a:spcBef>
              <a:spcAft>
                <a:spcPts val="0"/>
              </a:spcAft>
              <a:buSzPts val="4800"/>
              <a:buNone/>
              <a:defRPr sz="4800"/>
            </a:lvl8pPr>
            <a:lvl9pPr lvl="8" algn="l">
              <a:lnSpc>
                <a:spcPct val="100000"/>
              </a:lnSpc>
              <a:spcBef>
                <a:spcPts val="0"/>
              </a:spcBef>
              <a:spcAft>
                <a:spcPts val="0"/>
              </a:spcAft>
              <a:buSzPts val="4800"/>
              <a:buNone/>
              <a:defRPr sz="4800"/>
            </a:lvl9pPr>
          </a:lstStyle>
          <a:p>
            <a:endParaRPr/>
          </a:p>
        </p:txBody>
      </p:sp>
      <p:sp>
        <p:nvSpPr>
          <p:cNvPr id="43" name="Google Shape;43;p34"/>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44"/>
        <p:cNvGrpSpPr/>
        <p:nvPr/>
      </p:nvGrpSpPr>
      <p:grpSpPr>
        <a:xfrm>
          <a:off x="0" y="0"/>
          <a:ext cx="0" cy="0"/>
          <a:chOff x="0" y="0"/>
          <a:chExt cx="0" cy="0"/>
        </a:xfrm>
      </p:grpSpPr>
      <p:sp>
        <p:nvSpPr>
          <p:cNvPr id="45" name="Google Shape;45;p35"/>
          <p:cNvSpPr/>
          <p:nvPr/>
        </p:nvSpPr>
        <p:spPr>
          <a:xfrm>
            <a:off x="4572000" y="-125"/>
            <a:ext cx="4572000" cy="5143500"/>
          </a:xfrm>
          <a:prstGeom prst="rect">
            <a:avLst/>
          </a:prstGeom>
          <a:solidFill>
            <a:schemeClr val="l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6" name="Google Shape;46;p35"/>
          <p:cNvSpPr txBox="1">
            <a:spLocks noGrp="1"/>
          </p:cNvSpPr>
          <p:nvPr>
            <p:ph type="title"/>
          </p:nvPr>
        </p:nvSpPr>
        <p:spPr>
          <a:xfrm>
            <a:off x="265500" y="1233175"/>
            <a:ext cx="4045200" cy="1482300"/>
          </a:xfrm>
          <a:prstGeom prst="rect">
            <a:avLst/>
          </a:prstGeom>
          <a:noFill/>
          <a:ln>
            <a:noFill/>
          </a:ln>
        </p:spPr>
        <p:txBody>
          <a:bodyPr spcFirstLastPara="1" wrap="square" lIns="91425" tIns="91425" rIns="91425" bIns="91425" anchor="b" anchorCtr="0">
            <a:noAutofit/>
          </a:bodyPr>
          <a:lstStyle>
            <a:lvl1pPr lvl="0" algn="ctr">
              <a:lnSpc>
                <a:spcPct val="100000"/>
              </a:lnSpc>
              <a:spcBef>
                <a:spcPts val="0"/>
              </a:spcBef>
              <a:spcAft>
                <a:spcPts val="0"/>
              </a:spcAft>
              <a:buSzPts val="4200"/>
              <a:buNone/>
              <a:defRPr sz="4200"/>
            </a:lvl1pPr>
            <a:lvl2pPr lvl="1" algn="ctr">
              <a:lnSpc>
                <a:spcPct val="100000"/>
              </a:lnSpc>
              <a:spcBef>
                <a:spcPts val="0"/>
              </a:spcBef>
              <a:spcAft>
                <a:spcPts val="0"/>
              </a:spcAft>
              <a:buSzPts val="4200"/>
              <a:buNone/>
              <a:defRPr sz="4200"/>
            </a:lvl2pPr>
            <a:lvl3pPr lvl="2" algn="ctr">
              <a:lnSpc>
                <a:spcPct val="100000"/>
              </a:lnSpc>
              <a:spcBef>
                <a:spcPts val="0"/>
              </a:spcBef>
              <a:spcAft>
                <a:spcPts val="0"/>
              </a:spcAft>
              <a:buSzPts val="4200"/>
              <a:buNone/>
              <a:defRPr sz="4200"/>
            </a:lvl3pPr>
            <a:lvl4pPr lvl="3" algn="ctr">
              <a:lnSpc>
                <a:spcPct val="100000"/>
              </a:lnSpc>
              <a:spcBef>
                <a:spcPts val="0"/>
              </a:spcBef>
              <a:spcAft>
                <a:spcPts val="0"/>
              </a:spcAft>
              <a:buSzPts val="4200"/>
              <a:buNone/>
              <a:defRPr sz="4200"/>
            </a:lvl4pPr>
            <a:lvl5pPr lvl="4" algn="ctr">
              <a:lnSpc>
                <a:spcPct val="100000"/>
              </a:lnSpc>
              <a:spcBef>
                <a:spcPts val="0"/>
              </a:spcBef>
              <a:spcAft>
                <a:spcPts val="0"/>
              </a:spcAft>
              <a:buSzPts val="4200"/>
              <a:buNone/>
              <a:defRPr sz="4200"/>
            </a:lvl5pPr>
            <a:lvl6pPr lvl="5" algn="ctr">
              <a:lnSpc>
                <a:spcPct val="100000"/>
              </a:lnSpc>
              <a:spcBef>
                <a:spcPts val="0"/>
              </a:spcBef>
              <a:spcAft>
                <a:spcPts val="0"/>
              </a:spcAft>
              <a:buSzPts val="4200"/>
              <a:buNone/>
              <a:defRPr sz="4200"/>
            </a:lvl6pPr>
            <a:lvl7pPr lvl="6" algn="ctr">
              <a:lnSpc>
                <a:spcPct val="100000"/>
              </a:lnSpc>
              <a:spcBef>
                <a:spcPts val="0"/>
              </a:spcBef>
              <a:spcAft>
                <a:spcPts val="0"/>
              </a:spcAft>
              <a:buSzPts val="4200"/>
              <a:buNone/>
              <a:defRPr sz="4200"/>
            </a:lvl7pPr>
            <a:lvl8pPr lvl="7" algn="ctr">
              <a:lnSpc>
                <a:spcPct val="100000"/>
              </a:lnSpc>
              <a:spcBef>
                <a:spcPts val="0"/>
              </a:spcBef>
              <a:spcAft>
                <a:spcPts val="0"/>
              </a:spcAft>
              <a:buSzPts val="4200"/>
              <a:buNone/>
              <a:defRPr sz="4200"/>
            </a:lvl8pPr>
            <a:lvl9pPr lvl="8" algn="ctr">
              <a:lnSpc>
                <a:spcPct val="100000"/>
              </a:lnSpc>
              <a:spcBef>
                <a:spcPts val="0"/>
              </a:spcBef>
              <a:spcAft>
                <a:spcPts val="0"/>
              </a:spcAft>
              <a:buSzPts val="4200"/>
              <a:buNone/>
              <a:defRPr sz="4200"/>
            </a:lvl9pPr>
          </a:lstStyle>
          <a:p>
            <a:endParaRPr/>
          </a:p>
        </p:txBody>
      </p:sp>
      <p:sp>
        <p:nvSpPr>
          <p:cNvPr id="47" name="Google Shape;47;p35"/>
          <p:cNvSpPr txBox="1">
            <a:spLocks noGrp="1"/>
          </p:cNvSpPr>
          <p:nvPr>
            <p:ph type="subTitle" idx="1"/>
          </p:nvPr>
        </p:nvSpPr>
        <p:spPr>
          <a:xfrm>
            <a:off x="265500" y="2803075"/>
            <a:ext cx="4045200" cy="1235100"/>
          </a:xfrm>
          <a:prstGeom prst="rect">
            <a:avLst/>
          </a:prstGeom>
          <a:noFill/>
          <a:ln>
            <a:noFill/>
          </a:ln>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48" name="Google Shape;48;p35"/>
          <p:cNvSpPr txBox="1">
            <a:spLocks noGrp="1"/>
          </p:cNvSpPr>
          <p:nvPr>
            <p:ph type="body" idx="2"/>
          </p:nvPr>
        </p:nvSpPr>
        <p:spPr>
          <a:xfrm>
            <a:off x="4939500" y="724075"/>
            <a:ext cx="3837000" cy="3695100"/>
          </a:xfrm>
          <a:prstGeom prst="rect">
            <a:avLst/>
          </a:prstGeom>
          <a:noFill/>
          <a:ln>
            <a:noFill/>
          </a:ln>
        </p:spPr>
        <p:txBody>
          <a:bodyPr spcFirstLastPara="1" wrap="square" lIns="91425" tIns="91425" rIns="91425" bIns="91425" anchor="ctr" anchorCtr="0">
            <a:noAutofit/>
          </a:bodyPr>
          <a:lstStyle>
            <a:lvl1pPr marL="457200" lvl="0" indent="-342900" algn="l">
              <a:lnSpc>
                <a:spcPct val="115000"/>
              </a:lnSpc>
              <a:spcBef>
                <a:spcPts val="0"/>
              </a:spcBef>
              <a:spcAft>
                <a:spcPts val="0"/>
              </a:spcAft>
              <a:buSzPts val="1800"/>
              <a:buChar char="●"/>
              <a:defRPr/>
            </a:lvl1pPr>
            <a:lvl2pPr marL="914400" lvl="1" indent="-317500" algn="l">
              <a:lnSpc>
                <a:spcPct val="115000"/>
              </a:lnSpc>
              <a:spcBef>
                <a:spcPts val="1600"/>
              </a:spcBef>
              <a:spcAft>
                <a:spcPts val="0"/>
              </a:spcAft>
              <a:buSzPts val="1400"/>
              <a:buChar char="○"/>
              <a:defRPr/>
            </a:lvl2pPr>
            <a:lvl3pPr marL="1371600" lvl="2" indent="-317500" algn="l">
              <a:lnSpc>
                <a:spcPct val="115000"/>
              </a:lnSpc>
              <a:spcBef>
                <a:spcPts val="1600"/>
              </a:spcBef>
              <a:spcAft>
                <a:spcPts val="0"/>
              </a:spcAft>
              <a:buSzPts val="1400"/>
              <a:buChar char="■"/>
              <a:defRPr/>
            </a:lvl3pPr>
            <a:lvl4pPr marL="1828800" lvl="3" indent="-317500" algn="l">
              <a:lnSpc>
                <a:spcPct val="115000"/>
              </a:lnSpc>
              <a:spcBef>
                <a:spcPts val="1600"/>
              </a:spcBef>
              <a:spcAft>
                <a:spcPts val="0"/>
              </a:spcAft>
              <a:buSzPts val="1400"/>
              <a:buChar char="●"/>
              <a:defRPr/>
            </a:lvl4pPr>
            <a:lvl5pPr marL="2286000" lvl="4" indent="-317500" algn="l">
              <a:lnSpc>
                <a:spcPct val="115000"/>
              </a:lnSpc>
              <a:spcBef>
                <a:spcPts val="1600"/>
              </a:spcBef>
              <a:spcAft>
                <a:spcPts val="0"/>
              </a:spcAft>
              <a:buSzPts val="1400"/>
              <a:buChar char="○"/>
              <a:defRPr/>
            </a:lvl5pPr>
            <a:lvl6pPr marL="2743200" lvl="5" indent="-317500" algn="l">
              <a:lnSpc>
                <a:spcPct val="115000"/>
              </a:lnSpc>
              <a:spcBef>
                <a:spcPts val="1600"/>
              </a:spcBef>
              <a:spcAft>
                <a:spcPts val="0"/>
              </a:spcAft>
              <a:buSzPts val="1400"/>
              <a:buChar char="■"/>
              <a:defRPr/>
            </a:lvl6pPr>
            <a:lvl7pPr marL="3200400" lvl="6" indent="-317500" algn="l">
              <a:lnSpc>
                <a:spcPct val="115000"/>
              </a:lnSpc>
              <a:spcBef>
                <a:spcPts val="1600"/>
              </a:spcBef>
              <a:spcAft>
                <a:spcPts val="0"/>
              </a:spcAft>
              <a:buSzPts val="1400"/>
              <a:buChar char="●"/>
              <a:defRPr/>
            </a:lvl7pPr>
            <a:lvl8pPr marL="3657600" lvl="7" indent="-317500" algn="l">
              <a:lnSpc>
                <a:spcPct val="115000"/>
              </a:lnSpc>
              <a:spcBef>
                <a:spcPts val="1600"/>
              </a:spcBef>
              <a:spcAft>
                <a:spcPts val="0"/>
              </a:spcAft>
              <a:buSzPts val="1400"/>
              <a:buChar char="○"/>
              <a:defRPr/>
            </a:lvl8pPr>
            <a:lvl9pPr marL="4114800" lvl="8" indent="-317500" algn="l">
              <a:lnSpc>
                <a:spcPct val="115000"/>
              </a:lnSpc>
              <a:spcBef>
                <a:spcPts val="1600"/>
              </a:spcBef>
              <a:spcAft>
                <a:spcPts val="1600"/>
              </a:spcAft>
              <a:buSzPts val="1400"/>
              <a:buChar char="■"/>
              <a:defRPr/>
            </a:lvl9pPr>
          </a:lstStyle>
          <a:p>
            <a:endParaRPr/>
          </a:p>
        </p:txBody>
      </p:sp>
      <p:sp>
        <p:nvSpPr>
          <p:cNvPr id="49" name="Google Shape;49;p35"/>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50"/>
        <p:cNvGrpSpPr/>
        <p:nvPr/>
      </p:nvGrpSpPr>
      <p:grpSpPr>
        <a:xfrm>
          <a:off x="0" y="0"/>
          <a:ext cx="0" cy="0"/>
          <a:chOff x="0" y="0"/>
          <a:chExt cx="0" cy="0"/>
        </a:xfrm>
      </p:grpSpPr>
      <p:sp>
        <p:nvSpPr>
          <p:cNvPr id="51" name="Google Shape;51;p36"/>
          <p:cNvSpPr txBox="1">
            <a:spLocks noGrp="1"/>
          </p:cNvSpPr>
          <p:nvPr>
            <p:ph type="body" idx="1"/>
          </p:nvPr>
        </p:nvSpPr>
        <p:spPr>
          <a:xfrm>
            <a:off x="311700" y="4230575"/>
            <a:ext cx="5998800" cy="605100"/>
          </a:xfrm>
          <a:prstGeom prst="rect">
            <a:avLst/>
          </a:prstGeom>
          <a:noFill/>
          <a:ln>
            <a:noFill/>
          </a:ln>
        </p:spPr>
        <p:txBody>
          <a:bodyPr spcFirstLastPara="1" wrap="square" lIns="91425" tIns="91425" rIns="91425" bIns="91425" anchor="ctr" anchorCtr="0">
            <a:noAutofit/>
          </a:bodyPr>
          <a:lstStyle>
            <a:lvl1pPr marL="457200" lvl="0" indent="-228600" algn="l">
              <a:lnSpc>
                <a:spcPct val="100000"/>
              </a:lnSpc>
              <a:spcBef>
                <a:spcPts val="0"/>
              </a:spcBef>
              <a:spcAft>
                <a:spcPts val="0"/>
              </a:spcAft>
              <a:buSzPts val="1800"/>
              <a:buNone/>
              <a:defRPr/>
            </a:lvl1pPr>
          </a:lstStyle>
          <a:p>
            <a:endParaRPr/>
          </a:p>
        </p:txBody>
      </p:sp>
      <p:sp>
        <p:nvSpPr>
          <p:cNvPr id="52" name="Google Shape;52;p36"/>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53"/>
        <p:cNvGrpSpPr/>
        <p:nvPr/>
      </p:nvGrpSpPr>
      <p:grpSpPr>
        <a:xfrm>
          <a:off x="0" y="0"/>
          <a:ext cx="0" cy="0"/>
          <a:chOff x="0" y="0"/>
          <a:chExt cx="0" cy="0"/>
        </a:xfrm>
      </p:grpSpPr>
      <p:sp>
        <p:nvSpPr>
          <p:cNvPr id="54" name="Google Shape;54;p37"/>
          <p:cNvSpPr txBox="1">
            <a:spLocks noGrp="1"/>
          </p:cNvSpPr>
          <p:nvPr>
            <p:ph type="title" hasCustomPrompt="1"/>
          </p:nvPr>
        </p:nvSpPr>
        <p:spPr>
          <a:xfrm>
            <a:off x="311700" y="1106125"/>
            <a:ext cx="8520600" cy="1963500"/>
          </a:xfrm>
          <a:prstGeom prst="rect">
            <a:avLst/>
          </a:prstGeom>
          <a:noFill/>
          <a:ln>
            <a:noFill/>
          </a:ln>
        </p:spPr>
        <p:txBody>
          <a:bodyPr spcFirstLastPara="1" wrap="square" lIns="91425" tIns="91425" rIns="91425" bIns="91425" anchor="b" anchorCtr="0">
            <a:noAutofit/>
          </a:bodyPr>
          <a:lstStyle>
            <a:lvl1pPr lvl="0" algn="ctr">
              <a:lnSpc>
                <a:spcPct val="100000"/>
              </a:lnSpc>
              <a:spcBef>
                <a:spcPts val="0"/>
              </a:spcBef>
              <a:spcAft>
                <a:spcPts val="0"/>
              </a:spcAft>
              <a:buSzPts val="12000"/>
              <a:buNone/>
              <a:defRPr sz="12000"/>
            </a:lvl1pPr>
            <a:lvl2pPr lvl="1" algn="ctr">
              <a:lnSpc>
                <a:spcPct val="100000"/>
              </a:lnSpc>
              <a:spcBef>
                <a:spcPts val="0"/>
              </a:spcBef>
              <a:spcAft>
                <a:spcPts val="0"/>
              </a:spcAft>
              <a:buSzPts val="12000"/>
              <a:buNone/>
              <a:defRPr sz="12000"/>
            </a:lvl2pPr>
            <a:lvl3pPr lvl="2" algn="ctr">
              <a:lnSpc>
                <a:spcPct val="100000"/>
              </a:lnSpc>
              <a:spcBef>
                <a:spcPts val="0"/>
              </a:spcBef>
              <a:spcAft>
                <a:spcPts val="0"/>
              </a:spcAft>
              <a:buSzPts val="12000"/>
              <a:buNone/>
              <a:defRPr sz="12000"/>
            </a:lvl3pPr>
            <a:lvl4pPr lvl="3" algn="ctr">
              <a:lnSpc>
                <a:spcPct val="100000"/>
              </a:lnSpc>
              <a:spcBef>
                <a:spcPts val="0"/>
              </a:spcBef>
              <a:spcAft>
                <a:spcPts val="0"/>
              </a:spcAft>
              <a:buSzPts val="12000"/>
              <a:buNone/>
              <a:defRPr sz="12000"/>
            </a:lvl4pPr>
            <a:lvl5pPr lvl="4" algn="ctr">
              <a:lnSpc>
                <a:spcPct val="100000"/>
              </a:lnSpc>
              <a:spcBef>
                <a:spcPts val="0"/>
              </a:spcBef>
              <a:spcAft>
                <a:spcPts val="0"/>
              </a:spcAft>
              <a:buSzPts val="12000"/>
              <a:buNone/>
              <a:defRPr sz="12000"/>
            </a:lvl5pPr>
            <a:lvl6pPr lvl="5" algn="ctr">
              <a:lnSpc>
                <a:spcPct val="100000"/>
              </a:lnSpc>
              <a:spcBef>
                <a:spcPts val="0"/>
              </a:spcBef>
              <a:spcAft>
                <a:spcPts val="0"/>
              </a:spcAft>
              <a:buSzPts val="12000"/>
              <a:buNone/>
              <a:defRPr sz="12000"/>
            </a:lvl6pPr>
            <a:lvl7pPr lvl="6" algn="ctr">
              <a:lnSpc>
                <a:spcPct val="100000"/>
              </a:lnSpc>
              <a:spcBef>
                <a:spcPts val="0"/>
              </a:spcBef>
              <a:spcAft>
                <a:spcPts val="0"/>
              </a:spcAft>
              <a:buSzPts val="12000"/>
              <a:buNone/>
              <a:defRPr sz="12000"/>
            </a:lvl7pPr>
            <a:lvl8pPr lvl="7" algn="ctr">
              <a:lnSpc>
                <a:spcPct val="100000"/>
              </a:lnSpc>
              <a:spcBef>
                <a:spcPts val="0"/>
              </a:spcBef>
              <a:spcAft>
                <a:spcPts val="0"/>
              </a:spcAft>
              <a:buSzPts val="12000"/>
              <a:buNone/>
              <a:defRPr sz="12000"/>
            </a:lvl8pPr>
            <a:lvl9pPr lvl="8" algn="ctr">
              <a:lnSpc>
                <a:spcPct val="100000"/>
              </a:lnSpc>
              <a:spcBef>
                <a:spcPts val="0"/>
              </a:spcBef>
              <a:spcAft>
                <a:spcPts val="0"/>
              </a:spcAft>
              <a:buSzPts val="12000"/>
              <a:buNone/>
              <a:defRPr sz="12000"/>
            </a:lvl9pPr>
          </a:lstStyle>
          <a:p>
            <a:r>
              <a:t>xx%</a:t>
            </a:r>
          </a:p>
        </p:txBody>
      </p:sp>
      <p:sp>
        <p:nvSpPr>
          <p:cNvPr id="55" name="Google Shape;55;p37"/>
          <p:cNvSpPr txBox="1">
            <a:spLocks noGrp="1"/>
          </p:cNvSpPr>
          <p:nvPr>
            <p:ph type="body" idx="1"/>
          </p:nvPr>
        </p:nvSpPr>
        <p:spPr>
          <a:xfrm>
            <a:off x="311700" y="3152225"/>
            <a:ext cx="8520600" cy="1300800"/>
          </a:xfrm>
          <a:prstGeom prst="rect">
            <a:avLst/>
          </a:prstGeom>
          <a:noFill/>
          <a:ln>
            <a:noFill/>
          </a:ln>
        </p:spPr>
        <p:txBody>
          <a:bodyPr spcFirstLastPara="1" wrap="square" lIns="91425" tIns="91425" rIns="91425" bIns="91425" anchor="t" anchorCtr="0">
            <a:noAutofit/>
          </a:bodyPr>
          <a:lstStyle>
            <a:lvl1pPr marL="457200" lvl="0" indent="-342900" algn="ctr">
              <a:lnSpc>
                <a:spcPct val="115000"/>
              </a:lnSpc>
              <a:spcBef>
                <a:spcPts val="0"/>
              </a:spcBef>
              <a:spcAft>
                <a:spcPts val="0"/>
              </a:spcAft>
              <a:buSzPts val="1800"/>
              <a:buChar char="●"/>
              <a:defRPr/>
            </a:lvl1pPr>
            <a:lvl2pPr marL="914400" lvl="1" indent="-317500" algn="ctr">
              <a:lnSpc>
                <a:spcPct val="115000"/>
              </a:lnSpc>
              <a:spcBef>
                <a:spcPts val="1600"/>
              </a:spcBef>
              <a:spcAft>
                <a:spcPts val="0"/>
              </a:spcAft>
              <a:buSzPts val="1400"/>
              <a:buChar char="○"/>
              <a:defRPr/>
            </a:lvl2pPr>
            <a:lvl3pPr marL="1371600" lvl="2" indent="-317500" algn="ctr">
              <a:lnSpc>
                <a:spcPct val="115000"/>
              </a:lnSpc>
              <a:spcBef>
                <a:spcPts val="1600"/>
              </a:spcBef>
              <a:spcAft>
                <a:spcPts val="0"/>
              </a:spcAft>
              <a:buSzPts val="1400"/>
              <a:buChar char="■"/>
              <a:defRPr/>
            </a:lvl3pPr>
            <a:lvl4pPr marL="1828800" lvl="3" indent="-317500" algn="ctr">
              <a:lnSpc>
                <a:spcPct val="115000"/>
              </a:lnSpc>
              <a:spcBef>
                <a:spcPts val="1600"/>
              </a:spcBef>
              <a:spcAft>
                <a:spcPts val="0"/>
              </a:spcAft>
              <a:buSzPts val="1400"/>
              <a:buChar char="●"/>
              <a:defRPr/>
            </a:lvl4pPr>
            <a:lvl5pPr marL="2286000" lvl="4" indent="-317500" algn="ctr">
              <a:lnSpc>
                <a:spcPct val="115000"/>
              </a:lnSpc>
              <a:spcBef>
                <a:spcPts val="1600"/>
              </a:spcBef>
              <a:spcAft>
                <a:spcPts val="0"/>
              </a:spcAft>
              <a:buSzPts val="1400"/>
              <a:buChar char="○"/>
              <a:defRPr/>
            </a:lvl5pPr>
            <a:lvl6pPr marL="2743200" lvl="5" indent="-317500" algn="ctr">
              <a:lnSpc>
                <a:spcPct val="115000"/>
              </a:lnSpc>
              <a:spcBef>
                <a:spcPts val="1600"/>
              </a:spcBef>
              <a:spcAft>
                <a:spcPts val="0"/>
              </a:spcAft>
              <a:buSzPts val="1400"/>
              <a:buChar char="■"/>
              <a:defRPr/>
            </a:lvl6pPr>
            <a:lvl7pPr marL="3200400" lvl="6" indent="-317500" algn="ctr">
              <a:lnSpc>
                <a:spcPct val="115000"/>
              </a:lnSpc>
              <a:spcBef>
                <a:spcPts val="1600"/>
              </a:spcBef>
              <a:spcAft>
                <a:spcPts val="0"/>
              </a:spcAft>
              <a:buSzPts val="1400"/>
              <a:buChar char="●"/>
              <a:defRPr/>
            </a:lvl7pPr>
            <a:lvl8pPr marL="3657600" lvl="7" indent="-317500" algn="ctr">
              <a:lnSpc>
                <a:spcPct val="115000"/>
              </a:lnSpc>
              <a:spcBef>
                <a:spcPts val="1600"/>
              </a:spcBef>
              <a:spcAft>
                <a:spcPts val="0"/>
              </a:spcAft>
              <a:buSzPts val="1400"/>
              <a:buChar char="○"/>
              <a:defRPr/>
            </a:lvl8pPr>
            <a:lvl9pPr marL="4114800" lvl="8" indent="-317500" algn="ctr">
              <a:lnSpc>
                <a:spcPct val="115000"/>
              </a:lnSpc>
              <a:spcBef>
                <a:spcPts val="1600"/>
              </a:spcBef>
              <a:spcAft>
                <a:spcPts val="1600"/>
              </a:spcAft>
              <a:buSzPts val="1400"/>
              <a:buChar char="■"/>
              <a:defRPr/>
            </a:lvl9pPr>
          </a:lstStyle>
          <a:p>
            <a:endParaRPr/>
          </a:p>
        </p:txBody>
      </p:sp>
      <p:sp>
        <p:nvSpPr>
          <p:cNvPr id="56" name="Google Shape;56;p37"/>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57"/>
        <p:cNvGrpSpPr/>
        <p:nvPr/>
      </p:nvGrpSpPr>
      <p:grpSpPr>
        <a:xfrm>
          <a:off x="0" y="0"/>
          <a:ext cx="0" cy="0"/>
          <a:chOff x="0" y="0"/>
          <a:chExt cx="0" cy="0"/>
        </a:xfrm>
      </p:grpSpPr>
      <p:sp>
        <p:nvSpPr>
          <p:cNvPr id="58" name="Google Shape;58;p38"/>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15"/>
        <p:cNvGrpSpPr/>
        <p:nvPr/>
      </p:nvGrpSpPr>
      <p:grpSpPr>
        <a:xfrm>
          <a:off x="0" y="0"/>
          <a:ext cx="0" cy="0"/>
          <a:chOff x="0" y="0"/>
          <a:chExt cx="0" cy="0"/>
        </a:xfrm>
      </p:grpSpPr>
      <p:sp>
        <p:nvSpPr>
          <p:cNvPr id="16" name="Google Shape;16;p8"/>
          <p:cNvSpPr txBox="1">
            <a:spLocks noGrp="1"/>
          </p:cNvSpPr>
          <p:nvPr>
            <p:ph type="body" idx="1"/>
          </p:nvPr>
        </p:nvSpPr>
        <p:spPr>
          <a:xfrm>
            <a:off x="628650" y="1369219"/>
            <a:ext cx="7886700" cy="3263504"/>
          </a:xfrm>
          <a:prstGeom prst="rect">
            <a:avLst/>
          </a:prstGeom>
          <a:noFill/>
          <a:ln>
            <a:noFill/>
          </a:ln>
        </p:spPr>
        <p:txBody>
          <a:bodyPr spcFirstLastPara="1" wrap="square" lIns="91425" tIns="45700" rIns="91425" bIns="45700" anchor="t" anchorCtr="0">
            <a:normAutofit/>
          </a:bodyPr>
          <a:lstStyle>
            <a:lvl1pPr marL="342900" lvl="0" indent="-257175" algn="l">
              <a:lnSpc>
                <a:spcPct val="90000"/>
              </a:lnSpc>
              <a:spcBef>
                <a:spcPts val="750"/>
              </a:spcBef>
              <a:spcAft>
                <a:spcPts val="0"/>
              </a:spcAft>
              <a:buClr>
                <a:schemeClr val="dk1"/>
              </a:buClr>
              <a:buSzPts val="1800"/>
              <a:buChar char="•"/>
              <a:defRPr/>
            </a:lvl1pPr>
            <a:lvl2pPr marL="685800" lvl="1" indent="-257175" algn="l">
              <a:lnSpc>
                <a:spcPct val="90000"/>
              </a:lnSpc>
              <a:spcBef>
                <a:spcPts val="375"/>
              </a:spcBef>
              <a:spcAft>
                <a:spcPts val="0"/>
              </a:spcAft>
              <a:buClr>
                <a:schemeClr val="dk1"/>
              </a:buClr>
              <a:buSzPts val="1800"/>
              <a:buChar char="•"/>
              <a:defRPr/>
            </a:lvl2pPr>
            <a:lvl3pPr marL="1028700" lvl="2" indent="-257175" algn="l">
              <a:lnSpc>
                <a:spcPct val="90000"/>
              </a:lnSpc>
              <a:spcBef>
                <a:spcPts val="375"/>
              </a:spcBef>
              <a:spcAft>
                <a:spcPts val="0"/>
              </a:spcAft>
              <a:buClr>
                <a:schemeClr val="dk1"/>
              </a:buClr>
              <a:buSzPts val="1800"/>
              <a:buChar char="•"/>
              <a:defRPr/>
            </a:lvl3pPr>
            <a:lvl4pPr marL="1371600" lvl="3" indent="-257175" algn="l">
              <a:lnSpc>
                <a:spcPct val="90000"/>
              </a:lnSpc>
              <a:spcBef>
                <a:spcPts val="375"/>
              </a:spcBef>
              <a:spcAft>
                <a:spcPts val="0"/>
              </a:spcAft>
              <a:buClr>
                <a:schemeClr val="dk1"/>
              </a:buClr>
              <a:buSzPts val="1800"/>
              <a:buChar char="•"/>
              <a:defRPr/>
            </a:lvl4pPr>
            <a:lvl5pPr marL="1714500" lvl="4" indent="-257175" algn="l">
              <a:lnSpc>
                <a:spcPct val="90000"/>
              </a:lnSpc>
              <a:spcBef>
                <a:spcPts val="375"/>
              </a:spcBef>
              <a:spcAft>
                <a:spcPts val="0"/>
              </a:spcAft>
              <a:buClr>
                <a:schemeClr val="dk1"/>
              </a:buClr>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4232624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14"/>
        <p:cNvGrpSpPr/>
        <p:nvPr/>
      </p:nvGrpSpPr>
      <p:grpSpPr>
        <a:xfrm>
          <a:off x="0" y="0"/>
          <a:ext cx="0" cy="0"/>
          <a:chOff x="0" y="0"/>
          <a:chExt cx="0" cy="0"/>
        </a:xfrm>
      </p:grpSpPr>
      <p:sp>
        <p:nvSpPr>
          <p:cNvPr id="15" name="Google Shape;15;p26"/>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16" name="Google Shape;16;p26"/>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lvl="0" indent="-342900" algn="l">
              <a:lnSpc>
                <a:spcPct val="115000"/>
              </a:lnSpc>
              <a:spcBef>
                <a:spcPts val="0"/>
              </a:spcBef>
              <a:spcAft>
                <a:spcPts val="0"/>
              </a:spcAft>
              <a:buSzPts val="1800"/>
              <a:buChar char="●"/>
              <a:defRPr/>
            </a:lvl1pPr>
            <a:lvl2pPr marL="914400" lvl="1" indent="-317500" algn="l">
              <a:lnSpc>
                <a:spcPct val="115000"/>
              </a:lnSpc>
              <a:spcBef>
                <a:spcPts val="1600"/>
              </a:spcBef>
              <a:spcAft>
                <a:spcPts val="0"/>
              </a:spcAft>
              <a:buSzPts val="1400"/>
              <a:buChar char="○"/>
              <a:defRPr/>
            </a:lvl2pPr>
            <a:lvl3pPr marL="1371600" lvl="2" indent="-317500" algn="l">
              <a:lnSpc>
                <a:spcPct val="115000"/>
              </a:lnSpc>
              <a:spcBef>
                <a:spcPts val="1600"/>
              </a:spcBef>
              <a:spcAft>
                <a:spcPts val="0"/>
              </a:spcAft>
              <a:buSzPts val="1400"/>
              <a:buChar char="■"/>
              <a:defRPr/>
            </a:lvl3pPr>
            <a:lvl4pPr marL="1828800" lvl="3" indent="-317500" algn="l">
              <a:lnSpc>
                <a:spcPct val="115000"/>
              </a:lnSpc>
              <a:spcBef>
                <a:spcPts val="1600"/>
              </a:spcBef>
              <a:spcAft>
                <a:spcPts val="0"/>
              </a:spcAft>
              <a:buSzPts val="1400"/>
              <a:buChar char="●"/>
              <a:defRPr/>
            </a:lvl4pPr>
            <a:lvl5pPr marL="2286000" lvl="4" indent="-317500" algn="l">
              <a:lnSpc>
                <a:spcPct val="115000"/>
              </a:lnSpc>
              <a:spcBef>
                <a:spcPts val="1600"/>
              </a:spcBef>
              <a:spcAft>
                <a:spcPts val="0"/>
              </a:spcAft>
              <a:buSzPts val="1400"/>
              <a:buChar char="○"/>
              <a:defRPr/>
            </a:lvl5pPr>
            <a:lvl6pPr marL="2743200" lvl="5" indent="-317500" algn="l">
              <a:lnSpc>
                <a:spcPct val="115000"/>
              </a:lnSpc>
              <a:spcBef>
                <a:spcPts val="1600"/>
              </a:spcBef>
              <a:spcAft>
                <a:spcPts val="0"/>
              </a:spcAft>
              <a:buSzPts val="1400"/>
              <a:buChar char="■"/>
              <a:defRPr/>
            </a:lvl6pPr>
            <a:lvl7pPr marL="3200400" lvl="6" indent="-317500" algn="l">
              <a:lnSpc>
                <a:spcPct val="115000"/>
              </a:lnSpc>
              <a:spcBef>
                <a:spcPts val="1600"/>
              </a:spcBef>
              <a:spcAft>
                <a:spcPts val="0"/>
              </a:spcAft>
              <a:buSzPts val="1400"/>
              <a:buChar char="●"/>
              <a:defRPr/>
            </a:lvl7pPr>
            <a:lvl8pPr marL="3657600" lvl="7" indent="-317500" algn="l">
              <a:lnSpc>
                <a:spcPct val="115000"/>
              </a:lnSpc>
              <a:spcBef>
                <a:spcPts val="1600"/>
              </a:spcBef>
              <a:spcAft>
                <a:spcPts val="0"/>
              </a:spcAft>
              <a:buSzPts val="1400"/>
              <a:buChar char="○"/>
              <a:defRPr/>
            </a:lvl8pPr>
            <a:lvl9pPr marL="4114800" lvl="8" indent="-317500" algn="l">
              <a:lnSpc>
                <a:spcPct val="115000"/>
              </a:lnSpc>
              <a:spcBef>
                <a:spcPts val="1600"/>
              </a:spcBef>
              <a:spcAft>
                <a:spcPts val="1600"/>
              </a:spcAft>
              <a:buSzPts val="1400"/>
              <a:buChar char="■"/>
              <a:defRPr/>
            </a:lvl9pPr>
          </a:lstStyle>
          <a:p>
            <a:endParaRPr/>
          </a:p>
        </p:txBody>
      </p:sp>
      <p:sp>
        <p:nvSpPr>
          <p:cNvPr id="17" name="Google Shape;17;p26"/>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hank you slide">
  <p:cSld name="CUSTOM">
    <p:spTree>
      <p:nvGrpSpPr>
        <p:cNvPr id="1" name="Shape 18"/>
        <p:cNvGrpSpPr/>
        <p:nvPr/>
      </p:nvGrpSpPr>
      <p:grpSpPr>
        <a:xfrm>
          <a:off x="0" y="0"/>
          <a:ext cx="0" cy="0"/>
          <a:chOff x="0" y="0"/>
          <a:chExt cx="0" cy="0"/>
        </a:xfrm>
      </p:grpSpPr>
      <p:sp>
        <p:nvSpPr>
          <p:cNvPr id="19" name="Google Shape;19;p27"/>
          <p:cNvSpPr txBox="1"/>
          <p:nvPr/>
        </p:nvSpPr>
        <p:spPr>
          <a:xfrm>
            <a:off x="311708" y="744575"/>
            <a:ext cx="8520600" cy="2052600"/>
          </a:xfrm>
          <a:prstGeom prst="rect">
            <a:avLst/>
          </a:prstGeom>
          <a:noFill/>
          <a:ln>
            <a:noFill/>
          </a:ln>
        </p:spPr>
        <p:txBody>
          <a:bodyPr spcFirstLastPara="1" wrap="square" lIns="91425" tIns="91425" rIns="91425" bIns="91425" anchor="b" anchorCtr="0">
            <a:noAutofit/>
          </a:bodyPr>
          <a:lstStyle/>
          <a:p>
            <a:pPr marL="0" marR="0" lvl="0" indent="0" algn="ctr" rtl="0">
              <a:lnSpc>
                <a:spcPct val="100000"/>
              </a:lnSpc>
              <a:spcBef>
                <a:spcPts val="0"/>
              </a:spcBef>
              <a:spcAft>
                <a:spcPts val="0"/>
              </a:spcAft>
              <a:buClr>
                <a:srgbClr val="000000"/>
              </a:buClr>
              <a:buSzPts val="5200"/>
              <a:buFont typeface="Arial"/>
              <a:buNone/>
            </a:pPr>
            <a:r>
              <a:rPr lang="en" sz="5200" b="0" i="0" u="none" strike="noStrike" cap="none">
                <a:solidFill>
                  <a:srgbClr val="365F91"/>
                </a:solidFill>
                <a:latin typeface="Helvetica Neue"/>
                <a:ea typeface="Helvetica Neue"/>
                <a:cs typeface="Helvetica Neue"/>
                <a:sym typeface="Helvetica Neue"/>
              </a:rPr>
              <a:t>Thank</a:t>
            </a:r>
            <a:r>
              <a:rPr lang="en" sz="5200" b="0" i="0" u="none" strike="noStrike" cap="none">
                <a:solidFill>
                  <a:srgbClr val="000000"/>
                </a:solidFill>
                <a:latin typeface="Helvetica Neue"/>
                <a:ea typeface="Helvetica Neue"/>
                <a:cs typeface="Helvetica Neue"/>
                <a:sym typeface="Helvetica Neue"/>
              </a:rPr>
              <a:t> </a:t>
            </a:r>
            <a:r>
              <a:rPr lang="en" sz="5200" b="0" i="0" u="none" strike="noStrike" cap="none">
                <a:solidFill>
                  <a:srgbClr val="039BE5"/>
                </a:solidFill>
                <a:latin typeface="Helvetica Neue Light"/>
                <a:ea typeface="Helvetica Neue Light"/>
                <a:cs typeface="Helvetica Neue Light"/>
                <a:sym typeface="Helvetica Neue Light"/>
              </a:rPr>
              <a:t>you!</a:t>
            </a:r>
            <a:r>
              <a:rPr lang="en" sz="5200" b="0" i="0" u="none" strike="noStrike" cap="none">
                <a:solidFill>
                  <a:srgbClr val="000000"/>
                </a:solidFill>
                <a:latin typeface="Helvetica Neue"/>
                <a:ea typeface="Helvetica Neue"/>
                <a:cs typeface="Helvetica Neue"/>
                <a:sym typeface="Helvetica Neue"/>
              </a:rPr>
              <a:t> </a:t>
            </a:r>
            <a:r>
              <a:rPr lang="en" sz="5200" b="0" i="0" u="none" strike="noStrike" cap="none">
                <a:solidFill>
                  <a:srgbClr val="999999"/>
                </a:solidFill>
                <a:latin typeface="Helvetica Neue Light"/>
                <a:ea typeface="Helvetica Neue Light"/>
                <a:cs typeface="Helvetica Neue Light"/>
                <a:sym typeface="Helvetica Neue Light"/>
              </a:rPr>
              <a:t>:)</a:t>
            </a:r>
            <a:endParaRPr sz="5200" b="0" i="0" u="none" strike="noStrike" cap="none">
              <a:solidFill>
                <a:srgbClr val="999999"/>
              </a:solidFill>
              <a:latin typeface="Helvetica Neue Light"/>
              <a:ea typeface="Helvetica Neue Light"/>
              <a:cs typeface="Helvetica Neue Light"/>
              <a:sym typeface="Helvetica Neue Light"/>
            </a:endParaRPr>
          </a:p>
        </p:txBody>
      </p:sp>
      <p:sp>
        <p:nvSpPr>
          <p:cNvPr id="20" name="Google Shape;20;p27"/>
          <p:cNvSpPr txBox="1"/>
          <p:nvPr/>
        </p:nvSpPr>
        <p:spPr>
          <a:xfrm>
            <a:off x="311700" y="2834125"/>
            <a:ext cx="8520600" cy="792600"/>
          </a:xfrm>
          <a:prstGeom prst="rect">
            <a:avLst/>
          </a:prstGeom>
          <a:noFill/>
          <a:ln>
            <a:noFill/>
          </a:ln>
        </p:spPr>
        <p:txBody>
          <a:bodyPr spcFirstLastPara="1" wrap="square" lIns="91425" tIns="91425" rIns="91425" bIns="91425" anchor="t" anchorCtr="0">
            <a:noAutofit/>
          </a:bodyPr>
          <a:lstStyle/>
          <a:p>
            <a:pPr marL="0" marR="0" lvl="0" indent="0" algn="ctr" rtl="0">
              <a:lnSpc>
                <a:spcPct val="100000"/>
              </a:lnSpc>
              <a:spcBef>
                <a:spcPts val="0"/>
              </a:spcBef>
              <a:spcAft>
                <a:spcPts val="0"/>
              </a:spcAft>
              <a:buClr>
                <a:srgbClr val="000000"/>
              </a:buClr>
              <a:buSzPts val="2800"/>
              <a:buFont typeface="Arial"/>
              <a:buNone/>
            </a:pPr>
            <a:r>
              <a:rPr lang="en" sz="2800" b="0" i="0" u="none" strike="noStrike" cap="none">
                <a:solidFill>
                  <a:srgbClr val="595959"/>
                </a:solidFill>
                <a:latin typeface="Helvetica Neue"/>
                <a:ea typeface="Helvetica Neue"/>
                <a:cs typeface="Helvetica Neue"/>
                <a:sym typeface="Helvetica Neue"/>
              </a:rPr>
              <a:t>Questions are always welcome</a:t>
            </a:r>
            <a:endParaRPr sz="2800" b="0" i="0" u="none" strike="noStrike" cap="none">
              <a:solidFill>
                <a:srgbClr val="595959"/>
              </a:solidFill>
              <a:latin typeface="Helvetica Neue"/>
              <a:ea typeface="Helvetica Neue"/>
              <a:cs typeface="Helvetica Neue"/>
              <a:sym typeface="Helvetica Neue"/>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21"/>
        <p:cNvGrpSpPr/>
        <p:nvPr/>
      </p:nvGrpSpPr>
      <p:grpSpPr>
        <a:xfrm>
          <a:off x="0" y="0"/>
          <a:ext cx="0" cy="0"/>
          <a:chOff x="0" y="0"/>
          <a:chExt cx="0" cy="0"/>
        </a:xfrm>
      </p:grpSpPr>
      <p:sp>
        <p:nvSpPr>
          <p:cNvPr id="22" name="Google Shape;22;p28"/>
          <p:cNvSpPr txBox="1"/>
          <p:nvPr/>
        </p:nvSpPr>
        <p:spPr>
          <a:xfrm>
            <a:off x="311700" y="2150850"/>
            <a:ext cx="8520600" cy="841800"/>
          </a:xfrm>
          <a:prstGeom prst="rect">
            <a:avLst/>
          </a:prstGeom>
          <a:no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3600"/>
              <a:buFont typeface="Arial"/>
              <a:buNone/>
            </a:pPr>
            <a:r>
              <a:rPr lang="en" sz="3600" b="1" i="0" u="none" strike="noStrike" cap="none">
                <a:solidFill>
                  <a:srgbClr val="365F91"/>
                </a:solidFill>
                <a:latin typeface="Helvetica Neue"/>
                <a:ea typeface="Helvetica Neue"/>
                <a:cs typeface="Helvetica Neue"/>
                <a:sym typeface="Helvetica Neue"/>
              </a:rPr>
              <a:t>Section</a:t>
            </a:r>
            <a:r>
              <a:rPr lang="en" sz="3600" b="0" i="0" u="none" strike="noStrike" cap="none">
                <a:solidFill>
                  <a:srgbClr val="000000"/>
                </a:solidFill>
                <a:latin typeface="Helvetica Neue"/>
                <a:ea typeface="Helvetica Neue"/>
                <a:cs typeface="Helvetica Neue"/>
                <a:sym typeface="Helvetica Neue"/>
              </a:rPr>
              <a:t> </a:t>
            </a:r>
            <a:r>
              <a:rPr lang="en" sz="3600" b="0" i="0" u="none" strike="noStrike" cap="none">
                <a:solidFill>
                  <a:srgbClr val="039BE5"/>
                </a:solidFill>
                <a:latin typeface="Helvetica Neue Light"/>
                <a:ea typeface="Helvetica Neue Light"/>
                <a:cs typeface="Helvetica Neue Light"/>
                <a:sym typeface="Helvetica Neue Light"/>
              </a:rPr>
              <a:t>header</a:t>
            </a:r>
            <a:endParaRPr sz="3600" b="0" i="0" u="none" strike="noStrike" cap="none">
              <a:solidFill>
                <a:srgbClr val="039BE5"/>
              </a:solidFill>
              <a:latin typeface="Helvetica Neue Light"/>
              <a:ea typeface="Helvetica Neue Light"/>
              <a:cs typeface="Helvetica Neue Light"/>
              <a:sym typeface="Helvetica Neue Light"/>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23"/>
        <p:cNvGrpSpPr/>
        <p:nvPr/>
      </p:nvGrpSpPr>
      <p:grpSpPr>
        <a:xfrm>
          <a:off x="0" y="0"/>
          <a:ext cx="0" cy="0"/>
          <a:chOff x="0" y="0"/>
          <a:chExt cx="0" cy="0"/>
        </a:xfrm>
      </p:grpSpPr>
      <p:sp>
        <p:nvSpPr>
          <p:cNvPr id="24" name="Google Shape;24;p29"/>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25" name="Google Shape;25;p29"/>
          <p:cNvSpPr txBox="1">
            <a:spLocks noGrp="1"/>
          </p:cNvSpPr>
          <p:nvPr>
            <p:ph type="body" idx="1"/>
          </p:nvPr>
        </p:nvSpPr>
        <p:spPr>
          <a:xfrm>
            <a:off x="311700" y="1152475"/>
            <a:ext cx="3999900" cy="3416400"/>
          </a:xfrm>
          <a:prstGeom prst="rect">
            <a:avLst/>
          </a:prstGeom>
          <a:noFill/>
          <a:ln>
            <a:noFill/>
          </a:ln>
        </p:spPr>
        <p:txBody>
          <a:bodyPr spcFirstLastPara="1" wrap="square" lIns="91425" tIns="91425" rIns="91425" bIns="91425" anchor="t" anchorCtr="0">
            <a:noAutofit/>
          </a:bodyPr>
          <a:lstStyle>
            <a:lvl1pPr marL="457200" lvl="0" indent="-317500" algn="l">
              <a:lnSpc>
                <a:spcPct val="115000"/>
              </a:lnSpc>
              <a:spcBef>
                <a:spcPts val="0"/>
              </a:spcBef>
              <a:spcAft>
                <a:spcPts val="0"/>
              </a:spcAft>
              <a:buSzPts val="1400"/>
              <a:buChar char="●"/>
              <a:defRPr sz="1400"/>
            </a:lvl1pPr>
            <a:lvl2pPr marL="914400" lvl="1" indent="-304800" algn="l">
              <a:lnSpc>
                <a:spcPct val="115000"/>
              </a:lnSpc>
              <a:spcBef>
                <a:spcPts val="1600"/>
              </a:spcBef>
              <a:spcAft>
                <a:spcPts val="0"/>
              </a:spcAft>
              <a:buSzPts val="1200"/>
              <a:buChar char="○"/>
              <a:defRPr sz="1200"/>
            </a:lvl2pPr>
            <a:lvl3pPr marL="1371600" lvl="2" indent="-304800" algn="l">
              <a:lnSpc>
                <a:spcPct val="115000"/>
              </a:lnSpc>
              <a:spcBef>
                <a:spcPts val="1600"/>
              </a:spcBef>
              <a:spcAft>
                <a:spcPts val="0"/>
              </a:spcAft>
              <a:buSzPts val="1200"/>
              <a:buChar char="■"/>
              <a:defRPr sz="1200"/>
            </a:lvl3pPr>
            <a:lvl4pPr marL="1828800" lvl="3" indent="-304800" algn="l">
              <a:lnSpc>
                <a:spcPct val="115000"/>
              </a:lnSpc>
              <a:spcBef>
                <a:spcPts val="1600"/>
              </a:spcBef>
              <a:spcAft>
                <a:spcPts val="0"/>
              </a:spcAft>
              <a:buSzPts val="1200"/>
              <a:buChar char="●"/>
              <a:defRPr sz="1200"/>
            </a:lvl4pPr>
            <a:lvl5pPr marL="2286000" lvl="4" indent="-304800" algn="l">
              <a:lnSpc>
                <a:spcPct val="115000"/>
              </a:lnSpc>
              <a:spcBef>
                <a:spcPts val="1600"/>
              </a:spcBef>
              <a:spcAft>
                <a:spcPts val="0"/>
              </a:spcAft>
              <a:buSzPts val="1200"/>
              <a:buChar char="○"/>
              <a:defRPr sz="1200"/>
            </a:lvl5pPr>
            <a:lvl6pPr marL="2743200" lvl="5" indent="-304800" algn="l">
              <a:lnSpc>
                <a:spcPct val="115000"/>
              </a:lnSpc>
              <a:spcBef>
                <a:spcPts val="1600"/>
              </a:spcBef>
              <a:spcAft>
                <a:spcPts val="0"/>
              </a:spcAft>
              <a:buSzPts val="1200"/>
              <a:buChar char="■"/>
              <a:defRPr sz="1200"/>
            </a:lvl6pPr>
            <a:lvl7pPr marL="3200400" lvl="6" indent="-304800" algn="l">
              <a:lnSpc>
                <a:spcPct val="115000"/>
              </a:lnSpc>
              <a:spcBef>
                <a:spcPts val="1600"/>
              </a:spcBef>
              <a:spcAft>
                <a:spcPts val="0"/>
              </a:spcAft>
              <a:buSzPts val="1200"/>
              <a:buChar char="●"/>
              <a:defRPr sz="1200"/>
            </a:lvl7pPr>
            <a:lvl8pPr marL="3657600" lvl="7" indent="-304800" algn="l">
              <a:lnSpc>
                <a:spcPct val="115000"/>
              </a:lnSpc>
              <a:spcBef>
                <a:spcPts val="1600"/>
              </a:spcBef>
              <a:spcAft>
                <a:spcPts val="0"/>
              </a:spcAft>
              <a:buSzPts val="1200"/>
              <a:buChar char="○"/>
              <a:defRPr sz="1200"/>
            </a:lvl8pPr>
            <a:lvl9pPr marL="4114800" lvl="8" indent="-304800" algn="l">
              <a:lnSpc>
                <a:spcPct val="115000"/>
              </a:lnSpc>
              <a:spcBef>
                <a:spcPts val="1600"/>
              </a:spcBef>
              <a:spcAft>
                <a:spcPts val="1600"/>
              </a:spcAft>
              <a:buSzPts val="1200"/>
              <a:buChar char="■"/>
              <a:defRPr sz="1200"/>
            </a:lvl9pPr>
          </a:lstStyle>
          <a:p>
            <a:endParaRPr/>
          </a:p>
        </p:txBody>
      </p:sp>
      <p:sp>
        <p:nvSpPr>
          <p:cNvPr id="26" name="Google Shape;26;p29"/>
          <p:cNvSpPr txBox="1">
            <a:spLocks noGrp="1"/>
          </p:cNvSpPr>
          <p:nvPr>
            <p:ph type="body" idx="2"/>
          </p:nvPr>
        </p:nvSpPr>
        <p:spPr>
          <a:xfrm>
            <a:off x="4832400" y="1152475"/>
            <a:ext cx="3999900" cy="3416400"/>
          </a:xfrm>
          <a:prstGeom prst="rect">
            <a:avLst/>
          </a:prstGeom>
          <a:noFill/>
          <a:ln>
            <a:noFill/>
          </a:ln>
        </p:spPr>
        <p:txBody>
          <a:bodyPr spcFirstLastPara="1" wrap="square" lIns="91425" tIns="91425" rIns="91425" bIns="91425" anchor="t" anchorCtr="0">
            <a:noAutofit/>
          </a:bodyPr>
          <a:lstStyle>
            <a:lvl1pPr marL="457200" lvl="0" indent="-317500" algn="l">
              <a:lnSpc>
                <a:spcPct val="115000"/>
              </a:lnSpc>
              <a:spcBef>
                <a:spcPts val="0"/>
              </a:spcBef>
              <a:spcAft>
                <a:spcPts val="0"/>
              </a:spcAft>
              <a:buSzPts val="1400"/>
              <a:buChar char="●"/>
              <a:defRPr sz="1400"/>
            </a:lvl1pPr>
            <a:lvl2pPr marL="914400" lvl="1" indent="-304800" algn="l">
              <a:lnSpc>
                <a:spcPct val="115000"/>
              </a:lnSpc>
              <a:spcBef>
                <a:spcPts val="1600"/>
              </a:spcBef>
              <a:spcAft>
                <a:spcPts val="0"/>
              </a:spcAft>
              <a:buSzPts val="1200"/>
              <a:buChar char="○"/>
              <a:defRPr sz="1200"/>
            </a:lvl2pPr>
            <a:lvl3pPr marL="1371600" lvl="2" indent="-304800" algn="l">
              <a:lnSpc>
                <a:spcPct val="115000"/>
              </a:lnSpc>
              <a:spcBef>
                <a:spcPts val="1600"/>
              </a:spcBef>
              <a:spcAft>
                <a:spcPts val="0"/>
              </a:spcAft>
              <a:buSzPts val="1200"/>
              <a:buChar char="■"/>
              <a:defRPr sz="1200"/>
            </a:lvl3pPr>
            <a:lvl4pPr marL="1828800" lvl="3" indent="-304800" algn="l">
              <a:lnSpc>
                <a:spcPct val="115000"/>
              </a:lnSpc>
              <a:spcBef>
                <a:spcPts val="1600"/>
              </a:spcBef>
              <a:spcAft>
                <a:spcPts val="0"/>
              </a:spcAft>
              <a:buSzPts val="1200"/>
              <a:buChar char="●"/>
              <a:defRPr sz="1200"/>
            </a:lvl4pPr>
            <a:lvl5pPr marL="2286000" lvl="4" indent="-304800" algn="l">
              <a:lnSpc>
                <a:spcPct val="115000"/>
              </a:lnSpc>
              <a:spcBef>
                <a:spcPts val="1600"/>
              </a:spcBef>
              <a:spcAft>
                <a:spcPts val="0"/>
              </a:spcAft>
              <a:buSzPts val="1200"/>
              <a:buChar char="○"/>
              <a:defRPr sz="1200"/>
            </a:lvl5pPr>
            <a:lvl6pPr marL="2743200" lvl="5" indent="-304800" algn="l">
              <a:lnSpc>
                <a:spcPct val="115000"/>
              </a:lnSpc>
              <a:spcBef>
                <a:spcPts val="1600"/>
              </a:spcBef>
              <a:spcAft>
                <a:spcPts val="0"/>
              </a:spcAft>
              <a:buSzPts val="1200"/>
              <a:buChar char="■"/>
              <a:defRPr sz="1200"/>
            </a:lvl6pPr>
            <a:lvl7pPr marL="3200400" lvl="6" indent="-304800" algn="l">
              <a:lnSpc>
                <a:spcPct val="115000"/>
              </a:lnSpc>
              <a:spcBef>
                <a:spcPts val="1600"/>
              </a:spcBef>
              <a:spcAft>
                <a:spcPts val="0"/>
              </a:spcAft>
              <a:buSzPts val="1200"/>
              <a:buChar char="●"/>
              <a:defRPr sz="1200"/>
            </a:lvl7pPr>
            <a:lvl8pPr marL="3657600" lvl="7" indent="-304800" algn="l">
              <a:lnSpc>
                <a:spcPct val="115000"/>
              </a:lnSpc>
              <a:spcBef>
                <a:spcPts val="1600"/>
              </a:spcBef>
              <a:spcAft>
                <a:spcPts val="0"/>
              </a:spcAft>
              <a:buSzPts val="1200"/>
              <a:buChar char="○"/>
              <a:defRPr sz="1200"/>
            </a:lvl8pPr>
            <a:lvl9pPr marL="4114800" lvl="8" indent="-304800" algn="l">
              <a:lnSpc>
                <a:spcPct val="115000"/>
              </a:lnSpc>
              <a:spcBef>
                <a:spcPts val="1600"/>
              </a:spcBef>
              <a:spcAft>
                <a:spcPts val="1600"/>
              </a:spcAft>
              <a:buSzPts val="1200"/>
              <a:buChar char="■"/>
              <a:defRPr sz="1200"/>
            </a:lvl9pPr>
          </a:lstStyle>
          <a:p>
            <a:endParaRPr/>
          </a:p>
        </p:txBody>
      </p:sp>
      <p:sp>
        <p:nvSpPr>
          <p:cNvPr id="27" name="Google Shape;27;p29"/>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8"/>
        <p:cNvGrpSpPr/>
        <p:nvPr/>
      </p:nvGrpSpPr>
      <p:grpSpPr>
        <a:xfrm>
          <a:off x="0" y="0"/>
          <a:ext cx="0" cy="0"/>
          <a:chOff x="0" y="0"/>
          <a:chExt cx="0" cy="0"/>
        </a:xfrm>
      </p:grpSpPr>
      <p:sp>
        <p:nvSpPr>
          <p:cNvPr id="29" name="Google Shape;29;p30"/>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30" name="Google Shape;30;p30"/>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Source only">
  <p:cSld name="CUSTOM_1">
    <p:spTree>
      <p:nvGrpSpPr>
        <p:cNvPr id="1" name="Shape 31"/>
        <p:cNvGrpSpPr/>
        <p:nvPr/>
      </p:nvGrpSpPr>
      <p:grpSpPr>
        <a:xfrm>
          <a:off x="0" y="0"/>
          <a:ext cx="0" cy="0"/>
          <a:chOff x="0" y="0"/>
          <a:chExt cx="0" cy="0"/>
        </a:xfrm>
      </p:grpSpPr>
      <p:sp>
        <p:nvSpPr>
          <p:cNvPr id="32" name="Google Shape;32;p31"/>
          <p:cNvSpPr txBox="1"/>
          <p:nvPr/>
        </p:nvSpPr>
        <p:spPr>
          <a:xfrm>
            <a:off x="46033" y="4875300"/>
            <a:ext cx="3386400" cy="2682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600" b="0" i="1" u="none" strike="noStrike" cap="none">
                <a:solidFill>
                  <a:srgbClr val="000000"/>
                </a:solidFill>
                <a:latin typeface="Helvetica Neue"/>
                <a:ea typeface="Helvetica Neue"/>
                <a:cs typeface="Helvetica Neue"/>
                <a:sym typeface="Helvetica Neue"/>
              </a:rPr>
              <a:t>Images and text source: </a:t>
            </a:r>
            <a:r>
              <a:rPr lang="en" sz="600" b="0" i="1" u="sng" strike="noStrike" cap="none">
                <a:solidFill>
                  <a:srgbClr val="365F91"/>
                </a:solidFill>
                <a:latin typeface="Helvetica Neue"/>
                <a:ea typeface="Helvetica Neue"/>
                <a:cs typeface="Helvetica Neue"/>
                <a:sym typeface="Helvetica Neue"/>
                <a:hlinkClick r:id="rId2"/>
              </a:rPr>
              <a:t>enter source name here</a:t>
            </a:r>
            <a:endParaRPr sz="600" b="0" i="1" u="none" strike="noStrike" cap="none">
              <a:solidFill>
                <a:srgbClr val="365F91"/>
              </a:solidFill>
              <a:latin typeface="Helvetica Neue"/>
              <a:ea typeface="Helvetica Neue"/>
              <a:cs typeface="Helvetica Neue"/>
              <a:sym typeface="Helvetica Neue"/>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itle with source">
  <p:cSld name="TITLE_ONLY_1">
    <p:spTree>
      <p:nvGrpSpPr>
        <p:cNvPr id="1" name="Shape 33"/>
        <p:cNvGrpSpPr/>
        <p:nvPr/>
      </p:nvGrpSpPr>
      <p:grpSpPr>
        <a:xfrm>
          <a:off x="0" y="0"/>
          <a:ext cx="0" cy="0"/>
          <a:chOff x="0" y="0"/>
          <a:chExt cx="0" cy="0"/>
        </a:xfrm>
      </p:grpSpPr>
      <p:sp>
        <p:nvSpPr>
          <p:cNvPr id="34" name="Google Shape;34;p32"/>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35" name="Google Shape;35;p32"/>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
        <p:nvSpPr>
          <p:cNvPr id="36" name="Google Shape;36;p32"/>
          <p:cNvSpPr txBox="1"/>
          <p:nvPr/>
        </p:nvSpPr>
        <p:spPr>
          <a:xfrm>
            <a:off x="46033" y="4875300"/>
            <a:ext cx="3386400" cy="2682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600" b="0" i="1" u="none" strike="noStrike" cap="none">
                <a:solidFill>
                  <a:srgbClr val="000000"/>
                </a:solidFill>
                <a:latin typeface="Helvetica Neue"/>
                <a:ea typeface="Helvetica Neue"/>
                <a:cs typeface="Helvetica Neue"/>
                <a:sym typeface="Helvetica Neue"/>
              </a:rPr>
              <a:t>Images and text source: </a:t>
            </a:r>
            <a:r>
              <a:rPr lang="en" sz="600" b="0" i="1" u="sng" strike="noStrike" cap="none">
                <a:solidFill>
                  <a:srgbClr val="365F91"/>
                </a:solidFill>
                <a:latin typeface="Helvetica Neue"/>
                <a:ea typeface="Helvetica Neue"/>
                <a:cs typeface="Helvetica Neue"/>
                <a:sym typeface="Helvetica Neue"/>
                <a:hlinkClick r:id="rId2"/>
              </a:rPr>
              <a:t>enter source name here</a:t>
            </a:r>
            <a:endParaRPr sz="600" b="0" i="1" u="none" strike="noStrike" cap="none">
              <a:solidFill>
                <a:srgbClr val="365F91"/>
              </a:solidFill>
              <a:latin typeface="Helvetica Neue"/>
              <a:ea typeface="Helvetica Neue"/>
              <a:cs typeface="Helvetica Neue"/>
              <a:sym typeface="Helvetica Neue"/>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37"/>
        <p:cNvGrpSpPr/>
        <p:nvPr/>
      </p:nvGrpSpPr>
      <p:grpSpPr>
        <a:xfrm>
          <a:off x="0" y="0"/>
          <a:ext cx="0" cy="0"/>
          <a:chOff x="0" y="0"/>
          <a:chExt cx="0" cy="0"/>
        </a:xfrm>
      </p:grpSpPr>
      <p:sp>
        <p:nvSpPr>
          <p:cNvPr id="38" name="Google Shape;38;p33"/>
          <p:cNvSpPr txBox="1">
            <a:spLocks noGrp="1"/>
          </p:cNvSpPr>
          <p:nvPr>
            <p:ph type="title"/>
          </p:nvPr>
        </p:nvSpPr>
        <p:spPr>
          <a:xfrm>
            <a:off x="311700" y="555600"/>
            <a:ext cx="2808000" cy="755700"/>
          </a:xfrm>
          <a:prstGeom prst="rect">
            <a:avLst/>
          </a:prstGeom>
          <a:noFill/>
          <a:ln>
            <a:noFill/>
          </a:ln>
        </p:spPr>
        <p:txBody>
          <a:bodyPr spcFirstLastPara="1" wrap="square" lIns="91425" tIns="91425" rIns="91425" bIns="91425" anchor="b" anchorCtr="0">
            <a:noAutofit/>
          </a:bodyPr>
          <a:lstStyle>
            <a:lvl1pPr lvl="0" algn="l">
              <a:lnSpc>
                <a:spcPct val="100000"/>
              </a:lnSpc>
              <a:spcBef>
                <a:spcPts val="0"/>
              </a:spcBef>
              <a:spcAft>
                <a:spcPts val="0"/>
              </a:spcAft>
              <a:buSzPts val="2400"/>
              <a:buNone/>
              <a:defRPr sz="2400"/>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39" name="Google Shape;39;p33"/>
          <p:cNvSpPr txBox="1">
            <a:spLocks noGrp="1"/>
          </p:cNvSpPr>
          <p:nvPr>
            <p:ph type="body" idx="1"/>
          </p:nvPr>
        </p:nvSpPr>
        <p:spPr>
          <a:xfrm>
            <a:off x="311700" y="1389600"/>
            <a:ext cx="2808000" cy="3179400"/>
          </a:xfrm>
          <a:prstGeom prst="rect">
            <a:avLst/>
          </a:prstGeom>
          <a:noFill/>
          <a:ln>
            <a:noFill/>
          </a:ln>
        </p:spPr>
        <p:txBody>
          <a:bodyPr spcFirstLastPara="1" wrap="square" lIns="91425" tIns="91425" rIns="91425" bIns="91425" anchor="t" anchorCtr="0">
            <a:noAutofit/>
          </a:bodyPr>
          <a:lstStyle>
            <a:lvl1pPr marL="457200" lvl="0" indent="-304800" algn="l">
              <a:lnSpc>
                <a:spcPct val="115000"/>
              </a:lnSpc>
              <a:spcBef>
                <a:spcPts val="0"/>
              </a:spcBef>
              <a:spcAft>
                <a:spcPts val="0"/>
              </a:spcAft>
              <a:buSzPts val="1200"/>
              <a:buChar char="●"/>
              <a:defRPr sz="1200"/>
            </a:lvl1pPr>
            <a:lvl2pPr marL="914400" lvl="1" indent="-304800" algn="l">
              <a:lnSpc>
                <a:spcPct val="115000"/>
              </a:lnSpc>
              <a:spcBef>
                <a:spcPts val="1600"/>
              </a:spcBef>
              <a:spcAft>
                <a:spcPts val="0"/>
              </a:spcAft>
              <a:buSzPts val="1200"/>
              <a:buChar char="○"/>
              <a:defRPr sz="1200"/>
            </a:lvl2pPr>
            <a:lvl3pPr marL="1371600" lvl="2" indent="-304800" algn="l">
              <a:lnSpc>
                <a:spcPct val="115000"/>
              </a:lnSpc>
              <a:spcBef>
                <a:spcPts val="1600"/>
              </a:spcBef>
              <a:spcAft>
                <a:spcPts val="0"/>
              </a:spcAft>
              <a:buSzPts val="1200"/>
              <a:buChar char="■"/>
              <a:defRPr sz="1200"/>
            </a:lvl3pPr>
            <a:lvl4pPr marL="1828800" lvl="3" indent="-304800" algn="l">
              <a:lnSpc>
                <a:spcPct val="115000"/>
              </a:lnSpc>
              <a:spcBef>
                <a:spcPts val="1600"/>
              </a:spcBef>
              <a:spcAft>
                <a:spcPts val="0"/>
              </a:spcAft>
              <a:buSzPts val="1200"/>
              <a:buChar char="●"/>
              <a:defRPr sz="1200"/>
            </a:lvl4pPr>
            <a:lvl5pPr marL="2286000" lvl="4" indent="-304800" algn="l">
              <a:lnSpc>
                <a:spcPct val="115000"/>
              </a:lnSpc>
              <a:spcBef>
                <a:spcPts val="1600"/>
              </a:spcBef>
              <a:spcAft>
                <a:spcPts val="0"/>
              </a:spcAft>
              <a:buSzPts val="1200"/>
              <a:buChar char="○"/>
              <a:defRPr sz="1200"/>
            </a:lvl5pPr>
            <a:lvl6pPr marL="2743200" lvl="5" indent="-304800" algn="l">
              <a:lnSpc>
                <a:spcPct val="115000"/>
              </a:lnSpc>
              <a:spcBef>
                <a:spcPts val="1600"/>
              </a:spcBef>
              <a:spcAft>
                <a:spcPts val="0"/>
              </a:spcAft>
              <a:buSzPts val="1200"/>
              <a:buChar char="■"/>
              <a:defRPr sz="1200"/>
            </a:lvl6pPr>
            <a:lvl7pPr marL="3200400" lvl="6" indent="-304800" algn="l">
              <a:lnSpc>
                <a:spcPct val="115000"/>
              </a:lnSpc>
              <a:spcBef>
                <a:spcPts val="1600"/>
              </a:spcBef>
              <a:spcAft>
                <a:spcPts val="0"/>
              </a:spcAft>
              <a:buSzPts val="1200"/>
              <a:buChar char="●"/>
              <a:defRPr sz="1200"/>
            </a:lvl7pPr>
            <a:lvl8pPr marL="3657600" lvl="7" indent="-304800" algn="l">
              <a:lnSpc>
                <a:spcPct val="115000"/>
              </a:lnSpc>
              <a:spcBef>
                <a:spcPts val="1600"/>
              </a:spcBef>
              <a:spcAft>
                <a:spcPts val="0"/>
              </a:spcAft>
              <a:buSzPts val="1200"/>
              <a:buChar char="○"/>
              <a:defRPr sz="1200"/>
            </a:lvl8pPr>
            <a:lvl9pPr marL="4114800" lvl="8" indent="-304800" algn="l">
              <a:lnSpc>
                <a:spcPct val="115000"/>
              </a:lnSpc>
              <a:spcBef>
                <a:spcPts val="1600"/>
              </a:spcBef>
              <a:spcAft>
                <a:spcPts val="1600"/>
              </a:spcAft>
              <a:buSzPts val="1200"/>
              <a:buChar char="■"/>
              <a:defRPr sz="1200"/>
            </a:lvl9pPr>
          </a:lstStyle>
          <a:p>
            <a:endParaRPr/>
          </a:p>
        </p:txBody>
      </p:sp>
      <p:sp>
        <p:nvSpPr>
          <p:cNvPr id="40" name="Google Shape;40;p33"/>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45ED559-8497-4CCF-B419-B92C1880DE37}"/>
              </a:ext>
            </a:extLst>
          </p:cNvPr>
          <p:cNvGraphicFramePr>
            <a:graphicFrameLocks noChangeAspect="1"/>
          </p:cNvGraphicFramePr>
          <p:nvPr userDrawn="1">
            <p:custDataLst>
              <p:tags r:id="rId17"/>
            </p:custDataLst>
            <p:extLst>
              <p:ext uri="{D42A27DB-BD31-4B8C-83A1-F6EECF244321}">
                <p14:modId xmlns:p14="http://schemas.microsoft.com/office/powerpoint/2010/main" val="2398060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395" imgH="396" progId="TCLayout.ActiveDocument.1">
                  <p:embed/>
                </p:oleObj>
              </mc:Choice>
              <mc:Fallback>
                <p:oleObj name="think-cell Slide" r:id="rId18" imgW="395" imgH="396" progId="TCLayout.ActiveDocument.1">
                  <p:embed/>
                  <p:pic>
                    <p:nvPicPr>
                      <p:cNvPr id="2" name="Object 1" hidden="1">
                        <a:extLst>
                          <a:ext uri="{FF2B5EF4-FFF2-40B4-BE49-F238E27FC236}">
                            <a16:creationId xmlns:a16="http://schemas.microsoft.com/office/drawing/2014/main" id="{C45ED559-8497-4CCF-B419-B92C1880DE37}"/>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6" name="Google Shape;6;p24"/>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chemeClr val="dk1"/>
              </a:buClr>
              <a:buSzPts val="2800"/>
              <a:buFont typeface="Helvetica Neue"/>
              <a:buNone/>
              <a:defRPr sz="2800" b="0" i="0" u="none" strike="noStrike" cap="none">
                <a:solidFill>
                  <a:schemeClr val="dk1"/>
                </a:solidFill>
                <a:latin typeface="Helvetica Neue"/>
                <a:ea typeface="Helvetica Neue"/>
                <a:cs typeface="Helvetica Neue"/>
                <a:sym typeface="Helvetica Neue"/>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endParaRPr/>
          </a:p>
        </p:txBody>
      </p:sp>
      <p:sp>
        <p:nvSpPr>
          <p:cNvPr id="7" name="Google Shape;7;p24"/>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marR="0" lvl="0" indent="-342900" algn="l" rtl="0">
              <a:lnSpc>
                <a:spcPct val="115000"/>
              </a:lnSpc>
              <a:spcBef>
                <a:spcPts val="0"/>
              </a:spcBef>
              <a:spcAft>
                <a:spcPts val="0"/>
              </a:spcAft>
              <a:buClr>
                <a:schemeClr val="dk2"/>
              </a:buClr>
              <a:buSzPts val="1800"/>
              <a:buFont typeface="Helvetica Neue"/>
              <a:buChar char="●"/>
              <a:defRPr sz="1800" b="0" i="0" u="none" strike="noStrike" cap="none">
                <a:solidFill>
                  <a:schemeClr val="dk2"/>
                </a:solidFill>
                <a:latin typeface="Helvetica Neue"/>
                <a:ea typeface="Helvetica Neue"/>
                <a:cs typeface="Helvetica Neue"/>
                <a:sym typeface="Helvetica Neue"/>
              </a:defRPr>
            </a:lvl1pPr>
            <a:lvl2pPr marL="914400" marR="0" lvl="1" indent="-317500" algn="l" rtl="0">
              <a:lnSpc>
                <a:spcPct val="115000"/>
              </a:lnSpc>
              <a:spcBef>
                <a:spcPts val="1600"/>
              </a:spcBef>
              <a:spcAft>
                <a:spcPts val="0"/>
              </a:spcAft>
              <a:buClr>
                <a:schemeClr val="dk2"/>
              </a:buClr>
              <a:buSzPts val="1400"/>
              <a:buFont typeface="Helvetica Neue"/>
              <a:buChar char="○"/>
              <a:defRPr sz="1400" b="0" i="0" u="none" strike="noStrike" cap="none">
                <a:solidFill>
                  <a:schemeClr val="dk2"/>
                </a:solidFill>
                <a:latin typeface="Helvetica Neue"/>
                <a:ea typeface="Helvetica Neue"/>
                <a:cs typeface="Helvetica Neue"/>
                <a:sym typeface="Helvetica Neue"/>
              </a:defRPr>
            </a:lvl2pPr>
            <a:lvl3pPr marL="1371600" marR="0" lvl="2" indent="-317500" algn="l" rtl="0">
              <a:lnSpc>
                <a:spcPct val="115000"/>
              </a:lnSpc>
              <a:spcBef>
                <a:spcPts val="1600"/>
              </a:spcBef>
              <a:spcAft>
                <a:spcPts val="0"/>
              </a:spcAft>
              <a:buClr>
                <a:schemeClr val="dk2"/>
              </a:buClr>
              <a:buSzPts val="1400"/>
              <a:buFont typeface="Helvetica Neue"/>
              <a:buChar char="■"/>
              <a:defRPr sz="1400" b="0" i="0" u="none" strike="noStrike" cap="none">
                <a:solidFill>
                  <a:schemeClr val="dk2"/>
                </a:solidFill>
                <a:latin typeface="Helvetica Neue"/>
                <a:ea typeface="Helvetica Neue"/>
                <a:cs typeface="Helvetica Neue"/>
                <a:sym typeface="Helvetica Neue"/>
              </a:defRPr>
            </a:lvl3pPr>
            <a:lvl4pPr marL="1828800" marR="0" lvl="3" indent="-317500" algn="l" rtl="0">
              <a:lnSpc>
                <a:spcPct val="115000"/>
              </a:lnSpc>
              <a:spcBef>
                <a:spcPts val="1600"/>
              </a:spcBef>
              <a:spcAft>
                <a:spcPts val="0"/>
              </a:spcAft>
              <a:buClr>
                <a:schemeClr val="dk2"/>
              </a:buClr>
              <a:buSzPts val="1400"/>
              <a:buFont typeface="Helvetica Neue"/>
              <a:buChar char="●"/>
              <a:defRPr sz="1400" b="0" i="0" u="none" strike="noStrike" cap="none">
                <a:solidFill>
                  <a:schemeClr val="dk2"/>
                </a:solidFill>
                <a:latin typeface="Helvetica Neue"/>
                <a:ea typeface="Helvetica Neue"/>
                <a:cs typeface="Helvetica Neue"/>
                <a:sym typeface="Helvetica Neue"/>
              </a:defRPr>
            </a:lvl4pPr>
            <a:lvl5pPr marL="2286000" marR="0" lvl="4" indent="-317500" algn="l" rtl="0">
              <a:lnSpc>
                <a:spcPct val="115000"/>
              </a:lnSpc>
              <a:spcBef>
                <a:spcPts val="1600"/>
              </a:spcBef>
              <a:spcAft>
                <a:spcPts val="0"/>
              </a:spcAft>
              <a:buClr>
                <a:schemeClr val="dk2"/>
              </a:buClr>
              <a:buSzPts val="1400"/>
              <a:buFont typeface="Helvetica Neue"/>
              <a:buChar char="○"/>
              <a:defRPr sz="1400" b="0" i="0" u="none" strike="noStrike" cap="none">
                <a:solidFill>
                  <a:schemeClr val="dk2"/>
                </a:solidFill>
                <a:latin typeface="Helvetica Neue"/>
                <a:ea typeface="Helvetica Neue"/>
                <a:cs typeface="Helvetica Neue"/>
                <a:sym typeface="Helvetica Neue"/>
              </a:defRPr>
            </a:lvl5pPr>
            <a:lvl6pPr marL="2743200" marR="0" lvl="5" indent="-317500" algn="l" rtl="0">
              <a:lnSpc>
                <a:spcPct val="115000"/>
              </a:lnSpc>
              <a:spcBef>
                <a:spcPts val="1600"/>
              </a:spcBef>
              <a:spcAft>
                <a:spcPts val="0"/>
              </a:spcAft>
              <a:buClr>
                <a:schemeClr val="dk2"/>
              </a:buClr>
              <a:buSzPts val="1400"/>
              <a:buFont typeface="Helvetica Neue"/>
              <a:buChar char="■"/>
              <a:defRPr sz="1400" b="0" i="0" u="none" strike="noStrike" cap="none">
                <a:solidFill>
                  <a:schemeClr val="dk2"/>
                </a:solidFill>
                <a:latin typeface="Helvetica Neue"/>
                <a:ea typeface="Helvetica Neue"/>
                <a:cs typeface="Helvetica Neue"/>
                <a:sym typeface="Helvetica Neue"/>
              </a:defRPr>
            </a:lvl6pPr>
            <a:lvl7pPr marL="3200400" marR="0" lvl="6" indent="-317500" algn="l" rtl="0">
              <a:lnSpc>
                <a:spcPct val="115000"/>
              </a:lnSpc>
              <a:spcBef>
                <a:spcPts val="1600"/>
              </a:spcBef>
              <a:spcAft>
                <a:spcPts val="0"/>
              </a:spcAft>
              <a:buClr>
                <a:schemeClr val="dk2"/>
              </a:buClr>
              <a:buSzPts val="1400"/>
              <a:buFont typeface="Helvetica Neue"/>
              <a:buChar char="●"/>
              <a:defRPr sz="1400" b="0" i="0" u="none" strike="noStrike" cap="none">
                <a:solidFill>
                  <a:schemeClr val="dk2"/>
                </a:solidFill>
                <a:latin typeface="Helvetica Neue"/>
                <a:ea typeface="Helvetica Neue"/>
                <a:cs typeface="Helvetica Neue"/>
                <a:sym typeface="Helvetica Neue"/>
              </a:defRPr>
            </a:lvl7pPr>
            <a:lvl8pPr marL="3657600" marR="0" lvl="7" indent="-317500" algn="l" rtl="0">
              <a:lnSpc>
                <a:spcPct val="115000"/>
              </a:lnSpc>
              <a:spcBef>
                <a:spcPts val="1600"/>
              </a:spcBef>
              <a:spcAft>
                <a:spcPts val="0"/>
              </a:spcAft>
              <a:buClr>
                <a:schemeClr val="dk2"/>
              </a:buClr>
              <a:buSzPts val="1400"/>
              <a:buFont typeface="Helvetica Neue"/>
              <a:buChar char="○"/>
              <a:defRPr sz="1400" b="0" i="0" u="none" strike="noStrike" cap="none">
                <a:solidFill>
                  <a:schemeClr val="dk2"/>
                </a:solidFill>
                <a:latin typeface="Helvetica Neue"/>
                <a:ea typeface="Helvetica Neue"/>
                <a:cs typeface="Helvetica Neue"/>
                <a:sym typeface="Helvetica Neue"/>
              </a:defRPr>
            </a:lvl8pPr>
            <a:lvl9pPr marL="4114800" marR="0" lvl="8" indent="-317500" algn="l" rtl="0">
              <a:lnSpc>
                <a:spcPct val="115000"/>
              </a:lnSpc>
              <a:spcBef>
                <a:spcPts val="1600"/>
              </a:spcBef>
              <a:spcAft>
                <a:spcPts val="1600"/>
              </a:spcAft>
              <a:buClr>
                <a:schemeClr val="dk2"/>
              </a:buClr>
              <a:buSzPts val="1400"/>
              <a:buFont typeface="Helvetica Neue"/>
              <a:buChar char="■"/>
              <a:defRPr sz="1400" b="0" i="0" u="none" strike="noStrike" cap="none">
                <a:solidFill>
                  <a:schemeClr val="dk2"/>
                </a:solidFill>
                <a:latin typeface="Helvetica Neue"/>
                <a:ea typeface="Helvetica Neue"/>
                <a:cs typeface="Helvetica Neue"/>
                <a:sym typeface="Helvetica Neue"/>
              </a:defRPr>
            </a:lvl9pPr>
          </a:lstStyle>
          <a:p>
            <a:endParaRPr/>
          </a:p>
        </p:txBody>
      </p:sp>
      <p:sp>
        <p:nvSpPr>
          <p:cNvPr id="8" name="Google Shape;8;p24"/>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pic>
        <p:nvPicPr>
          <p:cNvPr id="9" name="Google Shape;9;p24"/>
          <p:cNvPicPr preferRelativeResize="0"/>
          <p:nvPr/>
        </p:nvPicPr>
        <p:blipFill rotWithShape="1">
          <a:blip r:embed="rId20">
            <a:alphaModFix/>
          </a:blip>
          <a:srcRect/>
          <a:stretch/>
        </p:blipFill>
        <p:spPr>
          <a:xfrm>
            <a:off x="7628481" y="143219"/>
            <a:ext cx="1321960" cy="259875"/>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6" Type="http://schemas.openxmlformats.org/officeDocument/2006/relationships/customXml" Target="../ink/ink129.xml"/><Relationship Id="rId21" Type="http://schemas.openxmlformats.org/officeDocument/2006/relationships/image" Target="../media/image133.png"/><Relationship Id="rId42" Type="http://schemas.openxmlformats.org/officeDocument/2006/relationships/customXml" Target="../ink/ink137.xml"/><Relationship Id="rId47" Type="http://schemas.openxmlformats.org/officeDocument/2006/relationships/image" Target="../media/image146.png"/><Relationship Id="rId63" Type="http://schemas.openxmlformats.org/officeDocument/2006/relationships/image" Target="../media/image154.png"/><Relationship Id="rId68" Type="http://schemas.openxmlformats.org/officeDocument/2006/relationships/customXml" Target="../ink/ink150.xml"/><Relationship Id="rId84" Type="http://schemas.openxmlformats.org/officeDocument/2006/relationships/customXml" Target="../ink/ink158.xml"/><Relationship Id="rId89" Type="http://schemas.openxmlformats.org/officeDocument/2006/relationships/image" Target="../media/image167.png"/><Relationship Id="rId16" Type="http://schemas.openxmlformats.org/officeDocument/2006/relationships/customXml" Target="../ink/ink124.xml"/><Relationship Id="rId107" Type="http://schemas.openxmlformats.org/officeDocument/2006/relationships/image" Target="../media/image176.png"/><Relationship Id="rId11" Type="http://schemas.openxmlformats.org/officeDocument/2006/relationships/image" Target="../media/image128.png"/><Relationship Id="rId32" Type="http://schemas.openxmlformats.org/officeDocument/2006/relationships/customXml" Target="../ink/ink132.xml"/><Relationship Id="rId37" Type="http://schemas.openxmlformats.org/officeDocument/2006/relationships/image" Target="../media/image141.png"/><Relationship Id="rId53" Type="http://schemas.openxmlformats.org/officeDocument/2006/relationships/image" Target="../media/image149.png"/><Relationship Id="rId58" Type="http://schemas.openxmlformats.org/officeDocument/2006/relationships/customXml" Target="../ink/ink145.xml"/><Relationship Id="rId74" Type="http://schemas.openxmlformats.org/officeDocument/2006/relationships/customXml" Target="../ink/ink153.xml"/><Relationship Id="rId79" Type="http://schemas.openxmlformats.org/officeDocument/2006/relationships/image" Target="../media/image162.png"/><Relationship Id="rId102" Type="http://schemas.openxmlformats.org/officeDocument/2006/relationships/customXml" Target="../ink/ink167.xml"/><Relationship Id="rId5" Type="http://schemas.openxmlformats.org/officeDocument/2006/relationships/image" Target="../media/image125.png"/><Relationship Id="rId90" Type="http://schemas.openxmlformats.org/officeDocument/2006/relationships/customXml" Target="../ink/ink161.xml"/><Relationship Id="rId95" Type="http://schemas.openxmlformats.org/officeDocument/2006/relationships/image" Target="../media/image170.png"/><Relationship Id="rId22" Type="http://schemas.openxmlformats.org/officeDocument/2006/relationships/customXml" Target="../ink/ink127.xml"/><Relationship Id="rId27" Type="http://schemas.openxmlformats.org/officeDocument/2006/relationships/image" Target="../media/image136.png"/><Relationship Id="rId43" Type="http://schemas.openxmlformats.org/officeDocument/2006/relationships/image" Target="../media/image144.png"/><Relationship Id="rId48" Type="http://schemas.openxmlformats.org/officeDocument/2006/relationships/customXml" Target="../ink/ink140.xml"/><Relationship Id="rId64" Type="http://schemas.openxmlformats.org/officeDocument/2006/relationships/customXml" Target="../ink/ink148.xml"/><Relationship Id="rId69" Type="http://schemas.openxmlformats.org/officeDocument/2006/relationships/image" Target="../media/image157.png"/><Relationship Id="rId80" Type="http://schemas.openxmlformats.org/officeDocument/2006/relationships/customXml" Target="../ink/ink156.xml"/><Relationship Id="rId85" Type="http://schemas.openxmlformats.org/officeDocument/2006/relationships/image" Target="../media/image165.png"/><Relationship Id="rId12" Type="http://schemas.openxmlformats.org/officeDocument/2006/relationships/customXml" Target="../ink/ink122.xml"/><Relationship Id="rId17" Type="http://schemas.openxmlformats.org/officeDocument/2006/relationships/image" Target="../media/image131.png"/><Relationship Id="rId33" Type="http://schemas.openxmlformats.org/officeDocument/2006/relationships/image" Target="../media/image139.png"/><Relationship Id="rId38" Type="http://schemas.openxmlformats.org/officeDocument/2006/relationships/customXml" Target="../ink/ink135.xml"/><Relationship Id="rId59" Type="http://schemas.openxmlformats.org/officeDocument/2006/relationships/image" Target="../media/image152.png"/><Relationship Id="rId103" Type="http://schemas.openxmlformats.org/officeDocument/2006/relationships/image" Target="../media/image174.png"/><Relationship Id="rId108" Type="http://schemas.openxmlformats.org/officeDocument/2006/relationships/customXml" Target="../ink/ink170.xml"/><Relationship Id="rId54" Type="http://schemas.openxmlformats.org/officeDocument/2006/relationships/customXml" Target="../ink/ink143.xml"/><Relationship Id="rId70" Type="http://schemas.openxmlformats.org/officeDocument/2006/relationships/customXml" Target="../ink/ink151.xml"/><Relationship Id="rId75" Type="http://schemas.openxmlformats.org/officeDocument/2006/relationships/image" Target="../media/image160.png"/><Relationship Id="rId91" Type="http://schemas.openxmlformats.org/officeDocument/2006/relationships/image" Target="../media/image168.png"/><Relationship Id="rId96" Type="http://schemas.openxmlformats.org/officeDocument/2006/relationships/customXml" Target="../ink/ink164.xml"/><Relationship Id="rId1" Type="http://schemas.openxmlformats.org/officeDocument/2006/relationships/slideLayout" Target="../slideLayouts/slideLayout2.xml"/><Relationship Id="rId6" Type="http://schemas.openxmlformats.org/officeDocument/2006/relationships/customXml" Target="../ink/ink119.xml"/><Relationship Id="rId15" Type="http://schemas.openxmlformats.org/officeDocument/2006/relationships/image" Target="../media/image130.png"/><Relationship Id="rId23" Type="http://schemas.openxmlformats.org/officeDocument/2006/relationships/image" Target="../media/image134.png"/><Relationship Id="rId28" Type="http://schemas.openxmlformats.org/officeDocument/2006/relationships/customXml" Target="../ink/ink130.xml"/><Relationship Id="rId36" Type="http://schemas.openxmlformats.org/officeDocument/2006/relationships/customXml" Target="../ink/ink134.xml"/><Relationship Id="rId49" Type="http://schemas.openxmlformats.org/officeDocument/2006/relationships/image" Target="../media/image147.png"/><Relationship Id="rId57" Type="http://schemas.openxmlformats.org/officeDocument/2006/relationships/image" Target="../media/image151.png"/><Relationship Id="rId106" Type="http://schemas.openxmlformats.org/officeDocument/2006/relationships/customXml" Target="../ink/ink169.xml"/><Relationship Id="rId10" Type="http://schemas.openxmlformats.org/officeDocument/2006/relationships/customXml" Target="../ink/ink121.xml"/><Relationship Id="rId31" Type="http://schemas.openxmlformats.org/officeDocument/2006/relationships/image" Target="../media/image138.png"/><Relationship Id="rId44" Type="http://schemas.openxmlformats.org/officeDocument/2006/relationships/customXml" Target="../ink/ink138.xml"/><Relationship Id="rId52" Type="http://schemas.openxmlformats.org/officeDocument/2006/relationships/customXml" Target="../ink/ink142.xml"/><Relationship Id="rId60" Type="http://schemas.openxmlformats.org/officeDocument/2006/relationships/customXml" Target="../ink/ink146.xml"/><Relationship Id="rId65" Type="http://schemas.openxmlformats.org/officeDocument/2006/relationships/image" Target="../media/image155.png"/><Relationship Id="rId73" Type="http://schemas.openxmlformats.org/officeDocument/2006/relationships/image" Target="../media/image159.png"/><Relationship Id="rId78" Type="http://schemas.openxmlformats.org/officeDocument/2006/relationships/customXml" Target="../ink/ink155.xml"/><Relationship Id="rId81" Type="http://schemas.openxmlformats.org/officeDocument/2006/relationships/image" Target="../media/image163.png"/><Relationship Id="rId86" Type="http://schemas.openxmlformats.org/officeDocument/2006/relationships/customXml" Target="../ink/ink159.xml"/><Relationship Id="rId94" Type="http://schemas.openxmlformats.org/officeDocument/2006/relationships/customXml" Target="../ink/ink163.xml"/><Relationship Id="rId99" Type="http://schemas.openxmlformats.org/officeDocument/2006/relationships/image" Target="../media/image172.png"/><Relationship Id="rId101" Type="http://schemas.openxmlformats.org/officeDocument/2006/relationships/image" Target="../media/image173.png"/><Relationship Id="rId4" Type="http://schemas.openxmlformats.org/officeDocument/2006/relationships/customXml" Target="../ink/ink118.xml"/><Relationship Id="rId9" Type="http://schemas.openxmlformats.org/officeDocument/2006/relationships/image" Target="../media/image127.png"/><Relationship Id="rId13" Type="http://schemas.openxmlformats.org/officeDocument/2006/relationships/image" Target="../media/image129.png"/><Relationship Id="rId18" Type="http://schemas.openxmlformats.org/officeDocument/2006/relationships/customXml" Target="../ink/ink125.xml"/><Relationship Id="rId39" Type="http://schemas.openxmlformats.org/officeDocument/2006/relationships/image" Target="../media/image142.png"/><Relationship Id="rId109" Type="http://schemas.openxmlformats.org/officeDocument/2006/relationships/image" Target="../media/image177.png"/><Relationship Id="rId34" Type="http://schemas.openxmlformats.org/officeDocument/2006/relationships/customXml" Target="../ink/ink133.xml"/><Relationship Id="rId50" Type="http://schemas.openxmlformats.org/officeDocument/2006/relationships/customXml" Target="../ink/ink141.xml"/><Relationship Id="rId55" Type="http://schemas.openxmlformats.org/officeDocument/2006/relationships/image" Target="../media/image150.png"/><Relationship Id="rId76" Type="http://schemas.openxmlformats.org/officeDocument/2006/relationships/customXml" Target="../ink/ink154.xml"/><Relationship Id="rId97" Type="http://schemas.openxmlformats.org/officeDocument/2006/relationships/image" Target="../media/image171.png"/><Relationship Id="rId104" Type="http://schemas.openxmlformats.org/officeDocument/2006/relationships/customXml" Target="../ink/ink168.xml"/><Relationship Id="rId7" Type="http://schemas.openxmlformats.org/officeDocument/2006/relationships/image" Target="../media/image126.png"/><Relationship Id="rId71" Type="http://schemas.openxmlformats.org/officeDocument/2006/relationships/image" Target="../media/image158.png"/><Relationship Id="rId92" Type="http://schemas.openxmlformats.org/officeDocument/2006/relationships/customXml" Target="../ink/ink162.xml"/><Relationship Id="rId2" Type="http://schemas.openxmlformats.org/officeDocument/2006/relationships/notesSlide" Target="../notesSlides/notesSlide11.xml"/><Relationship Id="rId29" Type="http://schemas.openxmlformats.org/officeDocument/2006/relationships/image" Target="../media/image137.png"/><Relationship Id="rId24" Type="http://schemas.openxmlformats.org/officeDocument/2006/relationships/customXml" Target="../ink/ink128.xml"/><Relationship Id="rId40" Type="http://schemas.openxmlformats.org/officeDocument/2006/relationships/customXml" Target="../ink/ink136.xml"/><Relationship Id="rId45" Type="http://schemas.openxmlformats.org/officeDocument/2006/relationships/image" Target="../media/image145.png"/><Relationship Id="rId66" Type="http://schemas.openxmlformats.org/officeDocument/2006/relationships/customXml" Target="../ink/ink149.xml"/><Relationship Id="rId87" Type="http://schemas.openxmlformats.org/officeDocument/2006/relationships/image" Target="../media/image166.png"/><Relationship Id="rId61" Type="http://schemas.openxmlformats.org/officeDocument/2006/relationships/image" Target="../media/image153.png"/><Relationship Id="rId82" Type="http://schemas.openxmlformats.org/officeDocument/2006/relationships/customXml" Target="../ink/ink157.xml"/><Relationship Id="rId19" Type="http://schemas.openxmlformats.org/officeDocument/2006/relationships/image" Target="../media/image132.png"/><Relationship Id="rId14" Type="http://schemas.openxmlformats.org/officeDocument/2006/relationships/customXml" Target="../ink/ink123.xml"/><Relationship Id="rId30" Type="http://schemas.openxmlformats.org/officeDocument/2006/relationships/customXml" Target="../ink/ink131.xml"/><Relationship Id="rId35" Type="http://schemas.openxmlformats.org/officeDocument/2006/relationships/image" Target="../media/image140.png"/><Relationship Id="rId56" Type="http://schemas.openxmlformats.org/officeDocument/2006/relationships/customXml" Target="../ink/ink144.xml"/><Relationship Id="rId77" Type="http://schemas.openxmlformats.org/officeDocument/2006/relationships/image" Target="../media/image161.png"/><Relationship Id="rId100" Type="http://schemas.openxmlformats.org/officeDocument/2006/relationships/customXml" Target="../ink/ink166.xml"/><Relationship Id="rId105" Type="http://schemas.openxmlformats.org/officeDocument/2006/relationships/image" Target="../media/image175.png"/><Relationship Id="rId8" Type="http://schemas.openxmlformats.org/officeDocument/2006/relationships/customXml" Target="../ink/ink120.xml"/><Relationship Id="rId51" Type="http://schemas.openxmlformats.org/officeDocument/2006/relationships/image" Target="../media/image148.png"/><Relationship Id="rId72" Type="http://schemas.openxmlformats.org/officeDocument/2006/relationships/customXml" Target="../ink/ink152.xml"/><Relationship Id="rId93" Type="http://schemas.openxmlformats.org/officeDocument/2006/relationships/image" Target="../media/image169.png"/><Relationship Id="rId98" Type="http://schemas.openxmlformats.org/officeDocument/2006/relationships/customXml" Target="../ink/ink165.xml"/><Relationship Id="rId3" Type="http://schemas.openxmlformats.org/officeDocument/2006/relationships/image" Target="../media/image124.png"/><Relationship Id="rId25" Type="http://schemas.openxmlformats.org/officeDocument/2006/relationships/image" Target="../media/image135.png"/><Relationship Id="rId46" Type="http://schemas.openxmlformats.org/officeDocument/2006/relationships/customXml" Target="../ink/ink139.xml"/><Relationship Id="rId67" Type="http://schemas.openxmlformats.org/officeDocument/2006/relationships/image" Target="../media/image156.png"/><Relationship Id="rId20" Type="http://schemas.openxmlformats.org/officeDocument/2006/relationships/customXml" Target="../ink/ink126.xml"/><Relationship Id="rId41" Type="http://schemas.openxmlformats.org/officeDocument/2006/relationships/image" Target="../media/image143.png"/><Relationship Id="rId62" Type="http://schemas.openxmlformats.org/officeDocument/2006/relationships/customXml" Target="../ink/ink147.xml"/><Relationship Id="rId83" Type="http://schemas.openxmlformats.org/officeDocument/2006/relationships/image" Target="../media/image164.png"/><Relationship Id="rId88" Type="http://schemas.openxmlformats.org/officeDocument/2006/relationships/customXml" Target="../ink/ink160.xml"/></Relationships>
</file>

<file path=ppt/slides/_rels/slide12.xml.rels><?xml version="1.0" encoding="UTF-8" standalone="yes"?>
<Relationships xmlns="http://schemas.openxmlformats.org/package/2006/relationships"><Relationship Id="rId13" Type="http://schemas.openxmlformats.org/officeDocument/2006/relationships/image" Target="../media/image183.png"/><Relationship Id="rId18" Type="http://schemas.openxmlformats.org/officeDocument/2006/relationships/customXml" Target="../ink/ink178.xml"/><Relationship Id="rId26" Type="http://schemas.openxmlformats.org/officeDocument/2006/relationships/customXml" Target="../ink/ink182.xml"/><Relationship Id="rId39" Type="http://schemas.openxmlformats.org/officeDocument/2006/relationships/image" Target="../media/image196.png"/><Relationship Id="rId21" Type="http://schemas.openxmlformats.org/officeDocument/2006/relationships/image" Target="../media/image187.png"/><Relationship Id="rId34" Type="http://schemas.openxmlformats.org/officeDocument/2006/relationships/customXml" Target="../ink/ink186.xml"/><Relationship Id="rId42" Type="http://schemas.openxmlformats.org/officeDocument/2006/relationships/customXml" Target="../ink/ink190.xml"/><Relationship Id="rId47" Type="http://schemas.openxmlformats.org/officeDocument/2006/relationships/image" Target="../media/image200.png"/><Relationship Id="rId7" Type="http://schemas.openxmlformats.org/officeDocument/2006/relationships/image" Target="../media/image180.png"/><Relationship Id="rId2" Type="http://schemas.openxmlformats.org/officeDocument/2006/relationships/notesSlide" Target="../notesSlides/notesSlide12.xml"/><Relationship Id="rId16" Type="http://schemas.openxmlformats.org/officeDocument/2006/relationships/customXml" Target="../ink/ink177.xml"/><Relationship Id="rId29" Type="http://schemas.openxmlformats.org/officeDocument/2006/relationships/image" Target="../media/image191.png"/><Relationship Id="rId1" Type="http://schemas.openxmlformats.org/officeDocument/2006/relationships/slideLayout" Target="../slideLayouts/slideLayout2.xml"/><Relationship Id="rId6" Type="http://schemas.openxmlformats.org/officeDocument/2006/relationships/customXml" Target="../ink/ink172.xml"/><Relationship Id="rId11" Type="http://schemas.openxmlformats.org/officeDocument/2006/relationships/image" Target="../media/image182.png"/><Relationship Id="rId24" Type="http://schemas.openxmlformats.org/officeDocument/2006/relationships/customXml" Target="../ink/ink181.xml"/><Relationship Id="rId32" Type="http://schemas.openxmlformats.org/officeDocument/2006/relationships/customXml" Target="../ink/ink185.xml"/><Relationship Id="rId37" Type="http://schemas.openxmlformats.org/officeDocument/2006/relationships/image" Target="../media/image195.png"/><Relationship Id="rId40" Type="http://schemas.openxmlformats.org/officeDocument/2006/relationships/customXml" Target="../ink/ink189.xml"/><Relationship Id="rId45" Type="http://schemas.openxmlformats.org/officeDocument/2006/relationships/image" Target="../media/image199.png"/><Relationship Id="rId5" Type="http://schemas.openxmlformats.org/officeDocument/2006/relationships/image" Target="../media/image179.png"/><Relationship Id="rId15" Type="http://schemas.openxmlformats.org/officeDocument/2006/relationships/image" Target="../media/image184.png"/><Relationship Id="rId23" Type="http://schemas.openxmlformats.org/officeDocument/2006/relationships/image" Target="../media/image188.png"/><Relationship Id="rId28" Type="http://schemas.openxmlformats.org/officeDocument/2006/relationships/customXml" Target="../ink/ink183.xml"/><Relationship Id="rId36" Type="http://schemas.openxmlformats.org/officeDocument/2006/relationships/customXml" Target="../ink/ink187.xml"/><Relationship Id="rId10" Type="http://schemas.openxmlformats.org/officeDocument/2006/relationships/customXml" Target="../ink/ink174.xml"/><Relationship Id="rId19" Type="http://schemas.openxmlformats.org/officeDocument/2006/relationships/image" Target="../media/image186.png"/><Relationship Id="rId31" Type="http://schemas.openxmlformats.org/officeDocument/2006/relationships/image" Target="../media/image192.png"/><Relationship Id="rId44" Type="http://schemas.openxmlformats.org/officeDocument/2006/relationships/customXml" Target="../ink/ink191.xml"/><Relationship Id="rId4" Type="http://schemas.openxmlformats.org/officeDocument/2006/relationships/customXml" Target="../ink/ink171.xml"/><Relationship Id="rId9" Type="http://schemas.openxmlformats.org/officeDocument/2006/relationships/image" Target="../media/image181.png"/><Relationship Id="rId14" Type="http://schemas.openxmlformats.org/officeDocument/2006/relationships/customXml" Target="../ink/ink176.xml"/><Relationship Id="rId22" Type="http://schemas.openxmlformats.org/officeDocument/2006/relationships/customXml" Target="../ink/ink180.xml"/><Relationship Id="rId27" Type="http://schemas.openxmlformats.org/officeDocument/2006/relationships/image" Target="../media/image190.png"/><Relationship Id="rId30" Type="http://schemas.openxmlformats.org/officeDocument/2006/relationships/customXml" Target="../ink/ink184.xml"/><Relationship Id="rId35" Type="http://schemas.openxmlformats.org/officeDocument/2006/relationships/image" Target="../media/image194.png"/><Relationship Id="rId43" Type="http://schemas.openxmlformats.org/officeDocument/2006/relationships/image" Target="../media/image198.png"/><Relationship Id="rId8" Type="http://schemas.openxmlformats.org/officeDocument/2006/relationships/customXml" Target="../ink/ink173.xml"/><Relationship Id="rId3" Type="http://schemas.openxmlformats.org/officeDocument/2006/relationships/image" Target="../media/image178.png"/><Relationship Id="rId12" Type="http://schemas.openxmlformats.org/officeDocument/2006/relationships/customXml" Target="../ink/ink175.xml"/><Relationship Id="rId17" Type="http://schemas.openxmlformats.org/officeDocument/2006/relationships/image" Target="../media/image185.png"/><Relationship Id="rId25" Type="http://schemas.openxmlformats.org/officeDocument/2006/relationships/image" Target="../media/image189.png"/><Relationship Id="rId33" Type="http://schemas.openxmlformats.org/officeDocument/2006/relationships/image" Target="../media/image193.png"/><Relationship Id="rId38" Type="http://schemas.openxmlformats.org/officeDocument/2006/relationships/customXml" Target="../ink/ink188.xml"/><Relationship Id="rId46" Type="http://schemas.openxmlformats.org/officeDocument/2006/relationships/customXml" Target="../ink/ink192.xml"/><Relationship Id="rId20" Type="http://schemas.openxmlformats.org/officeDocument/2006/relationships/customXml" Target="../ink/ink179.xml"/><Relationship Id="rId41" Type="http://schemas.openxmlformats.org/officeDocument/2006/relationships/image" Target="../media/image197.png"/></Relationships>
</file>

<file path=ppt/slides/_rels/slide13.xml.rels><?xml version="1.0" encoding="UTF-8" standalone="yes"?>
<Relationships xmlns="http://schemas.openxmlformats.org/package/2006/relationships"><Relationship Id="rId26" Type="http://schemas.openxmlformats.org/officeDocument/2006/relationships/customXml" Target="../ink/ink204.xml"/><Relationship Id="rId21" Type="http://schemas.openxmlformats.org/officeDocument/2006/relationships/image" Target="../media/image1800.png"/><Relationship Id="rId42" Type="http://schemas.openxmlformats.org/officeDocument/2006/relationships/customXml" Target="../ink/ink212.xml"/><Relationship Id="rId47" Type="http://schemas.openxmlformats.org/officeDocument/2006/relationships/image" Target="../media/image310.png"/><Relationship Id="rId63" Type="http://schemas.openxmlformats.org/officeDocument/2006/relationships/image" Target="../media/image390.png"/><Relationship Id="rId68" Type="http://schemas.openxmlformats.org/officeDocument/2006/relationships/customXml" Target="../ink/ink225.xml"/><Relationship Id="rId84" Type="http://schemas.openxmlformats.org/officeDocument/2006/relationships/customXml" Target="../ink/ink233.xml"/><Relationship Id="rId89" Type="http://schemas.openxmlformats.org/officeDocument/2006/relationships/image" Target="../media/image215.png"/><Relationship Id="rId16" Type="http://schemas.openxmlformats.org/officeDocument/2006/relationships/customXml" Target="../ink/ink199.xml"/><Relationship Id="rId11" Type="http://schemas.openxmlformats.org/officeDocument/2006/relationships/image" Target="../media/image1330.png"/><Relationship Id="rId32" Type="http://schemas.openxmlformats.org/officeDocument/2006/relationships/customXml" Target="../ink/ink207.xml"/><Relationship Id="rId37" Type="http://schemas.openxmlformats.org/officeDocument/2006/relationships/image" Target="../media/image260.png"/><Relationship Id="rId53" Type="http://schemas.openxmlformats.org/officeDocument/2006/relationships/image" Target="../media/image340.png"/><Relationship Id="rId58" Type="http://schemas.openxmlformats.org/officeDocument/2006/relationships/customXml" Target="../ink/ink220.xml"/><Relationship Id="rId74" Type="http://schemas.openxmlformats.org/officeDocument/2006/relationships/customXml" Target="../ink/ink228.xml"/><Relationship Id="rId79" Type="http://schemas.openxmlformats.org/officeDocument/2006/relationships/image" Target="../media/image209.png"/><Relationship Id="rId102" Type="http://schemas.openxmlformats.org/officeDocument/2006/relationships/customXml" Target="../ink/ink242.xml"/><Relationship Id="rId5" Type="http://schemas.openxmlformats.org/officeDocument/2006/relationships/image" Target="../media/image1010.png"/><Relationship Id="rId90" Type="http://schemas.openxmlformats.org/officeDocument/2006/relationships/customXml" Target="../ink/ink236.xml"/><Relationship Id="rId95" Type="http://schemas.openxmlformats.org/officeDocument/2006/relationships/image" Target="../media/image218.png"/><Relationship Id="rId22" Type="http://schemas.openxmlformats.org/officeDocument/2006/relationships/customXml" Target="../ink/ink202.xml"/><Relationship Id="rId27" Type="http://schemas.openxmlformats.org/officeDocument/2006/relationships/image" Target="../media/image210.png"/><Relationship Id="rId43" Type="http://schemas.openxmlformats.org/officeDocument/2006/relationships/image" Target="../media/image290.png"/><Relationship Id="rId48" Type="http://schemas.openxmlformats.org/officeDocument/2006/relationships/customXml" Target="../ink/ink215.xml"/><Relationship Id="rId64" Type="http://schemas.openxmlformats.org/officeDocument/2006/relationships/customXml" Target="../ink/ink223.xml"/><Relationship Id="rId69" Type="http://schemas.openxmlformats.org/officeDocument/2006/relationships/image" Target="../media/image204.png"/><Relationship Id="rId80" Type="http://schemas.openxmlformats.org/officeDocument/2006/relationships/customXml" Target="../ink/ink231.xml"/><Relationship Id="rId85" Type="http://schemas.openxmlformats.org/officeDocument/2006/relationships/image" Target="../media/image213.png"/><Relationship Id="rId12" Type="http://schemas.openxmlformats.org/officeDocument/2006/relationships/customXml" Target="../ink/ink197.xml"/><Relationship Id="rId17" Type="http://schemas.openxmlformats.org/officeDocument/2006/relationships/image" Target="../media/image1600.png"/><Relationship Id="rId25" Type="http://schemas.openxmlformats.org/officeDocument/2006/relationships/image" Target="../media/image2000.png"/><Relationship Id="rId33" Type="http://schemas.openxmlformats.org/officeDocument/2006/relationships/image" Target="../media/image240.png"/><Relationship Id="rId38" Type="http://schemas.openxmlformats.org/officeDocument/2006/relationships/customXml" Target="../ink/ink210.xml"/><Relationship Id="rId46" Type="http://schemas.openxmlformats.org/officeDocument/2006/relationships/customXml" Target="../ink/ink214.xml"/><Relationship Id="rId59" Type="http://schemas.openxmlformats.org/officeDocument/2006/relationships/image" Target="../media/image370.png"/><Relationship Id="rId67" Type="http://schemas.openxmlformats.org/officeDocument/2006/relationships/image" Target="../media/image203.png"/><Relationship Id="rId103" Type="http://schemas.openxmlformats.org/officeDocument/2006/relationships/image" Target="../media/image223.png"/><Relationship Id="rId20" Type="http://schemas.openxmlformats.org/officeDocument/2006/relationships/customXml" Target="../ink/ink201.xml"/><Relationship Id="rId41" Type="http://schemas.openxmlformats.org/officeDocument/2006/relationships/image" Target="../media/image280.png"/><Relationship Id="rId54" Type="http://schemas.openxmlformats.org/officeDocument/2006/relationships/customXml" Target="../ink/ink218.xml"/><Relationship Id="rId62" Type="http://schemas.openxmlformats.org/officeDocument/2006/relationships/customXml" Target="../ink/ink222.xml"/><Relationship Id="rId70" Type="http://schemas.openxmlformats.org/officeDocument/2006/relationships/customXml" Target="../ink/ink226.xml"/><Relationship Id="rId75" Type="http://schemas.openxmlformats.org/officeDocument/2006/relationships/image" Target="../media/image207.png"/><Relationship Id="rId83" Type="http://schemas.openxmlformats.org/officeDocument/2006/relationships/image" Target="../media/image212.png"/><Relationship Id="rId88" Type="http://schemas.openxmlformats.org/officeDocument/2006/relationships/customXml" Target="../ink/ink235.xml"/><Relationship Id="rId91" Type="http://schemas.openxmlformats.org/officeDocument/2006/relationships/image" Target="../media/image216.png"/><Relationship Id="rId96" Type="http://schemas.openxmlformats.org/officeDocument/2006/relationships/customXml" Target="../ink/ink239.xml"/><Relationship Id="rId1" Type="http://schemas.openxmlformats.org/officeDocument/2006/relationships/slideLayout" Target="../slideLayouts/slideLayout2.xml"/><Relationship Id="rId6" Type="http://schemas.openxmlformats.org/officeDocument/2006/relationships/customXml" Target="../ink/ink194.xml"/><Relationship Id="rId15" Type="http://schemas.openxmlformats.org/officeDocument/2006/relationships/image" Target="../media/image1500.png"/><Relationship Id="rId23" Type="http://schemas.openxmlformats.org/officeDocument/2006/relationships/image" Target="../media/image1900.png"/><Relationship Id="rId28" Type="http://schemas.openxmlformats.org/officeDocument/2006/relationships/customXml" Target="../ink/ink205.xml"/><Relationship Id="rId36" Type="http://schemas.openxmlformats.org/officeDocument/2006/relationships/customXml" Target="../ink/ink209.xml"/><Relationship Id="rId49" Type="http://schemas.openxmlformats.org/officeDocument/2006/relationships/image" Target="../media/image320.png"/><Relationship Id="rId57" Type="http://schemas.openxmlformats.org/officeDocument/2006/relationships/image" Target="../media/image360.png"/><Relationship Id="rId10" Type="http://schemas.openxmlformats.org/officeDocument/2006/relationships/customXml" Target="../ink/ink196.xml"/><Relationship Id="rId31" Type="http://schemas.openxmlformats.org/officeDocument/2006/relationships/image" Target="../media/image230.png"/><Relationship Id="rId44" Type="http://schemas.openxmlformats.org/officeDocument/2006/relationships/customXml" Target="../ink/ink213.xml"/><Relationship Id="rId52" Type="http://schemas.openxmlformats.org/officeDocument/2006/relationships/customXml" Target="../ink/ink217.xml"/><Relationship Id="rId60" Type="http://schemas.openxmlformats.org/officeDocument/2006/relationships/customXml" Target="../ink/ink221.xml"/><Relationship Id="rId65" Type="http://schemas.openxmlformats.org/officeDocument/2006/relationships/image" Target="../media/image202.png"/><Relationship Id="rId73" Type="http://schemas.openxmlformats.org/officeDocument/2006/relationships/image" Target="../media/image206.png"/><Relationship Id="rId78" Type="http://schemas.openxmlformats.org/officeDocument/2006/relationships/customXml" Target="../ink/ink230.xml"/><Relationship Id="rId81" Type="http://schemas.openxmlformats.org/officeDocument/2006/relationships/image" Target="../media/image211.png"/><Relationship Id="rId86" Type="http://schemas.openxmlformats.org/officeDocument/2006/relationships/customXml" Target="../ink/ink234.xml"/><Relationship Id="rId94" Type="http://schemas.openxmlformats.org/officeDocument/2006/relationships/customXml" Target="../ink/ink238.xml"/><Relationship Id="rId99" Type="http://schemas.openxmlformats.org/officeDocument/2006/relationships/image" Target="../media/image221.png"/><Relationship Id="rId101" Type="http://schemas.openxmlformats.org/officeDocument/2006/relationships/image" Target="../media/image222.png"/><Relationship Id="rId4" Type="http://schemas.openxmlformats.org/officeDocument/2006/relationships/customXml" Target="../ink/ink193.xml"/><Relationship Id="rId9" Type="http://schemas.openxmlformats.org/officeDocument/2006/relationships/image" Target="../media/image1210.png"/><Relationship Id="rId13" Type="http://schemas.openxmlformats.org/officeDocument/2006/relationships/image" Target="../media/image1400.png"/><Relationship Id="rId18" Type="http://schemas.openxmlformats.org/officeDocument/2006/relationships/customXml" Target="../ink/ink200.xml"/><Relationship Id="rId39" Type="http://schemas.openxmlformats.org/officeDocument/2006/relationships/image" Target="../media/image270.png"/><Relationship Id="rId34" Type="http://schemas.openxmlformats.org/officeDocument/2006/relationships/customXml" Target="../ink/ink208.xml"/><Relationship Id="rId50" Type="http://schemas.openxmlformats.org/officeDocument/2006/relationships/customXml" Target="../ink/ink216.xml"/><Relationship Id="rId55" Type="http://schemas.openxmlformats.org/officeDocument/2006/relationships/image" Target="../media/image350.png"/><Relationship Id="rId76" Type="http://schemas.openxmlformats.org/officeDocument/2006/relationships/customXml" Target="../ink/ink229.xml"/><Relationship Id="rId97" Type="http://schemas.openxmlformats.org/officeDocument/2006/relationships/image" Target="../media/image219.png"/><Relationship Id="rId7" Type="http://schemas.openxmlformats.org/officeDocument/2006/relationships/image" Target="../media/image1110.png"/><Relationship Id="rId71" Type="http://schemas.openxmlformats.org/officeDocument/2006/relationships/image" Target="../media/image205.png"/><Relationship Id="rId92" Type="http://schemas.openxmlformats.org/officeDocument/2006/relationships/customXml" Target="../ink/ink237.xml"/><Relationship Id="rId2" Type="http://schemas.openxmlformats.org/officeDocument/2006/relationships/notesSlide" Target="../notesSlides/notesSlide13.xml"/><Relationship Id="rId29" Type="http://schemas.openxmlformats.org/officeDocument/2006/relationships/image" Target="../media/image220.png"/><Relationship Id="rId24" Type="http://schemas.openxmlformats.org/officeDocument/2006/relationships/customXml" Target="../ink/ink203.xml"/><Relationship Id="rId40" Type="http://schemas.openxmlformats.org/officeDocument/2006/relationships/customXml" Target="../ink/ink211.xml"/><Relationship Id="rId45" Type="http://schemas.openxmlformats.org/officeDocument/2006/relationships/image" Target="../media/image300.png"/><Relationship Id="rId66" Type="http://schemas.openxmlformats.org/officeDocument/2006/relationships/customXml" Target="../ink/ink224.xml"/><Relationship Id="rId87" Type="http://schemas.openxmlformats.org/officeDocument/2006/relationships/image" Target="../media/image214.png"/><Relationship Id="rId61" Type="http://schemas.openxmlformats.org/officeDocument/2006/relationships/image" Target="../media/image380.png"/><Relationship Id="rId82" Type="http://schemas.openxmlformats.org/officeDocument/2006/relationships/customXml" Target="../ink/ink232.xml"/><Relationship Id="rId19" Type="http://schemas.openxmlformats.org/officeDocument/2006/relationships/image" Target="../media/image1700.png"/><Relationship Id="rId14" Type="http://schemas.openxmlformats.org/officeDocument/2006/relationships/customXml" Target="../ink/ink198.xml"/><Relationship Id="rId30" Type="http://schemas.openxmlformats.org/officeDocument/2006/relationships/customXml" Target="../ink/ink206.xml"/><Relationship Id="rId35" Type="http://schemas.openxmlformats.org/officeDocument/2006/relationships/image" Target="../media/image250.png"/><Relationship Id="rId56" Type="http://schemas.openxmlformats.org/officeDocument/2006/relationships/customXml" Target="../ink/ink219.xml"/><Relationship Id="rId77" Type="http://schemas.openxmlformats.org/officeDocument/2006/relationships/image" Target="../media/image208.png"/><Relationship Id="rId100" Type="http://schemas.openxmlformats.org/officeDocument/2006/relationships/customXml" Target="../ink/ink241.xml"/><Relationship Id="rId8" Type="http://schemas.openxmlformats.org/officeDocument/2006/relationships/customXml" Target="../ink/ink195.xml"/><Relationship Id="rId51" Type="http://schemas.openxmlformats.org/officeDocument/2006/relationships/image" Target="../media/image330.png"/><Relationship Id="rId72" Type="http://schemas.openxmlformats.org/officeDocument/2006/relationships/customXml" Target="../ink/ink227.xml"/><Relationship Id="rId93" Type="http://schemas.openxmlformats.org/officeDocument/2006/relationships/image" Target="../media/image217.png"/><Relationship Id="rId98" Type="http://schemas.openxmlformats.org/officeDocument/2006/relationships/customXml" Target="../ink/ink240.xml"/><Relationship Id="rId3" Type="http://schemas.openxmlformats.org/officeDocument/2006/relationships/image" Target="../media/image201.png"/></Relationships>
</file>

<file path=ppt/slides/_rels/slide14.xml.rels><?xml version="1.0" encoding="UTF-8" standalone="yes"?>
<Relationships xmlns="http://schemas.openxmlformats.org/package/2006/relationships"><Relationship Id="rId117" Type="http://schemas.openxmlformats.org/officeDocument/2006/relationships/image" Target="../media/image287.png"/><Relationship Id="rId299" Type="http://schemas.openxmlformats.org/officeDocument/2006/relationships/image" Target="../media/image388.png"/><Relationship Id="rId21" Type="http://schemas.openxmlformats.org/officeDocument/2006/relationships/image" Target="../media/image234.png"/><Relationship Id="rId63" Type="http://schemas.openxmlformats.org/officeDocument/2006/relationships/image" Target="../media/image257.png"/><Relationship Id="rId159" Type="http://schemas.openxmlformats.org/officeDocument/2006/relationships/image" Target="../media/image311.png"/><Relationship Id="rId324" Type="http://schemas.openxmlformats.org/officeDocument/2006/relationships/customXml" Target="../ink/ink403.xml"/><Relationship Id="rId170" Type="http://schemas.openxmlformats.org/officeDocument/2006/relationships/customXml" Target="../ink/ink326.xml"/><Relationship Id="rId226" Type="http://schemas.openxmlformats.org/officeDocument/2006/relationships/customXml" Target="../ink/ink354.xml"/><Relationship Id="rId268" Type="http://schemas.openxmlformats.org/officeDocument/2006/relationships/customXml" Target="../ink/ink375.xml"/><Relationship Id="rId32" Type="http://schemas.openxmlformats.org/officeDocument/2006/relationships/customXml" Target="../ink/ink257.xml"/><Relationship Id="rId74" Type="http://schemas.openxmlformats.org/officeDocument/2006/relationships/customXml" Target="../ink/ink278.xml"/><Relationship Id="rId128" Type="http://schemas.openxmlformats.org/officeDocument/2006/relationships/customXml" Target="../ink/ink305.xml"/><Relationship Id="rId335" Type="http://schemas.openxmlformats.org/officeDocument/2006/relationships/image" Target="../media/image407.png"/><Relationship Id="rId5" Type="http://schemas.openxmlformats.org/officeDocument/2006/relationships/image" Target="../media/image225.png"/><Relationship Id="rId181" Type="http://schemas.openxmlformats.org/officeDocument/2006/relationships/image" Target="../media/image323.png"/><Relationship Id="rId237" Type="http://schemas.openxmlformats.org/officeDocument/2006/relationships/image" Target="../media/image354.png"/><Relationship Id="rId279" Type="http://schemas.openxmlformats.org/officeDocument/2006/relationships/image" Target="../media/image377.png"/><Relationship Id="rId43" Type="http://schemas.openxmlformats.org/officeDocument/2006/relationships/image" Target="../media/image246.png"/><Relationship Id="rId139" Type="http://schemas.openxmlformats.org/officeDocument/2006/relationships/image" Target="../media/image299.png"/><Relationship Id="rId290" Type="http://schemas.openxmlformats.org/officeDocument/2006/relationships/customXml" Target="../ink/ink386.xml"/><Relationship Id="rId304" Type="http://schemas.openxmlformats.org/officeDocument/2006/relationships/customXml" Target="../ink/ink393.xml"/><Relationship Id="rId346" Type="http://schemas.openxmlformats.org/officeDocument/2006/relationships/customXml" Target="../ink/ink414.xml"/><Relationship Id="rId85" Type="http://schemas.openxmlformats.org/officeDocument/2006/relationships/image" Target="../media/image269.png"/><Relationship Id="rId150" Type="http://schemas.openxmlformats.org/officeDocument/2006/relationships/customXml" Target="../ink/ink316.xml"/><Relationship Id="rId192" Type="http://schemas.openxmlformats.org/officeDocument/2006/relationships/customXml" Target="../ink/ink337.xml"/><Relationship Id="rId206" Type="http://schemas.openxmlformats.org/officeDocument/2006/relationships/customXml" Target="../ink/ink344.xml"/><Relationship Id="rId248" Type="http://schemas.openxmlformats.org/officeDocument/2006/relationships/customXml" Target="../ink/ink365.xml"/><Relationship Id="rId12" Type="http://schemas.openxmlformats.org/officeDocument/2006/relationships/customXml" Target="../ink/ink247.xml"/><Relationship Id="rId108" Type="http://schemas.openxmlformats.org/officeDocument/2006/relationships/customXml" Target="../ink/ink295.xml"/><Relationship Id="rId315" Type="http://schemas.openxmlformats.org/officeDocument/2006/relationships/image" Target="../media/image397.png"/><Relationship Id="rId357" Type="http://schemas.openxmlformats.org/officeDocument/2006/relationships/image" Target="../media/image418.png"/><Relationship Id="rId54" Type="http://schemas.openxmlformats.org/officeDocument/2006/relationships/customXml" Target="../ink/ink268.xml"/><Relationship Id="rId96" Type="http://schemas.openxmlformats.org/officeDocument/2006/relationships/customXml" Target="../ink/ink289.xml"/><Relationship Id="rId161" Type="http://schemas.openxmlformats.org/officeDocument/2006/relationships/image" Target="../media/image312.png"/><Relationship Id="rId217" Type="http://schemas.openxmlformats.org/officeDocument/2006/relationships/image" Target="../media/image343.png"/><Relationship Id="rId259" Type="http://schemas.openxmlformats.org/officeDocument/2006/relationships/image" Target="../media/image366.png"/><Relationship Id="rId23" Type="http://schemas.openxmlformats.org/officeDocument/2006/relationships/image" Target="../media/image235.png"/><Relationship Id="rId119" Type="http://schemas.openxmlformats.org/officeDocument/2006/relationships/image" Target="../media/image288.png"/><Relationship Id="rId270" Type="http://schemas.openxmlformats.org/officeDocument/2006/relationships/customXml" Target="../ink/ink376.xml"/><Relationship Id="rId326" Type="http://schemas.openxmlformats.org/officeDocument/2006/relationships/customXml" Target="../ink/ink404.xml"/><Relationship Id="rId65" Type="http://schemas.openxmlformats.org/officeDocument/2006/relationships/image" Target="../media/image258.png"/><Relationship Id="rId130" Type="http://schemas.openxmlformats.org/officeDocument/2006/relationships/customXml" Target="../ink/ink306.xml"/><Relationship Id="rId172" Type="http://schemas.openxmlformats.org/officeDocument/2006/relationships/customXml" Target="../ink/ink327.xml"/><Relationship Id="rId228" Type="http://schemas.openxmlformats.org/officeDocument/2006/relationships/customXml" Target="../ink/ink355.xml"/><Relationship Id="rId281" Type="http://schemas.openxmlformats.org/officeDocument/2006/relationships/image" Target="../media/image378.png"/><Relationship Id="rId337" Type="http://schemas.openxmlformats.org/officeDocument/2006/relationships/image" Target="../media/image408.png"/><Relationship Id="rId34" Type="http://schemas.openxmlformats.org/officeDocument/2006/relationships/customXml" Target="../ink/ink258.xml"/><Relationship Id="rId76" Type="http://schemas.openxmlformats.org/officeDocument/2006/relationships/customXml" Target="../ink/ink279.xml"/><Relationship Id="rId141" Type="http://schemas.openxmlformats.org/officeDocument/2006/relationships/image" Target="../media/image301.png"/><Relationship Id="rId7" Type="http://schemas.openxmlformats.org/officeDocument/2006/relationships/image" Target="../media/image226.png"/><Relationship Id="rId183" Type="http://schemas.openxmlformats.org/officeDocument/2006/relationships/image" Target="../media/image324.png"/><Relationship Id="rId239" Type="http://schemas.openxmlformats.org/officeDocument/2006/relationships/image" Target="../media/image355.png"/><Relationship Id="rId250" Type="http://schemas.openxmlformats.org/officeDocument/2006/relationships/customXml" Target="../ink/ink366.xml"/><Relationship Id="rId292" Type="http://schemas.openxmlformats.org/officeDocument/2006/relationships/customXml" Target="../ink/ink387.xml"/><Relationship Id="rId306" Type="http://schemas.openxmlformats.org/officeDocument/2006/relationships/customXml" Target="../ink/ink394.xml"/><Relationship Id="rId45" Type="http://schemas.openxmlformats.org/officeDocument/2006/relationships/image" Target="../media/image247.png"/><Relationship Id="rId87" Type="http://schemas.openxmlformats.org/officeDocument/2006/relationships/image" Target="../media/image271.png"/><Relationship Id="rId110" Type="http://schemas.openxmlformats.org/officeDocument/2006/relationships/customXml" Target="../ink/ink296.xml"/><Relationship Id="rId348" Type="http://schemas.openxmlformats.org/officeDocument/2006/relationships/customXml" Target="../ink/ink415.xml"/><Relationship Id="rId152" Type="http://schemas.openxmlformats.org/officeDocument/2006/relationships/customXml" Target="../ink/ink317.xml"/><Relationship Id="rId194" Type="http://schemas.openxmlformats.org/officeDocument/2006/relationships/customXml" Target="../ink/ink338.xml"/><Relationship Id="rId208" Type="http://schemas.openxmlformats.org/officeDocument/2006/relationships/customXml" Target="../ink/ink345.xml"/><Relationship Id="rId261" Type="http://schemas.openxmlformats.org/officeDocument/2006/relationships/image" Target="../media/image367.png"/><Relationship Id="rId14" Type="http://schemas.openxmlformats.org/officeDocument/2006/relationships/customXml" Target="../ink/ink248.xml"/><Relationship Id="rId56" Type="http://schemas.openxmlformats.org/officeDocument/2006/relationships/customXml" Target="../ink/ink269.xml"/><Relationship Id="rId317" Type="http://schemas.openxmlformats.org/officeDocument/2006/relationships/image" Target="../media/image398.png"/><Relationship Id="rId359" Type="http://schemas.openxmlformats.org/officeDocument/2006/relationships/image" Target="../media/image419.png"/><Relationship Id="rId98" Type="http://schemas.openxmlformats.org/officeDocument/2006/relationships/customXml" Target="../ink/ink290.xml"/><Relationship Id="rId121" Type="http://schemas.openxmlformats.org/officeDocument/2006/relationships/image" Target="../media/image289.png"/><Relationship Id="rId163" Type="http://schemas.openxmlformats.org/officeDocument/2006/relationships/image" Target="../media/image313.png"/><Relationship Id="rId219" Type="http://schemas.openxmlformats.org/officeDocument/2006/relationships/image" Target="../media/image344.png"/><Relationship Id="rId230" Type="http://schemas.openxmlformats.org/officeDocument/2006/relationships/customXml" Target="../ink/ink356.xml"/><Relationship Id="rId25" Type="http://schemas.openxmlformats.org/officeDocument/2006/relationships/image" Target="../media/image236.png"/><Relationship Id="rId67" Type="http://schemas.openxmlformats.org/officeDocument/2006/relationships/image" Target="../media/image259.png"/><Relationship Id="rId272" Type="http://schemas.openxmlformats.org/officeDocument/2006/relationships/customXml" Target="../ink/ink377.xml"/><Relationship Id="rId328" Type="http://schemas.openxmlformats.org/officeDocument/2006/relationships/customXml" Target="../ink/ink405.xml"/><Relationship Id="rId132" Type="http://schemas.openxmlformats.org/officeDocument/2006/relationships/customXml" Target="../ink/ink307.xml"/><Relationship Id="rId174" Type="http://schemas.openxmlformats.org/officeDocument/2006/relationships/customXml" Target="../ink/ink328.xml"/><Relationship Id="rId220" Type="http://schemas.openxmlformats.org/officeDocument/2006/relationships/customXml" Target="../ink/ink351.xml"/><Relationship Id="rId241" Type="http://schemas.openxmlformats.org/officeDocument/2006/relationships/image" Target="../media/image356.png"/><Relationship Id="rId15" Type="http://schemas.openxmlformats.org/officeDocument/2006/relationships/image" Target="../media/image231.png"/><Relationship Id="rId36" Type="http://schemas.openxmlformats.org/officeDocument/2006/relationships/customXml" Target="../ink/ink259.xml"/><Relationship Id="rId57" Type="http://schemas.openxmlformats.org/officeDocument/2006/relationships/image" Target="../media/image254.png"/><Relationship Id="rId262" Type="http://schemas.openxmlformats.org/officeDocument/2006/relationships/customXml" Target="../ink/ink372.xml"/><Relationship Id="rId283" Type="http://schemas.openxmlformats.org/officeDocument/2006/relationships/image" Target="../media/image379.png"/><Relationship Id="rId318" Type="http://schemas.openxmlformats.org/officeDocument/2006/relationships/customXml" Target="../ink/ink400.xml"/><Relationship Id="rId339" Type="http://schemas.openxmlformats.org/officeDocument/2006/relationships/image" Target="../media/image409.png"/><Relationship Id="rId78" Type="http://schemas.openxmlformats.org/officeDocument/2006/relationships/customXml" Target="../ink/ink280.xml"/><Relationship Id="rId99" Type="http://schemas.openxmlformats.org/officeDocument/2006/relationships/image" Target="../media/image277.png"/><Relationship Id="rId101" Type="http://schemas.openxmlformats.org/officeDocument/2006/relationships/image" Target="../media/image278.png"/><Relationship Id="rId122" Type="http://schemas.openxmlformats.org/officeDocument/2006/relationships/customXml" Target="../ink/ink302.xml"/><Relationship Id="rId143" Type="http://schemas.openxmlformats.org/officeDocument/2006/relationships/image" Target="../media/image302.png"/><Relationship Id="rId164" Type="http://schemas.openxmlformats.org/officeDocument/2006/relationships/customXml" Target="../ink/ink323.xml"/><Relationship Id="rId185" Type="http://schemas.openxmlformats.org/officeDocument/2006/relationships/image" Target="../media/image325.png"/><Relationship Id="rId350" Type="http://schemas.openxmlformats.org/officeDocument/2006/relationships/customXml" Target="../ink/ink416.xml"/><Relationship Id="rId9" Type="http://schemas.openxmlformats.org/officeDocument/2006/relationships/image" Target="../media/image227.png"/><Relationship Id="rId210" Type="http://schemas.openxmlformats.org/officeDocument/2006/relationships/customXml" Target="../ink/ink346.xml"/><Relationship Id="rId26" Type="http://schemas.openxmlformats.org/officeDocument/2006/relationships/customXml" Target="../ink/ink254.xml"/><Relationship Id="rId231" Type="http://schemas.openxmlformats.org/officeDocument/2006/relationships/image" Target="../media/image351.png"/><Relationship Id="rId252" Type="http://schemas.openxmlformats.org/officeDocument/2006/relationships/customXml" Target="../ink/ink367.xml"/><Relationship Id="rId273" Type="http://schemas.openxmlformats.org/officeDocument/2006/relationships/image" Target="../media/image374.png"/><Relationship Id="rId294" Type="http://schemas.openxmlformats.org/officeDocument/2006/relationships/customXml" Target="../ink/ink388.xml"/><Relationship Id="rId308" Type="http://schemas.openxmlformats.org/officeDocument/2006/relationships/customXml" Target="../ink/ink395.xml"/><Relationship Id="rId329" Type="http://schemas.openxmlformats.org/officeDocument/2006/relationships/image" Target="../media/image404.png"/><Relationship Id="rId47" Type="http://schemas.openxmlformats.org/officeDocument/2006/relationships/image" Target="../media/image248.png"/><Relationship Id="rId68" Type="http://schemas.openxmlformats.org/officeDocument/2006/relationships/customXml" Target="../ink/ink275.xml"/><Relationship Id="rId89" Type="http://schemas.openxmlformats.org/officeDocument/2006/relationships/image" Target="../media/image272.png"/><Relationship Id="rId112" Type="http://schemas.openxmlformats.org/officeDocument/2006/relationships/customXml" Target="../ink/ink297.xml"/><Relationship Id="rId133" Type="http://schemas.openxmlformats.org/officeDocument/2006/relationships/image" Target="../media/image296.png"/><Relationship Id="rId154" Type="http://schemas.openxmlformats.org/officeDocument/2006/relationships/customXml" Target="../ink/ink318.xml"/><Relationship Id="rId175" Type="http://schemas.openxmlformats.org/officeDocument/2006/relationships/image" Target="../media/image319.png"/><Relationship Id="rId340" Type="http://schemas.openxmlformats.org/officeDocument/2006/relationships/customXml" Target="../ink/ink411.xml"/><Relationship Id="rId361" Type="http://schemas.openxmlformats.org/officeDocument/2006/relationships/image" Target="../media/image420.png"/><Relationship Id="rId196" Type="http://schemas.openxmlformats.org/officeDocument/2006/relationships/customXml" Target="../ink/ink339.xml"/><Relationship Id="rId200" Type="http://schemas.openxmlformats.org/officeDocument/2006/relationships/customXml" Target="../ink/ink341.xml"/><Relationship Id="rId16" Type="http://schemas.openxmlformats.org/officeDocument/2006/relationships/customXml" Target="../ink/ink249.xml"/><Relationship Id="rId221" Type="http://schemas.openxmlformats.org/officeDocument/2006/relationships/image" Target="../media/image345.png"/><Relationship Id="rId242" Type="http://schemas.openxmlformats.org/officeDocument/2006/relationships/customXml" Target="../ink/ink362.xml"/><Relationship Id="rId263" Type="http://schemas.openxmlformats.org/officeDocument/2006/relationships/image" Target="../media/image368.png"/><Relationship Id="rId284" Type="http://schemas.openxmlformats.org/officeDocument/2006/relationships/customXml" Target="../ink/ink383.xml"/><Relationship Id="rId319" Type="http://schemas.openxmlformats.org/officeDocument/2006/relationships/image" Target="../media/image399.png"/><Relationship Id="rId37" Type="http://schemas.openxmlformats.org/officeDocument/2006/relationships/image" Target="../media/image243.png"/><Relationship Id="rId58" Type="http://schemas.openxmlformats.org/officeDocument/2006/relationships/customXml" Target="../ink/ink270.xml"/><Relationship Id="rId79" Type="http://schemas.openxmlformats.org/officeDocument/2006/relationships/image" Target="../media/image266.png"/><Relationship Id="rId102" Type="http://schemas.openxmlformats.org/officeDocument/2006/relationships/customXml" Target="../ink/ink292.xml"/><Relationship Id="rId123" Type="http://schemas.openxmlformats.org/officeDocument/2006/relationships/image" Target="../media/image291.png"/><Relationship Id="rId144" Type="http://schemas.openxmlformats.org/officeDocument/2006/relationships/customXml" Target="../ink/ink313.xml"/><Relationship Id="rId330" Type="http://schemas.openxmlformats.org/officeDocument/2006/relationships/customXml" Target="../ink/ink406.xml"/><Relationship Id="rId90" Type="http://schemas.openxmlformats.org/officeDocument/2006/relationships/customXml" Target="../ink/ink286.xml"/><Relationship Id="rId165" Type="http://schemas.openxmlformats.org/officeDocument/2006/relationships/image" Target="../media/image314.png"/><Relationship Id="rId186" Type="http://schemas.openxmlformats.org/officeDocument/2006/relationships/customXml" Target="../ink/ink334.xml"/><Relationship Id="rId351" Type="http://schemas.openxmlformats.org/officeDocument/2006/relationships/image" Target="../media/image415.png"/><Relationship Id="rId211" Type="http://schemas.openxmlformats.org/officeDocument/2006/relationships/image" Target="../media/image339.png"/><Relationship Id="rId232" Type="http://schemas.openxmlformats.org/officeDocument/2006/relationships/customXml" Target="../ink/ink357.xml"/><Relationship Id="rId253" Type="http://schemas.openxmlformats.org/officeDocument/2006/relationships/image" Target="../media/image363.png"/><Relationship Id="rId274" Type="http://schemas.openxmlformats.org/officeDocument/2006/relationships/customXml" Target="../ink/ink378.xml"/><Relationship Id="rId295" Type="http://schemas.openxmlformats.org/officeDocument/2006/relationships/image" Target="../media/image386.png"/><Relationship Id="rId309" Type="http://schemas.openxmlformats.org/officeDocument/2006/relationships/image" Target="../media/image394.png"/><Relationship Id="rId27" Type="http://schemas.openxmlformats.org/officeDocument/2006/relationships/image" Target="../media/image237.png"/><Relationship Id="rId48" Type="http://schemas.openxmlformats.org/officeDocument/2006/relationships/customXml" Target="../ink/ink265.xml"/><Relationship Id="rId69" Type="http://schemas.openxmlformats.org/officeDocument/2006/relationships/image" Target="../media/image261.png"/><Relationship Id="rId113" Type="http://schemas.openxmlformats.org/officeDocument/2006/relationships/image" Target="../media/image285.png"/><Relationship Id="rId134" Type="http://schemas.openxmlformats.org/officeDocument/2006/relationships/customXml" Target="../ink/ink308.xml"/><Relationship Id="rId320" Type="http://schemas.openxmlformats.org/officeDocument/2006/relationships/customXml" Target="../ink/ink401.xml"/><Relationship Id="rId80" Type="http://schemas.openxmlformats.org/officeDocument/2006/relationships/customXml" Target="../ink/ink281.xml"/><Relationship Id="rId155" Type="http://schemas.openxmlformats.org/officeDocument/2006/relationships/image" Target="../media/image308.png"/><Relationship Id="rId176" Type="http://schemas.openxmlformats.org/officeDocument/2006/relationships/customXml" Target="../ink/ink329.xml"/><Relationship Id="rId197" Type="http://schemas.openxmlformats.org/officeDocument/2006/relationships/image" Target="../media/image332.png"/><Relationship Id="rId341" Type="http://schemas.openxmlformats.org/officeDocument/2006/relationships/image" Target="../media/image410.png"/><Relationship Id="rId362" Type="http://schemas.openxmlformats.org/officeDocument/2006/relationships/customXml" Target="../ink/ink422.xml"/><Relationship Id="rId201" Type="http://schemas.openxmlformats.org/officeDocument/2006/relationships/image" Target="../media/image334.png"/><Relationship Id="rId222" Type="http://schemas.openxmlformats.org/officeDocument/2006/relationships/customXml" Target="../ink/ink352.xml"/><Relationship Id="rId243" Type="http://schemas.openxmlformats.org/officeDocument/2006/relationships/image" Target="../media/image357.png"/><Relationship Id="rId264" Type="http://schemas.openxmlformats.org/officeDocument/2006/relationships/customXml" Target="../ink/ink373.xml"/><Relationship Id="rId285" Type="http://schemas.openxmlformats.org/officeDocument/2006/relationships/image" Target="../media/image381.png"/><Relationship Id="rId17" Type="http://schemas.openxmlformats.org/officeDocument/2006/relationships/image" Target="../media/image232.png"/><Relationship Id="rId38" Type="http://schemas.openxmlformats.org/officeDocument/2006/relationships/customXml" Target="../ink/ink260.xml"/><Relationship Id="rId59" Type="http://schemas.openxmlformats.org/officeDocument/2006/relationships/image" Target="../media/image255.png"/><Relationship Id="rId103" Type="http://schemas.openxmlformats.org/officeDocument/2006/relationships/image" Target="../media/image279.png"/><Relationship Id="rId124" Type="http://schemas.openxmlformats.org/officeDocument/2006/relationships/customXml" Target="../ink/ink303.xml"/><Relationship Id="rId310" Type="http://schemas.openxmlformats.org/officeDocument/2006/relationships/customXml" Target="../ink/ink396.xml"/><Relationship Id="rId70" Type="http://schemas.openxmlformats.org/officeDocument/2006/relationships/customXml" Target="../ink/ink276.xml"/><Relationship Id="rId91" Type="http://schemas.openxmlformats.org/officeDocument/2006/relationships/image" Target="../media/image273.png"/><Relationship Id="rId145" Type="http://schemas.openxmlformats.org/officeDocument/2006/relationships/image" Target="../media/image303.png"/><Relationship Id="rId166" Type="http://schemas.openxmlformats.org/officeDocument/2006/relationships/customXml" Target="../ink/ink324.xml"/><Relationship Id="rId187" Type="http://schemas.openxmlformats.org/officeDocument/2006/relationships/image" Target="../media/image326.png"/><Relationship Id="rId331" Type="http://schemas.openxmlformats.org/officeDocument/2006/relationships/image" Target="../media/image405.png"/><Relationship Id="rId352" Type="http://schemas.openxmlformats.org/officeDocument/2006/relationships/customXml" Target="../ink/ink417.xml"/><Relationship Id="rId1" Type="http://schemas.openxmlformats.org/officeDocument/2006/relationships/slideLayout" Target="../slideLayouts/slideLayout2.xml"/><Relationship Id="rId212" Type="http://schemas.openxmlformats.org/officeDocument/2006/relationships/customXml" Target="../ink/ink347.xml"/><Relationship Id="rId233" Type="http://schemas.openxmlformats.org/officeDocument/2006/relationships/image" Target="../media/image352.png"/><Relationship Id="rId254" Type="http://schemas.openxmlformats.org/officeDocument/2006/relationships/customXml" Target="../ink/ink368.xml"/><Relationship Id="rId28" Type="http://schemas.openxmlformats.org/officeDocument/2006/relationships/customXml" Target="../ink/ink255.xml"/><Relationship Id="rId49" Type="http://schemas.openxmlformats.org/officeDocument/2006/relationships/image" Target="../media/image249.png"/><Relationship Id="rId114" Type="http://schemas.openxmlformats.org/officeDocument/2006/relationships/customXml" Target="../ink/ink298.xml"/><Relationship Id="rId275" Type="http://schemas.openxmlformats.org/officeDocument/2006/relationships/image" Target="../media/image375.png"/><Relationship Id="rId296" Type="http://schemas.openxmlformats.org/officeDocument/2006/relationships/customXml" Target="../ink/ink389.xml"/><Relationship Id="rId300" Type="http://schemas.openxmlformats.org/officeDocument/2006/relationships/customXml" Target="../ink/ink391.xml"/><Relationship Id="rId60" Type="http://schemas.openxmlformats.org/officeDocument/2006/relationships/customXml" Target="../ink/ink271.xml"/><Relationship Id="rId81" Type="http://schemas.openxmlformats.org/officeDocument/2006/relationships/image" Target="../media/image267.png"/><Relationship Id="rId135" Type="http://schemas.openxmlformats.org/officeDocument/2006/relationships/image" Target="../media/image297.png"/><Relationship Id="rId156" Type="http://schemas.openxmlformats.org/officeDocument/2006/relationships/customXml" Target="../ink/ink319.xml"/><Relationship Id="rId177" Type="http://schemas.openxmlformats.org/officeDocument/2006/relationships/image" Target="../media/image321.png"/><Relationship Id="rId198" Type="http://schemas.openxmlformats.org/officeDocument/2006/relationships/customXml" Target="../ink/ink340.xml"/><Relationship Id="rId321" Type="http://schemas.openxmlformats.org/officeDocument/2006/relationships/image" Target="../media/image400.png"/><Relationship Id="rId342" Type="http://schemas.openxmlformats.org/officeDocument/2006/relationships/customXml" Target="../ink/ink412.xml"/><Relationship Id="rId363" Type="http://schemas.openxmlformats.org/officeDocument/2006/relationships/image" Target="../media/image421.png"/><Relationship Id="rId202" Type="http://schemas.openxmlformats.org/officeDocument/2006/relationships/customXml" Target="../ink/ink342.xml"/><Relationship Id="rId223" Type="http://schemas.openxmlformats.org/officeDocument/2006/relationships/image" Target="../media/image346.png"/><Relationship Id="rId244" Type="http://schemas.openxmlformats.org/officeDocument/2006/relationships/customXml" Target="../ink/ink363.xml"/><Relationship Id="rId18" Type="http://schemas.openxmlformats.org/officeDocument/2006/relationships/customXml" Target="../ink/ink250.xml"/><Relationship Id="rId39" Type="http://schemas.openxmlformats.org/officeDocument/2006/relationships/image" Target="../media/image244.png"/><Relationship Id="rId265" Type="http://schemas.openxmlformats.org/officeDocument/2006/relationships/image" Target="../media/image369.png"/><Relationship Id="rId286" Type="http://schemas.openxmlformats.org/officeDocument/2006/relationships/customXml" Target="../ink/ink384.xml"/><Relationship Id="rId50" Type="http://schemas.openxmlformats.org/officeDocument/2006/relationships/customXml" Target="../ink/ink266.xml"/><Relationship Id="rId104" Type="http://schemas.openxmlformats.org/officeDocument/2006/relationships/customXml" Target="../ink/ink293.xml"/><Relationship Id="rId125" Type="http://schemas.openxmlformats.org/officeDocument/2006/relationships/image" Target="../media/image292.png"/><Relationship Id="rId146" Type="http://schemas.openxmlformats.org/officeDocument/2006/relationships/customXml" Target="../ink/ink314.xml"/><Relationship Id="rId167" Type="http://schemas.openxmlformats.org/officeDocument/2006/relationships/image" Target="../media/image315.png"/><Relationship Id="rId188" Type="http://schemas.openxmlformats.org/officeDocument/2006/relationships/customXml" Target="../ink/ink335.xml"/><Relationship Id="rId311" Type="http://schemas.openxmlformats.org/officeDocument/2006/relationships/image" Target="../media/image395.png"/><Relationship Id="rId332" Type="http://schemas.openxmlformats.org/officeDocument/2006/relationships/customXml" Target="../ink/ink407.xml"/><Relationship Id="rId353" Type="http://schemas.openxmlformats.org/officeDocument/2006/relationships/image" Target="../media/image416.png"/><Relationship Id="rId71" Type="http://schemas.openxmlformats.org/officeDocument/2006/relationships/image" Target="../media/image262.png"/><Relationship Id="rId92" Type="http://schemas.openxmlformats.org/officeDocument/2006/relationships/customXml" Target="../ink/ink287.xml"/><Relationship Id="rId213" Type="http://schemas.openxmlformats.org/officeDocument/2006/relationships/image" Target="../media/image341.png"/><Relationship Id="rId234" Type="http://schemas.openxmlformats.org/officeDocument/2006/relationships/customXml" Target="../ink/ink358.xml"/><Relationship Id="rId2" Type="http://schemas.openxmlformats.org/officeDocument/2006/relationships/notesSlide" Target="../notesSlides/notesSlide14.xml"/><Relationship Id="rId29" Type="http://schemas.openxmlformats.org/officeDocument/2006/relationships/image" Target="../media/image238.png"/><Relationship Id="rId255" Type="http://schemas.openxmlformats.org/officeDocument/2006/relationships/image" Target="../media/image364.png"/><Relationship Id="rId276" Type="http://schemas.openxmlformats.org/officeDocument/2006/relationships/customXml" Target="../ink/ink379.xml"/><Relationship Id="rId297" Type="http://schemas.openxmlformats.org/officeDocument/2006/relationships/image" Target="../media/image387.png"/><Relationship Id="rId40" Type="http://schemas.openxmlformats.org/officeDocument/2006/relationships/customXml" Target="../ink/ink261.xml"/><Relationship Id="rId115" Type="http://schemas.openxmlformats.org/officeDocument/2006/relationships/image" Target="../media/image286.png"/><Relationship Id="rId136" Type="http://schemas.openxmlformats.org/officeDocument/2006/relationships/customXml" Target="../ink/ink309.xml"/><Relationship Id="rId157" Type="http://schemas.openxmlformats.org/officeDocument/2006/relationships/image" Target="../media/image309.png"/><Relationship Id="rId178" Type="http://schemas.openxmlformats.org/officeDocument/2006/relationships/customXml" Target="../ink/ink330.xml"/><Relationship Id="rId301" Type="http://schemas.openxmlformats.org/officeDocument/2006/relationships/image" Target="../media/image389.png"/><Relationship Id="rId322" Type="http://schemas.openxmlformats.org/officeDocument/2006/relationships/customXml" Target="../ink/ink402.xml"/><Relationship Id="rId343" Type="http://schemas.openxmlformats.org/officeDocument/2006/relationships/image" Target="../media/image411.png"/><Relationship Id="rId364" Type="http://schemas.openxmlformats.org/officeDocument/2006/relationships/customXml" Target="../ink/ink423.xml"/><Relationship Id="rId61" Type="http://schemas.openxmlformats.org/officeDocument/2006/relationships/image" Target="../media/image256.png"/><Relationship Id="rId82" Type="http://schemas.openxmlformats.org/officeDocument/2006/relationships/customXml" Target="../ink/ink282.xml"/><Relationship Id="rId199" Type="http://schemas.openxmlformats.org/officeDocument/2006/relationships/image" Target="../media/image333.png"/><Relationship Id="rId203" Type="http://schemas.openxmlformats.org/officeDocument/2006/relationships/image" Target="../media/image335.png"/><Relationship Id="rId19" Type="http://schemas.openxmlformats.org/officeDocument/2006/relationships/image" Target="../media/image233.png"/><Relationship Id="rId224" Type="http://schemas.openxmlformats.org/officeDocument/2006/relationships/customXml" Target="../ink/ink353.xml"/><Relationship Id="rId245" Type="http://schemas.openxmlformats.org/officeDocument/2006/relationships/image" Target="../media/image358.png"/><Relationship Id="rId266" Type="http://schemas.openxmlformats.org/officeDocument/2006/relationships/customXml" Target="../ink/ink374.xml"/><Relationship Id="rId287" Type="http://schemas.openxmlformats.org/officeDocument/2006/relationships/image" Target="../media/image382.png"/><Relationship Id="rId30" Type="http://schemas.openxmlformats.org/officeDocument/2006/relationships/customXml" Target="../ink/ink256.xml"/><Relationship Id="rId105" Type="http://schemas.openxmlformats.org/officeDocument/2006/relationships/image" Target="../media/image281.png"/><Relationship Id="rId126" Type="http://schemas.openxmlformats.org/officeDocument/2006/relationships/customXml" Target="../ink/ink304.xml"/><Relationship Id="rId147" Type="http://schemas.openxmlformats.org/officeDocument/2006/relationships/image" Target="../media/image304.png"/><Relationship Id="rId168" Type="http://schemas.openxmlformats.org/officeDocument/2006/relationships/customXml" Target="../ink/ink325.xml"/><Relationship Id="rId312" Type="http://schemas.openxmlformats.org/officeDocument/2006/relationships/customXml" Target="../ink/ink397.xml"/><Relationship Id="rId333" Type="http://schemas.openxmlformats.org/officeDocument/2006/relationships/image" Target="../media/image406.png"/><Relationship Id="rId354" Type="http://schemas.openxmlformats.org/officeDocument/2006/relationships/customXml" Target="../ink/ink418.xml"/><Relationship Id="rId51" Type="http://schemas.openxmlformats.org/officeDocument/2006/relationships/image" Target="../media/image251.png"/><Relationship Id="rId72" Type="http://schemas.openxmlformats.org/officeDocument/2006/relationships/customXml" Target="../ink/ink277.xml"/><Relationship Id="rId93" Type="http://schemas.openxmlformats.org/officeDocument/2006/relationships/image" Target="../media/image274.png"/><Relationship Id="rId189" Type="http://schemas.openxmlformats.org/officeDocument/2006/relationships/image" Target="../media/image327.png"/><Relationship Id="rId3" Type="http://schemas.openxmlformats.org/officeDocument/2006/relationships/image" Target="../media/image224.png"/><Relationship Id="rId214" Type="http://schemas.openxmlformats.org/officeDocument/2006/relationships/customXml" Target="../ink/ink348.xml"/><Relationship Id="rId235" Type="http://schemas.openxmlformats.org/officeDocument/2006/relationships/image" Target="../media/image353.png"/><Relationship Id="rId256" Type="http://schemas.openxmlformats.org/officeDocument/2006/relationships/customXml" Target="../ink/ink369.xml"/><Relationship Id="rId277" Type="http://schemas.openxmlformats.org/officeDocument/2006/relationships/image" Target="../media/image376.png"/><Relationship Id="rId298" Type="http://schemas.openxmlformats.org/officeDocument/2006/relationships/customXml" Target="../ink/ink390.xml"/><Relationship Id="rId116" Type="http://schemas.openxmlformats.org/officeDocument/2006/relationships/customXml" Target="../ink/ink299.xml"/><Relationship Id="rId137" Type="http://schemas.openxmlformats.org/officeDocument/2006/relationships/image" Target="../media/image298.png"/><Relationship Id="rId158" Type="http://schemas.openxmlformats.org/officeDocument/2006/relationships/customXml" Target="../ink/ink320.xml"/><Relationship Id="rId302" Type="http://schemas.openxmlformats.org/officeDocument/2006/relationships/customXml" Target="../ink/ink392.xml"/><Relationship Id="rId323" Type="http://schemas.openxmlformats.org/officeDocument/2006/relationships/image" Target="../media/image401.png"/><Relationship Id="rId344" Type="http://schemas.openxmlformats.org/officeDocument/2006/relationships/customXml" Target="../ink/ink413.xml"/><Relationship Id="rId20" Type="http://schemas.openxmlformats.org/officeDocument/2006/relationships/customXml" Target="../ink/ink251.xml"/><Relationship Id="rId41" Type="http://schemas.openxmlformats.org/officeDocument/2006/relationships/image" Target="../media/image245.png"/><Relationship Id="rId62" Type="http://schemas.openxmlformats.org/officeDocument/2006/relationships/customXml" Target="../ink/ink272.xml"/><Relationship Id="rId83" Type="http://schemas.openxmlformats.org/officeDocument/2006/relationships/image" Target="../media/image268.png"/><Relationship Id="rId179" Type="http://schemas.openxmlformats.org/officeDocument/2006/relationships/image" Target="../media/image322.png"/><Relationship Id="rId365" Type="http://schemas.openxmlformats.org/officeDocument/2006/relationships/image" Target="../media/image422.png"/><Relationship Id="rId190" Type="http://schemas.openxmlformats.org/officeDocument/2006/relationships/customXml" Target="../ink/ink336.xml"/><Relationship Id="rId204" Type="http://schemas.openxmlformats.org/officeDocument/2006/relationships/customXml" Target="../ink/ink343.xml"/><Relationship Id="rId225" Type="http://schemas.openxmlformats.org/officeDocument/2006/relationships/image" Target="../media/image347.png"/><Relationship Id="rId246" Type="http://schemas.openxmlformats.org/officeDocument/2006/relationships/customXml" Target="../ink/ink364.xml"/><Relationship Id="rId267" Type="http://schemas.openxmlformats.org/officeDocument/2006/relationships/image" Target="../media/image371.png"/><Relationship Id="rId288" Type="http://schemas.openxmlformats.org/officeDocument/2006/relationships/customXml" Target="../ink/ink385.xml"/><Relationship Id="rId106" Type="http://schemas.openxmlformats.org/officeDocument/2006/relationships/customXml" Target="../ink/ink294.xml"/><Relationship Id="rId127" Type="http://schemas.openxmlformats.org/officeDocument/2006/relationships/image" Target="../media/image293.png"/><Relationship Id="rId313" Type="http://schemas.openxmlformats.org/officeDocument/2006/relationships/image" Target="../media/image396.png"/><Relationship Id="rId10" Type="http://schemas.openxmlformats.org/officeDocument/2006/relationships/customXml" Target="../ink/ink246.xml"/><Relationship Id="rId31" Type="http://schemas.openxmlformats.org/officeDocument/2006/relationships/image" Target="../media/image239.png"/><Relationship Id="rId52" Type="http://schemas.openxmlformats.org/officeDocument/2006/relationships/customXml" Target="../ink/ink267.xml"/><Relationship Id="rId73" Type="http://schemas.openxmlformats.org/officeDocument/2006/relationships/image" Target="../media/image263.png"/><Relationship Id="rId94" Type="http://schemas.openxmlformats.org/officeDocument/2006/relationships/customXml" Target="../ink/ink288.xml"/><Relationship Id="rId148" Type="http://schemas.openxmlformats.org/officeDocument/2006/relationships/customXml" Target="../ink/ink315.xml"/><Relationship Id="rId169" Type="http://schemas.openxmlformats.org/officeDocument/2006/relationships/image" Target="../media/image316.png"/><Relationship Id="rId334" Type="http://schemas.openxmlformats.org/officeDocument/2006/relationships/customXml" Target="../ink/ink408.xml"/><Relationship Id="rId355" Type="http://schemas.openxmlformats.org/officeDocument/2006/relationships/image" Target="../media/image417.png"/><Relationship Id="rId4" Type="http://schemas.openxmlformats.org/officeDocument/2006/relationships/customXml" Target="../ink/ink243.xml"/><Relationship Id="rId180" Type="http://schemas.openxmlformats.org/officeDocument/2006/relationships/customXml" Target="../ink/ink331.xml"/><Relationship Id="rId215" Type="http://schemas.openxmlformats.org/officeDocument/2006/relationships/image" Target="../media/image342.png"/><Relationship Id="rId236" Type="http://schemas.openxmlformats.org/officeDocument/2006/relationships/customXml" Target="../ink/ink359.xml"/><Relationship Id="rId257" Type="http://schemas.openxmlformats.org/officeDocument/2006/relationships/image" Target="../media/image365.png"/><Relationship Id="rId278" Type="http://schemas.openxmlformats.org/officeDocument/2006/relationships/customXml" Target="../ink/ink380.xml"/><Relationship Id="rId303" Type="http://schemas.openxmlformats.org/officeDocument/2006/relationships/image" Target="../media/image391.png"/><Relationship Id="rId42" Type="http://schemas.openxmlformats.org/officeDocument/2006/relationships/customXml" Target="../ink/ink262.xml"/><Relationship Id="rId84" Type="http://schemas.openxmlformats.org/officeDocument/2006/relationships/customXml" Target="../ink/ink283.xml"/><Relationship Id="rId138" Type="http://schemas.openxmlformats.org/officeDocument/2006/relationships/customXml" Target="../ink/ink310.xml"/><Relationship Id="rId345" Type="http://schemas.openxmlformats.org/officeDocument/2006/relationships/image" Target="../media/image412.png"/><Relationship Id="rId191" Type="http://schemas.openxmlformats.org/officeDocument/2006/relationships/image" Target="../media/image328.png"/><Relationship Id="rId205" Type="http://schemas.openxmlformats.org/officeDocument/2006/relationships/image" Target="../media/image336.png"/><Relationship Id="rId247" Type="http://schemas.openxmlformats.org/officeDocument/2006/relationships/image" Target="../media/image359.png"/><Relationship Id="rId107" Type="http://schemas.openxmlformats.org/officeDocument/2006/relationships/image" Target="../media/image282.png"/><Relationship Id="rId289" Type="http://schemas.openxmlformats.org/officeDocument/2006/relationships/image" Target="../media/image383.png"/><Relationship Id="rId11" Type="http://schemas.openxmlformats.org/officeDocument/2006/relationships/image" Target="../media/image228.png"/><Relationship Id="rId53" Type="http://schemas.openxmlformats.org/officeDocument/2006/relationships/image" Target="../media/image252.png"/><Relationship Id="rId149" Type="http://schemas.openxmlformats.org/officeDocument/2006/relationships/image" Target="../media/image305.png"/><Relationship Id="rId314" Type="http://schemas.openxmlformats.org/officeDocument/2006/relationships/customXml" Target="../ink/ink398.xml"/><Relationship Id="rId356" Type="http://schemas.openxmlformats.org/officeDocument/2006/relationships/customXml" Target="../ink/ink419.xml"/><Relationship Id="rId95" Type="http://schemas.openxmlformats.org/officeDocument/2006/relationships/image" Target="../media/image275.png"/><Relationship Id="rId160" Type="http://schemas.openxmlformats.org/officeDocument/2006/relationships/customXml" Target="../ink/ink321.xml"/><Relationship Id="rId216" Type="http://schemas.openxmlformats.org/officeDocument/2006/relationships/customXml" Target="../ink/ink349.xml"/><Relationship Id="rId258" Type="http://schemas.openxmlformats.org/officeDocument/2006/relationships/customXml" Target="../ink/ink370.xml"/><Relationship Id="rId22" Type="http://schemas.openxmlformats.org/officeDocument/2006/relationships/customXml" Target="../ink/ink252.xml"/><Relationship Id="rId64" Type="http://schemas.openxmlformats.org/officeDocument/2006/relationships/customXml" Target="../ink/ink273.xml"/><Relationship Id="rId118" Type="http://schemas.openxmlformats.org/officeDocument/2006/relationships/customXml" Target="../ink/ink300.xml"/><Relationship Id="rId325" Type="http://schemas.openxmlformats.org/officeDocument/2006/relationships/image" Target="../media/image402.png"/><Relationship Id="rId171" Type="http://schemas.openxmlformats.org/officeDocument/2006/relationships/image" Target="../media/image317.png"/><Relationship Id="rId227" Type="http://schemas.openxmlformats.org/officeDocument/2006/relationships/image" Target="../media/image348.png"/><Relationship Id="rId269" Type="http://schemas.openxmlformats.org/officeDocument/2006/relationships/image" Target="../media/image372.png"/><Relationship Id="rId33" Type="http://schemas.openxmlformats.org/officeDocument/2006/relationships/image" Target="../media/image241.png"/><Relationship Id="rId129" Type="http://schemas.openxmlformats.org/officeDocument/2006/relationships/image" Target="../media/image294.png"/><Relationship Id="rId280" Type="http://schemas.openxmlformats.org/officeDocument/2006/relationships/customXml" Target="../ink/ink381.xml"/><Relationship Id="rId336" Type="http://schemas.openxmlformats.org/officeDocument/2006/relationships/customXml" Target="../ink/ink409.xml"/><Relationship Id="rId75" Type="http://schemas.openxmlformats.org/officeDocument/2006/relationships/image" Target="../media/image264.png"/><Relationship Id="rId140" Type="http://schemas.openxmlformats.org/officeDocument/2006/relationships/customXml" Target="../ink/ink311.xml"/><Relationship Id="rId182" Type="http://schemas.openxmlformats.org/officeDocument/2006/relationships/customXml" Target="../ink/ink332.xml"/><Relationship Id="rId6" Type="http://schemas.openxmlformats.org/officeDocument/2006/relationships/customXml" Target="../ink/ink244.xml"/><Relationship Id="rId238" Type="http://schemas.openxmlformats.org/officeDocument/2006/relationships/customXml" Target="../ink/ink360.xml"/><Relationship Id="rId291" Type="http://schemas.openxmlformats.org/officeDocument/2006/relationships/image" Target="../media/image384.png"/><Relationship Id="rId305" Type="http://schemas.openxmlformats.org/officeDocument/2006/relationships/image" Target="../media/image392.png"/><Relationship Id="rId347" Type="http://schemas.openxmlformats.org/officeDocument/2006/relationships/image" Target="../media/image413.png"/><Relationship Id="rId44" Type="http://schemas.openxmlformats.org/officeDocument/2006/relationships/customXml" Target="../ink/ink263.xml"/><Relationship Id="rId86" Type="http://schemas.openxmlformats.org/officeDocument/2006/relationships/customXml" Target="../ink/ink284.xml"/><Relationship Id="rId151" Type="http://schemas.openxmlformats.org/officeDocument/2006/relationships/image" Target="../media/image306.png"/><Relationship Id="rId193" Type="http://schemas.openxmlformats.org/officeDocument/2006/relationships/image" Target="../media/image329.png"/><Relationship Id="rId207" Type="http://schemas.openxmlformats.org/officeDocument/2006/relationships/image" Target="../media/image337.png"/><Relationship Id="rId249" Type="http://schemas.openxmlformats.org/officeDocument/2006/relationships/image" Target="../media/image361.png"/><Relationship Id="rId13" Type="http://schemas.openxmlformats.org/officeDocument/2006/relationships/image" Target="../media/image229.png"/><Relationship Id="rId109" Type="http://schemas.openxmlformats.org/officeDocument/2006/relationships/image" Target="../media/image283.png"/><Relationship Id="rId260" Type="http://schemas.openxmlformats.org/officeDocument/2006/relationships/customXml" Target="../ink/ink371.xml"/><Relationship Id="rId316" Type="http://schemas.openxmlformats.org/officeDocument/2006/relationships/customXml" Target="../ink/ink399.xml"/><Relationship Id="rId55" Type="http://schemas.openxmlformats.org/officeDocument/2006/relationships/image" Target="../media/image253.png"/><Relationship Id="rId97" Type="http://schemas.openxmlformats.org/officeDocument/2006/relationships/image" Target="../media/image276.png"/><Relationship Id="rId120" Type="http://schemas.openxmlformats.org/officeDocument/2006/relationships/customXml" Target="../ink/ink301.xml"/><Relationship Id="rId358" Type="http://schemas.openxmlformats.org/officeDocument/2006/relationships/customXml" Target="../ink/ink420.xml"/><Relationship Id="rId162" Type="http://schemas.openxmlformats.org/officeDocument/2006/relationships/customXml" Target="../ink/ink322.xml"/><Relationship Id="rId218" Type="http://schemas.openxmlformats.org/officeDocument/2006/relationships/customXml" Target="../ink/ink350.xml"/><Relationship Id="rId271" Type="http://schemas.openxmlformats.org/officeDocument/2006/relationships/image" Target="../media/image373.png"/><Relationship Id="rId24" Type="http://schemas.openxmlformats.org/officeDocument/2006/relationships/customXml" Target="../ink/ink253.xml"/><Relationship Id="rId66" Type="http://schemas.openxmlformats.org/officeDocument/2006/relationships/customXml" Target="../ink/ink274.xml"/><Relationship Id="rId131" Type="http://schemas.openxmlformats.org/officeDocument/2006/relationships/image" Target="../media/image295.png"/><Relationship Id="rId327" Type="http://schemas.openxmlformats.org/officeDocument/2006/relationships/image" Target="../media/image403.png"/><Relationship Id="rId173" Type="http://schemas.openxmlformats.org/officeDocument/2006/relationships/image" Target="../media/image318.png"/><Relationship Id="rId229" Type="http://schemas.openxmlformats.org/officeDocument/2006/relationships/image" Target="../media/image349.png"/><Relationship Id="rId240" Type="http://schemas.openxmlformats.org/officeDocument/2006/relationships/customXml" Target="../ink/ink361.xml"/><Relationship Id="rId35" Type="http://schemas.openxmlformats.org/officeDocument/2006/relationships/image" Target="../media/image242.png"/><Relationship Id="rId77" Type="http://schemas.openxmlformats.org/officeDocument/2006/relationships/image" Target="../media/image265.png"/><Relationship Id="rId100" Type="http://schemas.openxmlformats.org/officeDocument/2006/relationships/customXml" Target="../ink/ink291.xml"/><Relationship Id="rId282" Type="http://schemas.openxmlformats.org/officeDocument/2006/relationships/customXml" Target="../ink/ink382.xml"/><Relationship Id="rId338" Type="http://schemas.openxmlformats.org/officeDocument/2006/relationships/customXml" Target="../ink/ink410.xml"/><Relationship Id="rId8" Type="http://schemas.openxmlformats.org/officeDocument/2006/relationships/customXml" Target="../ink/ink245.xml"/><Relationship Id="rId142" Type="http://schemas.openxmlformats.org/officeDocument/2006/relationships/customXml" Target="../ink/ink312.xml"/><Relationship Id="rId184" Type="http://schemas.openxmlformats.org/officeDocument/2006/relationships/customXml" Target="../ink/ink333.xml"/><Relationship Id="rId251" Type="http://schemas.openxmlformats.org/officeDocument/2006/relationships/image" Target="../media/image362.png"/><Relationship Id="rId46" Type="http://schemas.openxmlformats.org/officeDocument/2006/relationships/customXml" Target="../ink/ink264.xml"/><Relationship Id="rId293" Type="http://schemas.openxmlformats.org/officeDocument/2006/relationships/image" Target="../media/image385.png"/><Relationship Id="rId307" Type="http://schemas.openxmlformats.org/officeDocument/2006/relationships/image" Target="../media/image393.png"/><Relationship Id="rId349" Type="http://schemas.openxmlformats.org/officeDocument/2006/relationships/image" Target="../media/image414.png"/><Relationship Id="rId88" Type="http://schemas.openxmlformats.org/officeDocument/2006/relationships/customXml" Target="../ink/ink285.xml"/><Relationship Id="rId111" Type="http://schemas.openxmlformats.org/officeDocument/2006/relationships/image" Target="../media/image284.png"/><Relationship Id="rId153" Type="http://schemas.openxmlformats.org/officeDocument/2006/relationships/image" Target="../media/image307.png"/><Relationship Id="rId195" Type="http://schemas.openxmlformats.org/officeDocument/2006/relationships/image" Target="../media/image331.png"/><Relationship Id="rId209" Type="http://schemas.openxmlformats.org/officeDocument/2006/relationships/image" Target="../media/image338.png"/><Relationship Id="rId360" Type="http://schemas.openxmlformats.org/officeDocument/2006/relationships/customXml" Target="../ink/ink421.xml"/></Relationships>
</file>

<file path=ppt/slides/_rels/slide15.xml.rels><?xml version="1.0" encoding="UTF-8" standalone="yes"?>
<Relationships xmlns="http://schemas.openxmlformats.org/package/2006/relationships"><Relationship Id="rId26" Type="http://schemas.openxmlformats.org/officeDocument/2006/relationships/customXml" Target="../ink/ink435.xml"/><Relationship Id="rId21" Type="http://schemas.openxmlformats.org/officeDocument/2006/relationships/image" Target="../media/image432.png"/><Relationship Id="rId42" Type="http://schemas.openxmlformats.org/officeDocument/2006/relationships/customXml" Target="../ink/ink443.xml"/><Relationship Id="rId47" Type="http://schemas.openxmlformats.org/officeDocument/2006/relationships/image" Target="../media/image445.png"/><Relationship Id="rId63" Type="http://schemas.openxmlformats.org/officeDocument/2006/relationships/image" Target="../media/image453.png"/><Relationship Id="rId68" Type="http://schemas.openxmlformats.org/officeDocument/2006/relationships/customXml" Target="../ink/ink456.xml"/><Relationship Id="rId84" Type="http://schemas.openxmlformats.org/officeDocument/2006/relationships/customXml" Target="../ink/ink464.xml"/><Relationship Id="rId89" Type="http://schemas.openxmlformats.org/officeDocument/2006/relationships/image" Target="../media/image466.png"/><Relationship Id="rId16" Type="http://schemas.openxmlformats.org/officeDocument/2006/relationships/customXml" Target="../ink/ink430.xml"/><Relationship Id="rId11" Type="http://schemas.openxmlformats.org/officeDocument/2006/relationships/image" Target="../media/image427.png"/><Relationship Id="rId32" Type="http://schemas.openxmlformats.org/officeDocument/2006/relationships/customXml" Target="../ink/ink438.xml"/><Relationship Id="rId37" Type="http://schemas.openxmlformats.org/officeDocument/2006/relationships/image" Target="../media/image440.png"/><Relationship Id="rId53" Type="http://schemas.openxmlformats.org/officeDocument/2006/relationships/image" Target="../media/image448.png"/><Relationship Id="rId58" Type="http://schemas.openxmlformats.org/officeDocument/2006/relationships/customXml" Target="../ink/ink451.xml"/><Relationship Id="rId74" Type="http://schemas.openxmlformats.org/officeDocument/2006/relationships/customXml" Target="../ink/ink459.xml"/><Relationship Id="rId79" Type="http://schemas.openxmlformats.org/officeDocument/2006/relationships/image" Target="../media/image461.png"/><Relationship Id="rId102" Type="http://schemas.openxmlformats.org/officeDocument/2006/relationships/customXml" Target="../ink/ink473.xml"/><Relationship Id="rId5" Type="http://schemas.openxmlformats.org/officeDocument/2006/relationships/image" Target="../media/image424.png"/><Relationship Id="rId90" Type="http://schemas.openxmlformats.org/officeDocument/2006/relationships/customXml" Target="../ink/ink467.xml"/><Relationship Id="rId95" Type="http://schemas.openxmlformats.org/officeDocument/2006/relationships/image" Target="../media/image469.png"/><Relationship Id="rId22" Type="http://schemas.openxmlformats.org/officeDocument/2006/relationships/customXml" Target="../ink/ink433.xml"/><Relationship Id="rId27" Type="http://schemas.openxmlformats.org/officeDocument/2006/relationships/image" Target="../media/image435.png"/><Relationship Id="rId43" Type="http://schemas.openxmlformats.org/officeDocument/2006/relationships/image" Target="../media/image443.png"/><Relationship Id="rId48" Type="http://schemas.openxmlformats.org/officeDocument/2006/relationships/customXml" Target="../ink/ink446.xml"/><Relationship Id="rId64" Type="http://schemas.openxmlformats.org/officeDocument/2006/relationships/customXml" Target="../ink/ink454.xml"/><Relationship Id="rId69" Type="http://schemas.openxmlformats.org/officeDocument/2006/relationships/image" Target="../media/image456.png"/><Relationship Id="rId80" Type="http://schemas.openxmlformats.org/officeDocument/2006/relationships/customXml" Target="../ink/ink462.xml"/><Relationship Id="rId85" Type="http://schemas.openxmlformats.org/officeDocument/2006/relationships/image" Target="../media/image464.png"/><Relationship Id="rId12" Type="http://schemas.openxmlformats.org/officeDocument/2006/relationships/customXml" Target="../ink/ink428.xml"/><Relationship Id="rId17" Type="http://schemas.openxmlformats.org/officeDocument/2006/relationships/image" Target="../media/image430.png"/><Relationship Id="rId33" Type="http://schemas.openxmlformats.org/officeDocument/2006/relationships/image" Target="../media/image438.png"/><Relationship Id="rId38" Type="http://schemas.openxmlformats.org/officeDocument/2006/relationships/customXml" Target="../ink/ink441.xml"/><Relationship Id="rId59" Type="http://schemas.openxmlformats.org/officeDocument/2006/relationships/image" Target="../media/image451.png"/><Relationship Id="rId103" Type="http://schemas.openxmlformats.org/officeDocument/2006/relationships/image" Target="../media/image473.png"/><Relationship Id="rId20" Type="http://schemas.openxmlformats.org/officeDocument/2006/relationships/customXml" Target="../ink/ink432.xml"/><Relationship Id="rId41" Type="http://schemas.openxmlformats.org/officeDocument/2006/relationships/image" Target="../media/image442.png"/><Relationship Id="rId54" Type="http://schemas.openxmlformats.org/officeDocument/2006/relationships/customXml" Target="../ink/ink449.xml"/><Relationship Id="rId62" Type="http://schemas.openxmlformats.org/officeDocument/2006/relationships/customXml" Target="../ink/ink453.xml"/><Relationship Id="rId70" Type="http://schemas.openxmlformats.org/officeDocument/2006/relationships/customXml" Target="../ink/ink457.xml"/><Relationship Id="rId75" Type="http://schemas.openxmlformats.org/officeDocument/2006/relationships/image" Target="../media/image459.png"/><Relationship Id="rId83" Type="http://schemas.openxmlformats.org/officeDocument/2006/relationships/image" Target="../media/image463.png"/><Relationship Id="rId88" Type="http://schemas.openxmlformats.org/officeDocument/2006/relationships/customXml" Target="../ink/ink466.xml"/><Relationship Id="rId91" Type="http://schemas.openxmlformats.org/officeDocument/2006/relationships/image" Target="../media/image467.png"/><Relationship Id="rId96" Type="http://schemas.openxmlformats.org/officeDocument/2006/relationships/customXml" Target="../ink/ink470.xml"/><Relationship Id="rId1" Type="http://schemas.openxmlformats.org/officeDocument/2006/relationships/slideLayout" Target="../slideLayouts/slideLayout2.xml"/><Relationship Id="rId6" Type="http://schemas.openxmlformats.org/officeDocument/2006/relationships/customXml" Target="../ink/ink425.xml"/><Relationship Id="rId15" Type="http://schemas.openxmlformats.org/officeDocument/2006/relationships/image" Target="../media/image429.png"/><Relationship Id="rId23" Type="http://schemas.openxmlformats.org/officeDocument/2006/relationships/image" Target="../media/image433.png"/><Relationship Id="rId28" Type="http://schemas.openxmlformats.org/officeDocument/2006/relationships/customXml" Target="../ink/ink436.xml"/><Relationship Id="rId36" Type="http://schemas.openxmlformats.org/officeDocument/2006/relationships/customXml" Target="../ink/ink440.xml"/><Relationship Id="rId49" Type="http://schemas.openxmlformats.org/officeDocument/2006/relationships/image" Target="../media/image446.png"/><Relationship Id="rId57" Type="http://schemas.openxmlformats.org/officeDocument/2006/relationships/image" Target="../media/image450.png"/><Relationship Id="rId10" Type="http://schemas.openxmlformats.org/officeDocument/2006/relationships/customXml" Target="../ink/ink427.xml"/><Relationship Id="rId31" Type="http://schemas.openxmlformats.org/officeDocument/2006/relationships/image" Target="../media/image437.png"/><Relationship Id="rId44" Type="http://schemas.openxmlformats.org/officeDocument/2006/relationships/customXml" Target="../ink/ink444.xml"/><Relationship Id="rId52" Type="http://schemas.openxmlformats.org/officeDocument/2006/relationships/customXml" Target="../ink/ink448.xml"/><Relationship Id="rId60" Type="http://schemas.openxmlformats.org/officeDocument/2006/relationships/customXml" Target="../ink/ink452.xml"/><Relationship Id="rId65" Type="http://schemas.openxmlformats.org/officeDocument/2006/relationships/image" Target="../media/image454.png"/><Relationship Id="rId73" Type="http://schemas.openxmlformats.org/officeDocument/2006/relationships/image" Target="../media/image458.png"/><Relationship Id="rId78" Type="http://schemas.openxmlformats.org/officeDocument/2006/relationships/customXml" Target="../ink/ink461.xml"/><Relationship Id="rId81" Type="http://schemas.openxmlformats.org/officeDocument/2006/relationships/image" Target="../media/image462.png"/><Relationship Id="rId86" Type="http://schemas.openxmlformats.org/officeDocument/2006/relationships/customXml" Target="../ink/ink465.xml"/><Relationship Id="rId94" Type="http://schemas.openxmlformats.org/officeDocument/2006/relationships/customXml" Target="../ink/ink469.xml"/><Relationship Id="rId99" Type="http://schemas.openxmlformats.org/officeDocument/2006/relationships/image" Target="../media/image471.png"/><Relationship Id="rId101" Type="http://schemas.openxmlformats.org/officeDocument/2006/relationships/image" Target="../media/image472.png"/><Relationship Id="rId4" Type="http://schemas.openxmlformats.org/officeDocument/2006/relationships/customXml" Target="../ink/ink424.xml"/><Relationship Id="rId9" Type="http://schemas.openxmlformats.org/officeDocument/2006/relationships/image" Target="../media/image426.png"/><Relationship Id="rId13" Type="http://schemas.openxmlformats.org/officeDocument/2006/relationships/image" Target="../media/image428.png"/><Relationship Id="rId18" Type="http://schemas.openxmlformats.org/officeDocument/2006/relationships/customXml" Target="../ink/ink431.xml"/><Relationship Id="rId39" Type="http://schemas.openxmlformats.org/officeDocument/2006/relationships/image" Target="../media/image441.png"/><Relationship Id="rId34" Type="http://schemas.openxmlformats.org/officeDocument/2006/relationships/customXml" Target="../ink/ink439.xml"/><Relationship Id="rId50" Type="http://schemas.openxmlformats.org/officeDocument/2006/relationships/customXml" Target="../ink/ink447.xml"/><Relationship Id="rId55" Type="http://schemas.openxmlformats.org/officeDocument/2006/relationships/image" Target="../media/image449.png"/><Relationship Id="rId76" Type="http://schemas.openxmlformats.org/officeDocument/2006/relationships/customXml" Target="../ink/ink460.xml"/><Relationship Id="rId97" Type="http://schemas.openxmlformats.org/officeDocument/2006/relationships/image" Target="../media/image470.png"/><Relationship Id="rId104" Type="http://schemas.openxmlformats.org/officeDocument/2006/relationships/customXml" Target="../ink/ink474.xml"/><Relationship Id="rId7" Type="http://schemas.openxmlformats.org/officeDocument/2006/relationships/image" Target="../media/image425.png"/><Relationship Id="rId71" Type="http://schemas.openxmlformats.org/officeDocument/2006/relationships/image" Target="../media/image457.png"/><Relationship Id="rId92" Type="http://schemas.openxmlformats.org/officeDocument/2006/relationships/customXml" Target="../ink/ink468.xml"/><Relationship Id="rId2" Type="http://schemas.openxmlformats.org/officeDocument/2006/relationships/notesSlide" Target="../notesSlides/notesSlide15.xml"/><Relationship Id="rId29" Type="http://schemas.openxmlformats.org/officeDocument/2006/relationships/image" Target="../media/image436.png"/><Relationship Id="rId24" Type="http://schemas.openxmlformats.org/officeDocument/2006/relationships/customXml" Target="../ink/ink434.xml"/><Relationship Id="rId40" Type="http://schemas.openxmlformats.org/officeDocument/2006/relationships/customXml" Target="../ink/ink442.xml"/><Relationship Id="rId45" Type="http://schemas.openxmlformats.org/officeDocument/2006/relationships/image" Target="../media/image444.png"/><Relationship Id="rId66" Type="http://schemas.openxmlformats.org/officeDocument/2006/relationships/customXml" Target="../ink/ink455.xml"/><Relationship Id="rId87" Type="http://schemas.openxmlformats.org/officeDocument/2006/relationships/image" Target="../media/image465.png"/><Relationship Id="rId61" Type="http://schemas.openxmlformats.org/officeDocument/2006/relationships/image" Target="../media/image452.png"/><Relationship Id="rId82" Type="http://schemas.openxmlformats.org/officeDocument/2006/relationships/customXml" Target="../ink/ink463.xml"/><Relationship Id="rId19" Type="http://schemas.openxmlformats.org/officeDocument/2006/relationships/image" Target="../media/image431.png"/><Relationship Id="rId14" Type="http://schemas.openxmlformats.org/officeDocument/2006/relationships/customXml" Target="../ink/ink429.xml"/><Relationship Id="rId30" Type="http://schemas.openxmlformats.org/officeDocument/2006/relationships/customXml" Target="../ink/ink437.xml"/><Relationship Id="rId35" Type="http://schemas.openxmlformats.org/officeDocument/2006/relationships/image" Target="../media/image439.png"/><Relationship Id="rId56" Type="http://schemas.openxmlformats.org/officeDocument/2006/relationships/customXml" Target="../ink/ink450.xml"/><Relationship Id="rId77" Type="http://schemas.openxmlformats.org/officeDocument/2006/relationships/image" Target="../media/image460.png"/><Relationship Id="rId100" Type="http://schemas.openxmlformats.org/officeDocument/2006/relationships/customXml" Target="../ink/ink472.xml"/><Relationship Id="rId105" Type="http://schemas.openxmlformats.org/officeDocument/2006/relationships/image" Target="../media/image474.png"/><Relationship Id="rId8" Type="http://schemas.openxmlformats.org/officeDocument/2006/relationships/customXml" Target="../ink/ink426.xml"/><Relationship Id="rId51" Type="http://schemas.openxmlformats.org/officeDocument/2006/relationships/image" Target="../media/image447.png"/><Relationship Id="rId72" Type="http://schemas.openxmlformats.org/officeDocument/2006/relationships/customXml" Target="../ink/ink458.xml"/><Relationship Id="rId93" Type="http://schemas.openxmlformats.org/officeDocument/2006/relationships/image" Target="../media/image468.png"/><Relationship Id="rId98" Type="http://schemas.openxmlformats.org/officeDocument/2006/relationships/customXml" Target="../ink/ink471.xml"/><Relationship Id="rId3" Type="http://schemas.openxmlformats.org/officeDocument/2006/relationships/image" Target="../media/image423.png"/><Relationship Id="rId25" Type="http://schemas.openxmlformats.org/officeDocument/2006/relationships/image" Target="../media/image434.png"/><Relationship Id="rId46" Type="http://schemas.openxmlformats.org/officeDocument/2006/relationships/customXml" Target="../ink/ink445.xml"/><Relationship Id="rId67" Type="http://schemas.openxmlformats.org/officeDocument/2006/relationships/image" Target="../media/image455.png"/></Relationships>
</file>

<file path=ppt/slides/_rels/slide16.xml.rels><?xml version="1.0" encoding="UTF-8" standalone="yes"?>
<Relationships xmlns="http://schemas.openxmlformats.org/package/2006/relationships"><Relationship Id="rId117" Type="http://schemas.openxmlformats.org/officeDocument/2006/relationships/image" Target="../media/image532.png"/><Relationship Id="rId21" Type="http://schemas.openxmlformats.org/officeDocument/2006/relationships/image" Target="../media/image484.png"/><Relationship Id="rId42" Type="http://schemas.openxmlformats.org/officeDocument/2006/relationships/customXml" Target="../ink/ink494.xml"/><Relationship Id="rId63" Type="http://schemas.openxmlformats.org/officeDocument/2006/relationships/image" Target="../media/image505.png"/><Relationship Id="rId84" Type="http://schemas.openxmlformats.org/officeDocument/2006/relationships/customXml" Target="../ink/ink515.xml"/><Relationship Id="rId138" Type="http://schemas.openxmlformats.org/officeDocument/2006/relationships/customXml" Target="../ink/ink542.xml"/><Relationship Id="rId159" Type="http://schemas.openxmlformats.org/officeDocument/2006/relationships/image" Target="../media/image553.png"/><Relationship Id="rId170" Type="http://schemas.openxmlformats.org/officeDocument/2006/relationships/customXml" Target="../ink/ink558.xml"/><Relationship Id="rId191" Type="http://schemas.openxmlformats.org/officeDocument/2006/relationships/image" Target="../media/image569.png"/><Relationship Id="rId107" Type="http://schemas.openxmlformats.org/officeDocument/2006/relationships/image" Target="../media/image527.png"/><Relationship Id="rId11" Type="http://schemas.openxmlformats.org/officeDocument/2006/relationships/image" Target="../media/image479.png"/><Relationship Id="rId32" Type="http://schemas.openxmlformats.org/officeDocument/2006/relationships/customXml" Target="../ink/ink489.xml"/><Relationship Id="rId53" Type="http://schemas.openxmlformats.org/officeDocument/2006/relationships/image" Target="../media/image500.png"/><Relationship Id="rId74" Type="http://schemas.openxmlformats.org/officeDocument/2006/relationships/customXml" Target="../ink/ink510.xml"/><Relationship Id="rId128" Type="http://schemas.openxmlformats.org/officeDocument/2006/relationships/customXml" Target="../ink/ink537.xml"/><Relationship Id="rId149" Type="http://schemas.openxmlformats.org/officeDocument/2006/relationships/image" Target="../media/image548.png"/><Relationship Id="rId5" Type="http://schemas.openxmlformats.org/officeDocument/2006/relationships/image" Target="../media/image476.png"/><Relationship Id="rId95" Type="http://schemas.openxmlformats.org/officeDocument/2006/relationships/image" Target="../media/image521.png"/><Relationship Id="rId160" Type="http://schemas.openxmlformats.org/officeDocument/2006/relationships/customXml" Target="../ink/ink553.xml"/><Relationship Id="rId181" Type="http://schemas.openxmlformats.org/officeDocument/2006/relationships/image" Target="../media/image564.png"/><Relationship Id="rId22" Type="http://schemas.openxmlformats.org/officeDocument/2006/relationships/customXml" Target="../ink/ink484.xml"/><Relationship Id="rId43" Type="http://schemas.openxmlformats.org/officeDocument/2006/relationships/image" Target="../media/image495.png"/><Relationship Id="rId64" Type="http://schemas.openxmlformats.org/officeDocument/2006/relationships/customXml" Target="../ink/ink505.xml"/><Relationship Id="rId118" Type="http://schemas.openxmlformats.org/officeDocument/2006/relationships/customXml" Target="../ink/ink532.xml"/><Relationship Id="rId139" Type="http://schemas.openxmlformats.org/officeDocument/2006/relationships/image" Target="../media/image543.png"/><Relationship Id="rId85" Type="http://schemas.openxmlformats.org/officeDocument/2006/relationships/image" Target="../media/image516.png"/><Relationship Id="rId150" Type="http://schemas.openxmlformats.org/officeDocument/2006/relationships/customXml" Target="../ink/ink548.xml"/><Relationship Id="rId171" Type="http://schemas.openxmlformats.org/officeDocument/2006/relationships/image" Target="../media/image559.png"/><Relationship Id="rId192" Type="http://schemas.openxmlformats.org/officeDocument/2006/relationships/customXml" Target="../ink/ink569.xml"/><Relationship Id="rId12" Type="http://schemas.openxmlformats.org/officeDocument/2006/relationships/customXml" Target="../ink/ink479.xml"/><Relationship Id="rId33" Type="http://schemas.openxmlformats.org/officeDocument/2006/relationships/image" Target="../media/image490.png"/><Relationship Id="rId108" Type="http://schemas.openxmlformats.org/officeDocument/2006/relationships/customXml" Target="../ink/ink527.xml"/><Relationship Id="rId129" Type="http://schemas.openxmlformats.org/officeDocument/2006/relationships/image" Target="../media/image538.png"/><Relationship Id="rId54" Type="http://schemas.openxmlformats.org/officeDocument/2006/relationships/customXml" Target="../ink/ink500.xml"/><Relationship Id="rId75" Type="http://schemas.openxmlformats.org/officeDocument/2006/relationships/image" Target="../media/image511.png"/><Relationship Id="rId96" Type="http://schemas.openxmlformats.org/officeDocument/2006/relationships/customXml" Target="../ink/ink521.xml"/><Relationship Id="rId140" Type="http://schemas.openxmlformats.org/officeDocument/2006/relationships/customXml" Target="../ink/ink543.xml"/><Relationship Id="rId161" Type="http://schemas.openxmlformats.org/officeDocument/2006/relationships/image" Target="../media/image554.png"/><Relationship Id="rId182" Type="http://schemas.openxmlformats.org/officeDocument/2006/relationships/customXml" Target="../ink/ink564.xml"/><Relationship Id="rId6" Type="http://schemas.openxmlformats.org/officeDocument/2006/relationships/customXml" Target="../ink/ink476.xml"/><Relationship Id="rId23" Type="http://schemas.openxmlformats.org/officeDocument/2006/relationships/image" Target="../media/image485.png"/><Relationship Id="rId119" Type="http://schemas.openxmlformats.org/officeDocument/2006/relationships/image" Target="../media/image533.png"/><Relationship Id="rId44" Type="http://schemas.openxmlformats.org/officeDocument/2006/relationships/customXml" Target="../ink/ink495.xml"/><Relationship Id="rId65" Type="http://schemas.openxmlformats.org/officeDocument/2006/relationships/image" Target="../media/image506.png"/><Relationship Id="rId86" Type="http://schemas.openxmlformats.org/officeDocument/2006/relationships/customXml" Target="../ink/ink516.xml"/><Relationship Id="rId130" Type="http://schemas.openxmlformats.org/officeDocument/2006/relationships/customXml" Target="../ink/ink538.xml"/><Relationship Id="rId151" Type="http://schemas.openxmlformats.org/officeDocument/2006/relationships/image" Target="../media/image549.png"/><Relationship Id="rId172" Type="http://schemas.openxmlformats.org/officeDocument/2006/relationships/customXml" Target="../ink/ink559.xml"/><Relationship Id="rId193" Type="http://schemas.openxmlformats.org/officeDocument/2006/relationships/image" Target="../media/image570.png"/><Relationship Id="rId13" Type="http://schemas.openxmlformats.org/officeDocument/2006/relationships/image" Target="../media/image480.png"/><Relationship Id="rId109" Type="http://schemas.openxmlformats.org/officeDocument/2006/relationships/image" Target="../media/image528.png"/><Relationship Id="rId34" Type="http://schemas.openxmlformats.org/officeDocument/2006/relationships/customXml" Target="../ink/ink490.xml"/><Relationship Id="rId50" Type="http://schemas.openxmlformats.org/officeDocument/2006/relationships/customXml" Target="../ink/ink498.xml"/><Relationship Id="rId55" Type="http://schemas.openxmlformats.org/officeDocument/2006/relationships/image" Target="../media/image501.png"/><Relationship Id="rId76" Type="http://schemas.openxmlformats.org/officeDocument/2006/relationships/customXml" Target="../ink/ink511.xml"/><Relationship Id="rId97" Type="http://schemas.openxmlformats.org/officeDocument/2006/relationships/image" Target="../media/image522.png"/><Relationship Id="rId104" Type="http://schemas.openxmlformats.org/officeDocument/2006/relationships/customXml" Target="../ink/ink525.xml"/><Relationship Id="rId120" Type="http://schemas.openxmlformats.org/officeDocument/2006/relationships/customXml" Target="../ink/ink533.xml"/><Relationship Id="rId125" Type="http://schemas.openxmlformats.org/officeDocument/2006/relationships/image" Target="../media/image536.png"/><Relationship Id="rId141" Type="http://schemas.openxmlformats.org/officeDocument/2006/relationships/image" Target="../media/image544.png"/><Relationship Id="rId146" Type="http://schemas.openxmlformats.org/officeDocument/2006/relationships/customXml" Target="../ink/ink546.xml"/><Relationship Id="rId167" Type="http://schemas.openxmlformats.org/officeDocument/2006/relationships/image" Target="../media/image557.png"/><Relationship Id="rId188" Type="http://schemas.openxmlformats.org/officeDocument/2006/relationships/customXml" Target="../ink/ink567.xml"/><Relationship Id="rId7" Type="http://schemas.openxmlformats.org/officeDocument/2006/relationships/image" Target="../media/image477.png"/><Relationship Id="rId71" Type="http://schemas.openxmlformats.org/officeDocument/2006/relationships/image" Target="../media/image509.png"/><Relationship Id="rId92" Type="http://schemas.openxmlformats.org/officeDocument/2006/relationships/customXml" Target="../ink/ink519.xml"/><Relationship Id="rId162" Type="http://schemas.openxmlformats.org/officeDocument/2006/relationships/customXml" Target="../ink/ink554.xml"/><Relationship Id="rId183" Type="http://schemas.openxmlformats.org/officeDocument/2006/relationships/image" Target="../media/image565.png"/><Relationship Id="rId2" Type="http://schemas.openxmlformats.org/officeDocument/2006/relationships/notesSlide" Target="../notesSlides/notesSlide16.xml"/><Relationship Id="rId29" Type="http://schemas.openxmlformats.org/officeDocument/2006/relationships/image" Target="../media/image488.png"/><Relationship Id="rId24" Type="http://schemas.openxmlformats.org/officeDocument/2006/relationships/customXml" Target="../ink/ink485.xml"/><Relationship Id="rId40" Type="http://schemas.openxmlformats.org/officeDocument/2006/relationships/customXml" Target="../ink/ink493.xml"/><Relationship Id="rId45" Type="http://schemas.openxmlformats.org/officeDocument/2006/relationships/image" Target="../media/image496.png"/><Relationship Id="rId66" Type="http://schemas.openxmlformats.org/officeDocument/2006/relationships/customXml" Target="../ink/ink506.xml"/><Relationship Id="rId87" Type="http://schemas.openxmlformats.org/officeDocument/2006/relationships/image" Target="../media/image517.png"/><Relationship Id="rId110" Type="http://schemas.openxmlformats.org/officeDocument/2006/relationships/customXml" Target="../ink/ink528.xml"/><Relationship Id="rId115" Type="http://schemas.openxmlformats.org/officeDocument/2006/relationships/image" Target="../media/image531.png"/><Relationship Id="rId131" Type="http://schemas.openxmlformats.org/officeDocument/2006/relationships/image" Target="../media/image539.png"/><Relationship Id="rId136" Type="http://schemas.openxmlformats.org/officeDocument/2006/relationships/customXml" Target="../ink/ink541.xml"/><Relationship Id="rId157" Type="http://schemas.openxmlformats.org/officeDocument/2006/relationships/image" Target="../media/image552.png"/><Relationship Id="rId178" Type="http://schemas.openxmlformats.org/officeDocument/2006/relationships/customXml" Target="../ink/ink562.xml"/><Relationship Id="rId61" Type="http://schemas.openxmlformats.org/officeDocument/2006/relationships/image" Target="../media/image504.png"/><Relationship Id="rId82" Type="http://schemas.openxmlformats.org/officeDocument/2006/relationships/customXml" Target="../ink/ink514.xml"/><Relationship Id="rId152" Type="http://schemas.openxmlformats.org/officeDocument/2006/relationships/customXml" Target="../ink/ink549.xml"/><Relationship Id="rId173" Type="http://schemas.openxmlformats.org/officeDocument/2006/relationships/image" Target="../media/image560.png"/><Relationship Id="rId19" Type="http://schemas.openxmlformats.org/officeDocument/2006/relationships/image" Target="../media/image483.png"/><Relationship Id="rId14" Type="http://schemas.openxmlformats.org/officeDocument/2006/relationships/customXml" Target="../ink/ink480.xml"/><Relationship Id="rId30" Type="http://schemas.openxmlformats.org/officeDocument/2006/relationships/customXml" Target="../ink/ink488.xml"/><Relationship Id="rId35" Type="http://schemas.openxmlformats.org/officeDocument/2006/relationships/image" Target="../media/image491.png"/><Relationship Id="rId56" Type="http://schemas.openxmlformats.org/officeDocument/2006/relationships/customXml" Target="../ink/ink501.xml"/><Relationship Id="rId77" Type="http://schemas.openxmlformats.org/officeDocument/2006/relationships/image" Target="../media/image512.png"/><Relationship Id="rId100" Type="http://schemas.openxmlformats.org/officeDocument/2006/relationships/customXml" Target="../ink/ink523.xml"/><Relationship Id="rId105" Type="http://schemas.openxmlformats.org/officeDocument/2006/relationships/image" Target="../media/image526.png"/><Relationship Id="rId126" Type="http://schemas.openxmlformats.org/officeDocument/2006/relationships/customXml" Target="../ink/ink536.xml"/><Relationship Id="rId147" Type="http://schemas.openxmlformats.org/officeDocument/2006/relationships/image" Target="../media/image547.png"/><Relationship Id="rId168" Type="http://schemas.openxmlformats.org/officeDocument/2006/relationships/customXml" Target="../ink/ink557.xml"/><Relationship Id="rId8" Type="http://schemas.openxmlformats.org/officeDocument/2006/relationships/customXml" Target="../ink/ink477.xml"/><Relationship Id="rId51" Type="http://schemas.openxmlformats.org/officeDocument/2006/relationships/image" Target="../media/image499.png"/><Relationship Id="rId72" Type="http://schemas.openxmlformats.org/officeDocument/2006/relationships/customXml" Target="../ink/ink509.xml"/><Relationship Id="rId93" Type="http://schemas.openxmlformats.org/officeDocument/2006/relationships/image" Target="../media/image520.png"/><Relationship Id="rId98" Type="http://schemas.openxmlformats.org/officeDocument/2006/relationships/customXml" Target="../ink/ink522.xml"/><Relationship Id="rId121" Type="http://schemas.openxmlformats.org/officeDocument/2006/relationships/image" Target="../media/image534.png"/><Relationship Id="rId142" Type="http://schemas.openxmlformats.org/officeDocument/2006/relationships/customXml" Target="../ink/ink544.xml"/><Relationship Id="rId163" Type="http://schemas.openxmlformats.org/officeDocument/2006/relationships/image" Target="../media/image555.png"/><Relationship Id="rId184" Type="http://schemas.openxmlformats.org/officeDocument/2006/relationships/customXml" Target="../ink/ink565.xml"/><Relationship Id="rId189" Type="http://schemas.openxmlformats.org/officeDocument/2006/relationships/image" Target="../media/image568.png"/><Relationship Id="rId3" Type="http://schemas.openxmlformats.org/officeDocument/2006/relationships/image" Target="../media/image475.png"/><Relationship Id="rId25" Type="http://schemas.openxmlformats.org/officeDocument/2006/relationships/image" Target="../media/image486.png"/><Relationship Id="rId46" Type="http://schemas.openxmlformats.org/officeDocument/2006/relationships/customXml" Target="../ink/ink496.xml"/><Relationship Id="rId67" Type="http://schemas.openxmlformats.org/officeDocument/2006/relationships/image" Target="../media/image507.png"/><Relationship Id="rId116" Type="http://schemas.openxmlformats.org/officeDocument/2006/relationships/customXml" Target="../ink/ink531.xml"/><Relationship Id="rId137" Type="http://schemas.openxmlformats.org/officeDocument/2006/relationships/image" Target="../media/image542.png"/><Relationship Id="rId158" Type="http://schemas.openxmlformats.org/officeDocument/2006/relationships/customXml" Target="../ink/ink552.xml"/><Relationship Id="rId20" Type="http://schemas.openxmlformats.org/officeDocument/2006/relationships/customXml" Target="../ink/ink483.xml"/><Relationship Id="rId41" Type="http://schemas.openxmlformats.org/officeDocument/2006/relationships/image" Target="../media/image494.png"/><Relationship Id="rId62" Type="http://schemas.openxmlformats.org/officeDocument/2006/relationships/customXml" Target="../ink/ink504.xml"/><Relationship Id="rId83" Type="http://schemas.openxmlformats.org/officeDocument/2006/relationships/image" Target="../media/image515.png"/><Relationship Id="rId88" Type="http://schemas.openxmlformats.org/officeDocument/2006/relationships/customXml" Target="../ink/ink517.xml"/><Relationship Id="rId111" Type="http://schemas.openxmlformats.org/officeDocument/2006/relationships/image" Target="../media/image529.png"/><Relationship Id="rId132" Type="http://schemas.openxmlformats.org/officeDocument/2006/relationships/customXml" Target="../ink/ink539.xml"/><Relationship Id="rId153" Type="http://schemas.openxmlformats.org/officeDocument/2006/relationships/image" Target="../media/image550.png"/><Relationship Id="rId174" Type="http://schemas.openxmlformats.org/officeDocument/2006/relationships/customXml" Target="../ink/ink560.xml"/><Relationship Id="rId179" Type="http://schemas.openxmlformats.org/officeDocument/2006/relationships/image" Target="../media/image563.png"/><Relationship Id="rId190" Type="http://schemas.openxmlformats.org/officeDocument/2006/relationships/customXml" Target="../ink/ink568.xml"/><Relationship Id="rId15" Type="http://schemas.openxmlformats.org/officeDocument/2006/relationships/image" Target="../media/image481.png"/><Relationship Id="rId36" Type="http://schemas.openxmlformats.org/officeDocument/2006/relationships/customXml" Target="../ink/ink491.xml"/><Relationship Id="rId57" Type="http://schemas.openxmlformats.org/officeDocument/2006/relationships/image" Target="../media/image502.png"/><Relationship Id="rId106" Type="http://schemas.openxmlformats.org/officeDocument/2006/relationships/customXml" Target="../ink/ink526.xml"/><Relationship Id="rId127" Type="http://schemas.openxmlformats.org/officeDocument/2006/relationships/image" Target="../media/image537.png"/><Relationship Id="rId10" Type="http://schemas.openxmlformats.org/officeDocument/2006/relationships/customXml" Target="../ink/ink478.xml"/><Relationship Id="rId31" Type="http://schemas.openxmlformats.org/officeDocument/2006/relationships/image" Target="../media/image489.png"/><Relationship Id="rId52" Type="http://schemas.openxmlformats.org/officeDocument/2006/relationships/customXml" Target="../ink/ink499.xml"/><Relationship Id="rId73" Type="http://schemas.openxmlformats.org/officeDocument/2006/relationships/image" Target="../media/image510.png"/><Relationship Id="rId78" Type="http://schemas.openxmlformats.org/officeDocument/2006/relationships/customXml" Target="../ink/ink512.xml"/><Relationship Id="rId94" Type="http://schemas.openxmlformats.org/officeDocument/2006/relationships/customXml" Target="../ink/ink520.xml"/><Relationship Id="rId99" Type="http://schemas.openxmlformats.org/officeDocument/2006/relationships/image" Target="../media/image523.png"/><Relationship Id="rId101" Type="http://schemas.openxmlformats.org/officeDocument/2006/relationships/image" Target="../media/image524.png"/><Relationship Id="rId122" Type="http://schemas.openxmlformats.org/officeDocument/2006/relationships/customXml" Target="../ink/ink534.xml"/><Relationship Id="rId143" Type="http://schemas.openxmlformats.org/officeDocument/2006/relationships/image" Target="../media/image545.png"/><Relationship Id="rId148" Type="http://schemas.openxmlformats.org/officeDocument/2006/relationships/customXml" Target="../ink/ink547.xml"/><Relationship Id="rId164" Type="http://schemas.openxmlformats.org/officeDocument/2006/relationships/customXml" Target="../ink/ink555.xml"/><Relationship Id="rId169" Type="http://schemas.openxmlformats.org/officeDocument/2006/relationships/image" Target="../media/image558.png"/><Relationship Id="rId185" Type="http://schemas.openxmlformats.org/officeDocument/2006/relationships/image" Target="../media/image566.png"/><Relationship Id="rId4" Type="http://schemas.openxmlformats.org/officeDocument/2006/relationships/customXml" Target="../ink/ink475.xml"/><Relationship Id="rId9" Type="http://schemas.openxmlformats.org/officeDocument/2006/relationships/image" Target="../media/image478.png"/><Relationship Id="rId180" Type="http://schemas.openxmlformats.org/officeDocument/2006/relationships/customXml" Target="../ink/ink563.xml"/><Relationship Id="rId26" Type="http://schemas.openxmlformats.org/officeDocument/2006/relationships/customXml" Target="../ink/ink486.xml"/><Relationship Id="rId47" Type="http://schemas.openxmlformats.org/officeDocument/2006/relationships/image" Target="../media/image497.png"/><Relationship Id="rId68" Type="http://schemas.openxmlformats.org/officeDocument/2006/relationships/customXml" Target="../ink/ink507.xml"/><Relationship Id="rId89" Type="http://schemas.openxmlformats.org/officeDocument/2006/relationships/image" Target="../media/image518.png"/><Relationship Id="rId112" Type="http://schemas.openxmlformats.org/officeDocument/2006/relationships/customXml" Target="../ink/ink529.xml"/><Relationship Id="rId133" Type="http://schemas.openxmlformats.org/officeDocument/2006/relationships/image" Target="../media/image540.png"/><Relationship Id="rId154" Type="http://schemas.openxmlformats.org/officeDocument/2006/relationships/customXml" Target="../ink/ink550.xml"/><Relationship Id="rId175" Type="http://schemas.openxmlformats.org/officeDocument/2006/relationships/image" Target="../media/image561.png"/><Relationship Id="rId16" Type="http://schemas.openxmlformats.org/officeDocument/2006/relationships/customXml" Target="../ink/ink481.xml"/><Relationship Id="rId37" Type="http://schemas.openxmlformats.org/officeDocument/2006/relationships/image" Target="../media/image492.png"/><Relationship Id="rId58" Type="http://schemas.openxmlformats.org/officeDocument/2006/relationships/customXml" Target="../ink/ink502.xml"/><Relationship Id="rId79" Type="http://schemas.openxmlformats.org/officeDocument/2006/relationships/image" Target="../media/image513.png"/><Relationship Id="rId102" Type="http://schemas.openxmlformats.org/officeDocument/2006/relationships/customXml" Target="../ink/ink524.xml"/><Relationship Id="rId123" Type="http://schemas.openxmlformats.org/officeDocument/2006/relationships/image" Target="../media/image535.png"/><Relationship Id="rId144" Type="http://schemas.openxmlformats.org/officeDocument/2006/relationships/customXml" Target="../ink/ink545.xml"/><Relationship Id="rId90" Type="http://schemas.openxmlformats.org/officeDocument/2006/relationships/customXml" Target="../ink/ink518.xml"/><Relationship Id="rId165" Type="http://schemas.openxmlformats.org/officeDocument/2006/relationships/image" Target="../media/image556.png"/><Relationship Id="rId186" Type="http://schemas.openxmlformats.org/officeDocument/2006/relationships/customXml" Target="../ink/ink566.xml"/><Relationship Id="rId27" Type="http://schemas.openxmlformats.org/officeDocument/2006/relationships/image" Target="../media/image487.png"/><Relationship Id="rId48" Type="http://schemas.openxmlformats.org/officeDocument/2006/relationships/customXml" Target="../ink/ink497.xml"/><Relationship Id="rId69" Type="http://schemas.openxmlformats.org/officeDocument/2006/relationships/image" Target="../media/image508.png"/><Relationship Id="rId113" Type="http://schemas.openxmlformats.org/officeDocument/2006/relationships/image" Target="../media/image530.png"/><Relationship Id="rId134" Type="http://schemas.openxmlformats.org/officeDocument/2006/relationships/customXml" Target="../ink/ink540.xml"/><Relationship Id="rId80" Type="http://schemas.openxmlformats.org/officeDocument/2006/relationships/customXml" Target="../ink/ink513.xml"/><Relationship Id="rId155" Type="http://schemas.openxmlformats.org/officeDocument/2006/relationships/image" Target="../media/image551.png"/><Relationship Id="rId176" Type="http://schemas.openxmlformats.org/officeDocument/2006/relationships/customXml" Target="../ink/ink561.xml"/><Relationship Id="rId17" Type="http://schemas.openxmlformats.org/officeDocument/2006/relationships/image" Target="../media/image482.png"/><Relationship Id="rId38" Type="http://schemas.openxmlformats.org/officeDocument/2006/relationships/customXml" Target="../ink/ink492.xml"/><Relationship Id="rId59" Type="http://schemas.openxmlformats.org/officeDocument/2006/relationships/image" Target="../media/image503.png"/><Relationship Id="rId103" Type="http://schemas.openxmlformats.org/officeDocument/2006/relationships/image" Target="../media/image525.png"/><Relationship Id="rId124" Type="http://schemas.openxmlformats.org/officeDocument/2006/relationships/customXml" Target="../ink/ink535.xml"/><Relationship Id="rId70" Type="http://schemas.openxmlformats.org/officeDocument/2006/relationships/customXml" Target="../ink/ink508.xml"/><Relationship Id="rId91" Type="http://schemas.openxmlformats.org/officeDocument/2006/relationships/image" Target="../media/image519.png"/><Relationship Id="rId145" Type="http://schemas.openxmlformats.org/officeDocument/2006/relationships/image" Target="../media/image546.png"/><Relationship Id="rId166" Type="http://schemas.openxmlformats.org/officeDocument/2006/relationships/customXml" Target="../ink/ink556.xml"/><Relationship Id="rId187" Type="http://schemas.openxmlformats.org/officeDocument/2006/relationships/image" Target="../media/image567.png"/><Relationship Id="rId1" Type="http://schemas.openxmlformats.org/officeDocument/2006/relationships/slideLayout" Target="../slideLayouts/slideLayout2.xml"/><Relationship Id="rId28" Type="http://schemas.openxmlformats.org/officeDocument/2006/relationships/customXml" Target="../ink/ink487.xml"/><Relationship Id="rId49" Type="http://schemas.openxmlformats.org/officeDocument/2006/relationships/image" Target="../media/image498.png"/><Relationship Id="rId114" Type="http://schemas.openxmlformats.org/officeDocument/2006/relationships/customXml" Target="../ink/ink530.xml"/><Relationship Id="rId60" Type="http://schemas.openxmlformats.org/officeDocument/2006/relationships/customXml" Target="../ink/ink503.xml"/><Relationship Id="rId81" Type="http://schemas.openxmlformats.org/officeDocument/2006/relationships/image" Target="../media/image514.png"/><Relationship Id="rId135" Type="http://schemas.openxmlformats.org/officeDocument/2006/relationships/image" Target="../media/image541.png"/><Relationship Id="rId156" Type="http://schemas.openxmlformats.org/officeDocument/2006/relationships/customXml" Target="../ink/ink551.xml"/><Relationship Id="rId177" Type="http://schemas.openxmlformats.org/officeDocument/2006/relationships/image" Target="../media/image562.png"/><Relationship Id="rId18" Type="http://schemas.openxmlformats.org/officeDocument/2006/relationships/customXml" Target="../ink/ink482.xml"/><Relationship Id="rId39" Type="http://schemas.openxmlformats.org/officeDocument/2006/relationships/image" Target="../media/image493.png"/></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571.png"/><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13" Type="http://schemas.openxmlformats.org/officeDocument/2006/relationships/image" Target="../media/image577.png"/><Relationship Id="rId18" Type="http://schemas.openxmlformats.org/officeDocument/2006/relationships/customXml" Target="../ink/ink577.xml"/><Relationship Id="rId26" Type="http://schemas.openxmlformats.org/officeDocument/2006/relationships/customXml" Target="../ink/ink581.xml"/><Relationship Id="rId39" Type="http://schemas.openxmlformats.org/officeDocument/2006/relationships/image" Target="../media/image590.png"/><Relationship Id="rId21" Type="http://schemas.openxmlformats.org/officeDocument/2006/relationships/image" Target="../media/image581.png"/><Relationship Id="rId34" Type="http://schemas.openxmlformats.org/officeDocument/2006/relationships/customXml" Target="../ink/ink585.xml"/><Relationship Id="rId42" Type="http://schemas.openxmlformats.org/officeDocument/2006/relationships/customXml" Target="../ink/ink589.xml"/><Relationship Id="rId7" Type="http://schemas.openxmlformats.org/officeDocument/2006/relationships/image" Target="../media/image574.png"/><Relationship Id="rId2" Type="http://schemas.openxmlformats.org/officeDocument/2006/relationships/notesSlide" Target="../notesSlides/notesSlide17.xml"/><Relationship Id="rId16" Type="http://schemas.openxmlformats.org/officeDocument/2006/relationships/customXml" Target="../ink/ink576.xml"/><Relationship Id="rId29" Type="http://schemas.openxmlformats.org/officeDocument/2006/relationships/image" Target="../media/image585.png"/><Relationship Id="rId1" Type="http://schemas.openxmlformats.org/officeDocument/2006/relationships/slideLayout" Target="../slideLayouts/slideLayout2.xml"/><Relationship Id="rId6" Type="http://schemas.openxmlformats.org/officeDocument/2006/relationships/customXml" Target="../ink/ink571.xml"/><Relationship Id="rId11" Type="http://schemas.openxmlformats.org/officeDocument/2006/relationships/image" Target="../media/image576.png"/><Relationship Id="rId24" Type="http://schemas.openxmlformats.org/officeDocument/2006/relationships/customXml" Target="../ink/ink580.xml"/><Relationship Id="rId32" Type="http://schemas.openxmlformats.org/officeDocument/2006/relationships/customXml" Target="../ink/ink584.xml"/><Relationship Id="rId37" Type="http://schemas.openxmlformats.org/officeDocument/2006/relationships/image" Target="../media/image589.png"/><Relationship Id="rId40" Type="http://schemas.openxmlformats.org/officeDocument/2006/relationships/customXml" Target="../ink/ink588.xml"/><Relationship Id="rId45" Type="http://schemas.openxmlformats.org/officeDocument/2006/relationships/image" Target="../media/image593.png"/><Relationship Id="rId5" Type="http://schemas.openxmlformats.org/officeDocument/2006/relationships/image" Target="../media/image573.png"/><Relationship Id="rId15" Type="http://schemas.openxmlformats.org/officeDocument/2006/relationships/image" Target="../media/image578.png"/><Relationship Id="rId23" Type="http://schemas.openxmlformats.org/officeDocument/2006/relationships/image" Target="../media/image582.png"/><Relationship Id="rId28" Type="http://schemas.openxmlformats.org/officeDocument/2006/relationships/customXml" Target="../ink/ink582.xml"/><Relationship Id="rId36" Type="http://schemas.openxmlformats.org/officeDocument/2006/relationships/customXml" Target="../ink/ink586.xml"/><Relationship Id="rId10" Type="http://schemas.openxmlformats.org/officeDocument/2006/relationships/customXml" Target="../ink/ink573.xml"/><Relationship Id="rId19" Type="http://schemas.openxmlformats.org/officeDocument/2006/relationships/image" Target="../media/image580.png"/><Relationship Id="rId31" Type="http://schemas.openxmlformats.org/officeDocument/2006/relationships/image" Target="../media/image586.png"/><Relationship Id="rId44" Type="http://schemas.openxmlformats.org/officeDocument/2006/relationships/customXml" Target="../ink/ink590.xml"/><Relationship Id="rId4" Type="http://schemas.openxmlformats.org/officeDocument/2006/relationships/customXml" Target="../ink/ink570.xml"/><Relationship Id="rId9" Type="http://schemas.openxmlformats.org/officeDocument/2006/relationships/image" Target="../media/image575.png"/><Relationship Id="rId14" Type="http://schemas.openxmlformats.org/officeDocument/2006/relationships/customXml" Target="../ink/ink575.xml"/><Relationship Id="rId22" Type="http://schemas.openxmlformats.org/officeDocument/2006/relationships/customXml" Target="../ink/ink579.xml"/><Relationship Id="rId27" Type="http://schemas.openxmlformats.org/officeDocument/2006/relationships/image" Target="../media/image584.png"/><Relationship Id="rId30" Type="http://schemas.openxmlformats.org/officeDocument/2006/relationships/customXml" Target="../ink/ink583.xml"/><Relationship Id="rId35" Type="http://schemas.openxmlformats.org/officeDocument/2006/relationships/image" Target="../media/image588.png"/><Relationship Id="rId43" Type="http://schemas.openxmlformats.org/officeDocument/2006/relationships/image" Target="../media/image592.png"/><Relationship Id="rId8" Type="http://schemas.openxmlformats.org/officeDocument/2006/relationships/customXml" Target="../ink/ink572.xml"/><Relationship Id="rId3" Type="http://schemas.openxmlformats.org/officeDocument/2006/relationships/image" Target="../media/image572.png"/><Relationship Id="rId12" Type="http://schemas.openxmlformats.org/officeDocument/2006/relationships/customXml" Target="../ink/ink574.xml"/><Relationship Id="rId17" Type="http://schemas.openxmlformats.org/officeDocument/2006/relationships/image" Target="../media/image579.png"/><Relationship Id="rId25" Type="http://schemas.openxmlformats.org/officeDocument/2006/relationships/image" Target="../media/image583.png"/><Relationship Id="rId33" Type="http://schemas.openxmlformats.org/officeDocument/2006/relationships/image" Target="../media/image587.png"/><Relationship Id="rId38" Type="http://schemas.openxmlformats.org/officeDocument/2006/relationships/customXml" Target="../ink/ink587.xml"/><Relationship Id="rId20" Type="http://schemas.openxmlformats.org/officeDocument/2006/relationships/customXml" Target="../ink/ink578.xml"/><Relationship Id="rId41" Type="http://schemas.openxmlformats.org/officeDocument/2006/relationships/image" Target="../media/image591.png"/></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image" Target="../media/image594.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595.jp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596.jp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597.png"/></Relationships>
</file>

<file path=ppt/slides/_rels/slide23.xml.rels><?xml version="1.0" encoding="UTF-8" standalone="yes"?>
<Relationships xmlns="http://schemas.openxmlformats.org/package/2006/relationships"><Relationship Id="rId3" Type="http://schemas.openxmlformats.org/officeDocument/2006/relationships/image" Target="../media/image598.jpg"/><Relationship Id="rId2" Type="http://schemas.openxmlformats.org/officeDocument/2006/relationships/notesSlide" Target="../notesSlides/notesSlide21.xml"/><Relationship Id="rId1" Type="http://schemas.openxmlformats.org/officeDocument/2006/relationships/slideLayout" Target="../slideLayouts/slideLayout15.xml"/><Relationship Id="rId4" Type="http://schemas.openxmlformats.org/officeDocument/2006/relationships/image" Target="../media/image599.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17" Type="http://schemas.openxmlformats.org/officeDocument/2006/relationships/customXml" Target="../ink/ink58.xml"/><Relationship Id="rId21" Type="http://schemas.openxmlformats.org/officeDocument/2006/relationships/customXml" Target="../ink/ink10.xml"/><Relationship Id="rId42" Type="http://schemas.openxmlformats.org/officeDocument/2006/relationships/image" Target="../media/image22.png"/><Relationship Id="rId63" Type="http://schemas.openxmlformats.org/officeDocument/2006/relationships/customXml" Target="../ink/ink31.xml"/><Relationship Id="rId84" Type="http://schemas.openxmlformats.org/officeDocument/2006/relationships/image" Target="../media/image43.png"/><Relationship Id="rId138" Type="http://schemas.openxmlformats.org/officeDocument/2006/relationships/image" Target="../media/image70.png"/><Relationship Id="rId159" Type="http://schemas.openxmlformats.org/officeDocument/2006/relationships/customXml" Target="../ink/ink79.xml"/><Relationship Id="rId170" Type="http://schemas.openxmlformats.org/officeDocument/2006/relationships/image" Target="../media/image86.png"/><Relationship Id="rId191" Type="http://schemas.openxmlformats.org/officeDocument/2006/relationships/customXml" Target="../ink/ink95.xml"/><Relationship Id="rId205" Type="http://schemas.openxmlformats.org/officeDocument/2006/relationships/customXml" Target="../ink/ink102.xml"/><Relationship Id="rId226" Type="http://schemas.openxmlformats.org/officeDocument/2006/relationships/image" Target="../media/image114.png"/><Relationship Id="rId107" Type="http://schemas.openxmlformats.org/officeDocument/2006/relationships/customXml" Target="../ink/ink53.xml"/><Relationship Id="rId11" Type="http://schemas.openxmlformats.org/officeDocument/2006/relationships/customXml" Target="../ink/ink5.xml"/><Relationship Id="rId32" Type="http://schemas.openxmlformats.org/officeDocument/2006/relationships/image" Target="../media/image17.png"/><Relationship Id="rId53" Type="http://schemas.openxmlformats.org/officeDocument/2006/relationships/customXml" Target="../ink/ink26.xml"/><Relationship Id="rId74" Type="http://schemas.openxmlformats.org/officeDocument/2006/relationships/image" Target="../media/image38.png"/><Relationship Id="rId128" Type="http://schemas.openxmlformats.org/officeDocument/2006/relationships/image" Target="../media/image65.png"/><Relationship Id="rId149" Type="http://schemas.openxmlformats.org/officeDocument/2006/relationships/customXml" Target="../ink/ink74.xml"/><Relationship Id="rId5" Type="http://schemas.openxmlformats.org/officeDocument/2006/relationships/customXml" Target="../ink/ink2.xml"/><Relationship Id="rId95" Type="http://schemas.openxmlformats.org/officeDocument/2006/relationships/customXml" Target="../ink/ink47.xml"/><Relationship Id="rId160" Type="http://schemas.openxmlformats.org/officeDocument/2006/relationships/image" Target="../media/image81.png"/><Relationship Id="rId181" Type="http://schemas.openxmlformats.org/officeDocument/2006/relationships/customXml" Target="../ink/ink90.xml"/><Relationship Id="rId216" Type="http://schemas.openxmlformats.org/officeDocument/2006/relationships/image" Target="../media/image109.png"/><Relationship Id="rId22" Type="http://schemas.openxmlformats.org/officeDocument/2006/relationships/image" Target="../media/image12.png"/><Relationship Id="rId43" Type="http://schemas.openxmlformats.org/officeDocument/2006/relationships/customXml" Target="../ink/ink21.xml"/><Relationship Id="rId64" Type="http://schemas.openxmlformats.org/officeDocument/2006/relationships/image" Target="../media/image33.png"/><Relationship Id="rId118" Type="http://schemas.openxmlformats.org/officeDocument/2006/relationships/image" Target="../media/image60.png"/><Relationship Id="rId139" Type="http://schemas.openxmlformats.org/officeDocument/2006/relationships/customXml" Target="../ink/ink69.xml"/><Relationship Id="rId85" Type="http://schemas.openxmlformats.org/officeDocument/2006/relationships/customXml" Target="../ink/ink42.xml"/><Relationship Id="rId150" Type="http://schemas.openxmlformats.org/officeDocument/2006/relationships/image" Target="../media/image76.png"/><Relationship Id="rId171" Type="http://schemas.openxmlformats.org/officeDocument/2006/relationships/customXml" Target="../ink/ink85.xml"/><Relationship Id="rId192" Type="http://schemas.openxmlformats.org/officeDocument/2006/relationships/image" Target="../media/image97.png"/><Relationship Id="rId206" Type="http://schemas.openxmlformats.org/officeDocument/2006/relationships/image" Target="../media/image104.png"/><Relationship Id="rId227" Type="http://schemas.openxmlformats.org/officeDocument/2006/relationships/customXml" Target="../ink/ink113.xml"/><Relationship Id="rId12" Type="http://schemas.openxmlformats.org/officeDocument/2006/relationships/image" Target="../media/image7.png"/><Relationship Id="rId33" Type="http://schemas.openxmlformats.org/officeDocument/2006/relationships/customXml" Target="../ink/ink16.xml"/><Relationship Id="rId108" Type="http://schemas.openxmlformats.org/officeDocument/2006/relationships/image" Target="../media/image55.png"/><Relationship Id="rId129" Type="http://schemas.openxmlformats.org/officeDocument/2006/relationships/customXml" Target="../ink/ink64.xml"/><Relationship Id="rId54" Type="http://schemas.openxmlformats.org/officeDocument/2006/relationships/image" Target="../media/image28.png"/><Relationship Id="rId75" Type="http://schemas.openxmlformats.org/officeDocument/2006/relationships/customXml" Target="../ink/ink37.xml"/><Relationship Id="rId96" Type="http://schemas.openxmlformats.org/officeDocument/2006/relationships/image" Target="../media/image49.png"/><Relationship Id="rId140" Type="http://schemas.openxmlformats.org/officeDocument/2006/relationships/image" Target="../media/image71.png"/><Relationship Id="rId161" Type="http://schemas.openxmlformats.org/officeDocument/2006/relationships/customXml" Target="../ink/ink80.xml"/><Relationship Id="rId182" Type="http://schemas.openxmlformats.org/officeDocument/2006/relationships/image" Target="../media/image92.png"/><Relationship Id="rId217" Type="http://schemas.openxmlformats.org/officeDocument/2006/relationships/customXml" Target="../ink/ink108.xml"/><Relationship Id="rId6" Type="http://schemas.openxmlformats.org/officeDocument/2006/relationships/image" Target="../media/image4.png"/><Relationship Id="rId23" Type="http://schemas.openxmlformats.org/officeDocument/2006/relationships/customXml" Target="../ink/ink11.xml"/><Relationship Id="rId119" Type="http://schemas.openxmlformats.org/officeDocument/2006/relationships/customXml" Target="../ink/ink59.xml"/><Relationship Id="rId44" Type="http://schemas.openxmlformats.org/officeDocument/2006/relationships/image" Target="../media/image23.png"/><Relationship Id="rId65" Type="http://schemas.openxmlformats.org/officeDocument/2006/relationships/customXml" Target="../ink/ink32.xml"/><Relationship Id="rId86" Type="http://schemas.openxmlformats.org/officeDocument/2006/relationships/image" Target="../media/image44.png"/><Relationship Id="rId130" Type="http://schemas.openxmlformats.org/officeDocument/2006/relationships/image" Target="../media/image66.png"/><Relationship Id="rId151" Type="http://schemas.openxmlformats.org/officeDocument/2006/relationships/customXml" Target="../ink/ink75.xml"/><Relationship Id="rId172" Type="http://schemas.openxmlformats.org/officeDocument/2006/relationships/image" Target="../media/image87.png"/><Relationship Id="rId193" Type="http://schemas.openxmlformats.org/officeDocument/2006/relationships/customXml" Target="../ink/ink96.xml"/><Relationship Id="rId207" Type="http://schemas.openxmlformats.org/officeDocument/2006/relationships/customXml" Target="../ink/ink103.xml"/><Relationship Id="rId228" Type="http://schemas.openxmlformats.org/officeDocument/2006/relationships/image" Target="../media/image115.png"/><Relationship Id="rId13" Type="http://schemas.openxmlformats.org/officeDocument/2006/relationships/customXml" Target="../ink/ink6.xml"/><Relationship Id="rId109" Type="http://schemas.openxmlformats.org/officeDocument/2006/relationships/customXml" Target="../ink/ink54.xml"/><Relationship Id="rId34" Type="http://schemas.openxmlformats.org/officeDocument/2006/relationships/image" Target="../media/image18.png"/><Relationship Id="rId55" Type="http://schemas.openxmlformats.org/officeDocument/2006/relationships/customXml" Target="../ink/ink27.xml"/><Relationship Id="rId76" Type="http://schemas.openxmlformats.org/officeDocument/2006/relationships/image" Target="../media/image39.png"/><Relationship Id="rId97" Type="http://schemas.openxmlformats.org/officeDocument/2006/relationships/customXml" Target="../ink/ink48.xml"/><Relationship Id="rId120" Type="http://schemas.openxmlformats.org/officeDocument/2006/relationships/image" Target="../media/image61.png"/><Relationship Id="rId141" Type="http://schemas.openxmlformats.org/officeDocument/2006/relationships/customXml" Target="../ink/ink70.xml"/><Relationship Id="rId7" Type="http://schemas.openxmlformats.org/officeDocument/2006/relationships/customXml" Target="../ink/ink3.xml"/><Relationship Id="rId162" Type="http://schemas.openxmlformats.org/officeDocument/2006/relationships/image" Target="../media/image82.png"/><Relationship Id="rId183" Type="http://schemas.openxmlformats.org/officeDocument/2006/relationships/customXml" Target="../ink/ink91.xml"/><Relationship Id="rId218" Type="http://schemas.openxmlformats.org/officeDocument/2006/relationships/image" Target="../media/image110.png"/><Relationship Id="rId24" Type="http://schemas.openxmlformats.org/officeDocument/2006/relationships/image" Target="../media/image13.png"/><Relationship Id="rId45" Type="http://schemas.openxmlformats.org/officeDocument/2006/relationships/customXml" Target="../ink/ink22.xml"/><Relationship Id="rId66" Type="http://schemas.openxmlformats.org/officeDocument/2006/relationships/image" Target="../media/image34.png"/><Relationship Id="rId87" Type="http://schemas.openxmlformats.org/officeDocument/2006/relationships/customXml" Target="../ink/ink43.xml"/><Relationship Id="rId110" Type="http://schemas.openxmlformats.org/officeDocument/2006/relationships/image" Target="../media/image56.png"/><Relationship Id="rId131" Type="http://schemas.openxmlformats.org/officeDocument/2006/relationships/customXml" Target="../ink/ink65.xml"/><Relationship Id="rId152" Type="http://schemas.openxmlformats.org/officeDocument/2006/relationships/image" Target="../media/image77.png"/><Relationship Id="rId173" Type="http://schemas.openxmlformats.org/officeDocument/2006/relationships/customXml" Target="../ink/ink86.xml"/><Relationship Id="rId194" Type="http://schemas.openxmlformats.org/officeDocument/2006/relationships/image" Target="../media/image98.png"/><Relationship Id="rId208" Type="http://schemas.openxmlformats.org/officeDocument/2006/relationships/image" Target="../media/image105.png"/><Relationship Id="rId229" Type="http://schemas.openxmlformats.org/officeDocument/2006/relationships/customXml" Target="../ink/ink114.xml"/><Relationship Id="rId14" Type="http://schemas.openxmlformats.org/officeDocument/2006/relationships/image" Target="../media/image8.png"/><Relationship Id="rId35" Type="http://schemas.openxmlformats.org/officeDocument/2006/relationships/customXml" Target="../ink/ink17.xml"/><Relationship Id="rId56" Type="http://schemas.openxmlformats.org/officeDocument/2006/relationships/image" Target="../media/image29.png"/><Relationship Id="rId77" Type="http://schemas.openxmlformats.org/officeDocument/2006/relationships/customXml" Target="../ink/ink38.xml"/><Relationship Id="rId100" Type="http://schemas.openxmlformats.org/officeDocument/2006/relationships/image" Target="../media/image51.png"/><Relationship Id="rId8" Type="http://schemas.openxmlformats.org/officeDocument/2006/relationships/image" Target="../media/image5.png"/><Relationship Id="rId98" Type="http://schemas.openxmlformats.org/officeDocument/2006/relationships/image" Target="../media/image50.png"/><Relationship Id="rId121" Type="http://schemas.openxmlformats.org/officeDocument/2006/relationships/customXml" Target="../ink/ink60.xml"/><Relationship Id="rId142" Type="http://schemas.openxmlformats.org/officeDocument/2006/relationships/image" Target="../media/image72.png"/><Relationship Id="rId163" Type="http://schemas.openxmlformats.org/officeDocument/2006/relationships/customXml" Target="../ink/ink81.xml"/><Relationship Id="rId184" Type="http://schemas.openxmlformats.org/officeDocument/2006/relationships/image" Target="../media/image93.png"/><Relationship Id="rId219" Type="http://schemas.openxmlformats.org/officeDocument/2006/relationships/customXml" Target="../ink/ink109.xml"/><Relationship Id="rId230" Type="http://schemas.openxmlformats.org/officeDocument/2006/relationships/image" Target="../media/image116.png"/><Relationship Id="rId25" Type="http://schemas.openxmlformats.org/officeDocument/2006/relationships/customXml" Target="../ink/ink12.xml"/><Relationship Id="rId46" Type="http://schemas.openxmlformats.org/officeDocument/2006/relationships/image" Target="../media/image24.png"/><Relationship Id="rId67" Type="http://schemas.openxmlformats.org/officeDocument/2006/relationships/customXml" Target="../ink/ink33.xml"/><Relationship Id="rId20" Type="http://schemas.openxmlformats.org/officeDocument/2006/relationships/image" Target="../media/image11.png"/><Relationship Id="rId41" Type="http://schemas.openxmlformats.org/officeDocument/2006/relationships/customXml" Target="../ink/ink20.xml"/><Relationship Id="rId62" Type="http://schemas.openxmlformats.org/officeDocument/2006/relationships/image" Target="../media/image32.png"/><Relationship Id="rId83" Type="http://schemas.openxmlformats.org/officeDocument/2006/relationships/customXml" Target="../ink/ink41.xml"/><Relationship Id="rId88" Type="http://schemas.openxmlformats.org/officeDocument/2006/relationships/image" Target="../media/image45.png"/><Relationship Id="rId111" Type="http://schemas.openxmlformats.org/officeDocument/2006/relationships/customXml" Target="../ink/ink55.xml"/><Relationship Id="rId132" Type="http://schemas.openxmlformats.org/officeDocument/2006/relationships/image" Target="../media/image67.png"/><Relationship Id="rId153" Type="http://schemas.openxmlformats.org/officeDocument/2006/relationships/customXml" Target="../ink/ink76.xml"/><Relationship Id="rId174" Type="http://schemas.openxmlformats.org/officeDocument/2006/relationships/image" Target="../media/image88.png"/><Relationship Id="rId179" Type="http://schemas.openxmlformats.org/officeDocument/2006/relationships/customXml" Target="../ink/ink89.xml"/><Relationship Id="rId195" Type="http://schemas.openxmlformats.org/officeDocument/2006/relationships/customXml" Target="../ink/ink97.xml"/><Relationship Id="rId209" Type="http://schemas.openxmlformats.org/officeDocument/2006/relationships/customXml" Target="../ink/ink104.xml"/><Relationship Id="rId190" Type="http://schemas.openxmlformats.org/officeDocument/2006/relationships/image" Target="../media/image96.png"/><Relationship Id="rId204" Type="http://schemas.openxmlformats.org/officeDocument/2006/relationships/image" Target="../media/image103.png"/><Relationship Id="rId220" Type="http://schemas.openxmlformats.org/officeDocument/2006/relationships/image" Target="../media/image111.png"/><Relationship Id="rId225" Type="http://schemas.openxmlformats.org/officeDocument/2006/relationships/customXml" Target="../ink/ink112.xml"/><Relationship Id="rId15" Type="http://schemas.openxmlformats.org/officeDocument/2006/relationships/customXml" Target="../ink/ink7.xml"/><Relationship Id="rId36" Type="http://schemas.openxmlformats.org/officeDocument/2006/relationships/image" Target="../media/image19.png"/><Relationship Id="rId57" Type="http://schemas.openxmlformats.org/officeDocument/2006/relationships/customXml" Target="../ink/ink28.xml"/><Relationship Id="rId106" Type="http://schemas.openxmlformats.org/officeDocument/2006/relationships/image" Target="../media/image54.png"/><Relationship Id="rId127" Type="http://schemas.openxmlformats.org/officeDocument/2006/relationships/customXml" Target="../ink/ink63.xml"/><Relationship Id="rId10" Type="http://schemas.openxmlformats.org/officeDocument/2006/relationships/image" Target="../media/image6.png"/><Relationship Id="rId31" Type="http://schemas.openxmlformats.org/officeDocument/2006/relationships/customXml" Target="../ink/ink15.xml"/><Relationship Id="rId52" Type="http://schemas.openxmlformats.org/officeDocument/2006/relationships/image" Target="../media/image27.png"/><Relationship Id="rId73" Type="http://schemas.openxmlformats.org/officeDocument/2006/relationships/customXml" Target="../ink/ink36.xml"/><Relationship Id="rId78" Type="http://schemas.openxmlformats.org/officeDocument/2006/relationships/image" Target="../media/image40.png"/><Relationship Id="rId94" Type="http://schemas.openxmlformats.org/officeDocument/2006/relationships/image" Target="../media/image48.png"/><Relationship Id="rId99" Type="http://schemas.openxmlformats.org/officeDocument/2006/relationships/customXml" Target="../ink/ink49.xml"/><Relationship Id="rId101" Type="http://schemas.openxmlformats.org/officeDocument/2006/relationships/customXml" Target="../ink/ink50.xml"/><Relationship Id="rId122" Type="http://schemas.openxmlformats.org/officeDocument/2006/relationships/image" Target="../media/image62.png"/><Relationship Id="rId143" Type="http://schemas.openxmlformats.org/officeDocument/2006/relationships/customXml" Target="../ink/ink71.xml"/><Relationship Id="rId148" Type="http://schemas.openxmlformats.org/officeDocument/2006/relationships/image" Target="../media/image75.png"/><Relationship Id="rId164" Type="http://schemas.openxmlformats.org/officeDocument/2006/relationships/image" Target="../media/image83.png"/><Relationship Id="rId169" Type="http://schemas.openxmlformats.org/officeDocument/2006/relationships/customXml" Target="../ink/ink84.xml"/><Relationship Id="rId185" Type="http://schemas.openxmlformats.org/officeDocument/2006/relationships/customXml" Target="../ink/ink92.xml"/><Relationship Id="rId4" Type="http://schemas.openxmlformats.org/officeDocument/2006/relationships/image" Target="../media/image3.png"/><Relationship Id="rId9" Type="http://schemas.openxmlformats.org/officeDocument/2006/relationships/customXml" Target="../ink/ink4.xml"/><Relationship Id="rId180" Type="http://schemas.openxmlformats.org/officeDocument/2006/relationships/image" Target="../media/image91.png"/><Relationship Id="rId210" Type="http://schemas.openxmlformats.org/officeDocument/2006/relationships/image" Target="../media/image106.png"/><Relationship Id="rId215" Type="http://schemas.openxmlformats.org/officeDocument/2006/relationships/customXml" Target="../ink/ink107.xml"/><Relationship Id="rId236" Type="http://schemas.openxmlformats.org/officeDocument/2006/relationships/image" Target="../media/image119.png"/><Relationship Id="rId26" Type="http://schemas.openxmlformats.org/officeDocument/2006/relationships/image" Target="../media/image14.png"/><Relationship Id="rId231" Type="http://schemas.openxmlformats.org/officeDocument/2006/relationships/customXml" Target="../ink/ink115.xml"/><Relationship Id="rId47" Type="http://schemas.openxmlformats.org/officeDocument/2006/relationships/customXml" Target="../ink/ink23.xml"/><Relationship Id="rId68" Type="http://schemas.openxmlformats.org/officeDocument/2006/relationships/image" Target="../media/image35.png"/><Relationship Id="rId89" Type="http://schemas.openxmlformats.org/officeDocument/2006/relationships/customXml" Target="../ink/ink44.xml"/><Relationship Id="rId112" Type="http://schemas.openxmlformats.org/officeDocument/2006/relationships/image" Target="../media/image57.png"/><Relationship Id="rId133" Type="http://schemas.openxmlformats.org/officeDocument/2006/relationships/customXml" Target="../ink/ink66.xml"/><Relationship Id="rId154" Type="http://schemas.openxmlformats.org/officeDocument/2006/relationships/image" Target="../media/image78.png"/><Relationship Id="rId175" Type="http://schemas.openxmlformats.org/officeDocument/2006/relationships/customXml" Target="../ink/ink87.xml"/><Relationship Id="rId196" Type="http://schemas.openxmlformats.org/officeDocument/2006/relationships/image" Target="../media/image99.png"/><Relationship Id="rId200" Type="http://schemas.openxmlformats.org/officeDocument/2006/relationships/image" Target="../media/image101.png"/><Relationship Id="rId16" Type="http://schemas.openxmlformats.org/officeDocument/2006/relationships/image" Target="../media/image9.png"/><Relationship Id="rId221" Type="http://schemas.openxmlformats.org/officeDocument/2006/relationships/customXml" Target="../ink/ink110.xml"/><Relationship Id="rId37" Type="http://schemas.openxmlformats.org/officeDocument/2006/relationships/customXml" Target="../ink/ink18.xml"/><Relationship Id="rId58" Type="http://schemas.openxmlformats.org/officeDocument/2006/relationships/image" Target="../media/image30.png"/><Relationship Id="rId79" Type="http://schemas.openxmlformats.org/officeDocument/2006/relationships/customXml" Target="../ink/ink39.xml"/><Relationship Id="rId102" Type="http://schemas.openxmlformats.org/officeDocument/2006/relationships/image" Target="../media/image52.png"/><Relationship Id="rId123" Type="http://schemas.openxmlformats.org/officeDocument/2006/relationships/customXml" Target="../ink/ink61.xml"/><Relationship Id="rId144" Type="http://schemas.openxmlformats.org/officeDocument/2006/relationships/image" Target="../media/image73.png"/><Relationship Id="rId90" Type="http://schemas.openxmlformats.org/officeDocument/2006/relationships/image" Target="../media/image46.png"/><Relationship Id="rId165" Type="http://schemas.openxmlformats.org/officeDocument/2006/relationships/customXml" Target="../ink/ink82.xml"/><Relationship Id="rId186" Type="http://schemas.openxmlformats.org/officeDocument/2006/relationships/image" Target="../media/image94.png"/><Relationship Id="rId211" Type="http://schemas.openxmlformats.org/officeDocument/2006/relationships/customXml" Target="../ink/ink105.xml"/><Relationship Id="rId232" Type="http://schemas.openxmlformats.org/officeDocument/2006/relationships/image" Target="../media/image117.png"/><Relationship Id="rId27" Type="http://schemas.openxmlformats.org/officeDocument/2006/relationships/customXml" Target="../ink/ink13.xml"/><Relationship Id="rId48" Type="http://schemas.openxmlformats.org/officeDocument/2006/relationships/image" Target="../media/image25.png"/><Relationship Id="rId69" Type="http://schemas.openxmlformats.org/officeDocument/2006/relationships/customXml" Target="../ink/ink34.xml"/><Relationship Id="rId113" Type="http://schemas.openxmlformats.org/officeDocument/2006/relationships/customXml" Target="../ink/ink56.xml"/><Relationship Id="rId134" Type="http://schemas.openxmlformats.org/officeDocument/2006/relationships/image" Target="../media/image68.png"/><Relationship Id="rId80" Type="http://schemas.openxmlformats.org/officeDocument/2006/relationships/image" Target="../media/image41.png"/><Relationship Id="rId155" Type="http://schemas.openxmlformats.org/officeDocument/2006/relationships/customXml" Target="../ink/ink77.xml"/><Relationship Id="rId176" Type="http://schemas.openxmlformats.org/officeDocument/2006/relationships/image" Target="../media/image89.png"/><Relationship Id="rId197" Type="http://schemas.openxmlformats.org/officeDocument/2006/relationships/customXml" Target="../ink/ink98.xml"/><Relationship Id="rId201" Type="http://schemas.openxmlformats.org/officeDocument/2006/relationships/customXml" Target="../ink/ink100.xml"/><Relationship Id="rId222" Type="http://schemas.openxmlformats.org/officeDocument/2006/relationships/image" Target="../media/image112.png"/><Relationship Id="rId17" Type="http://schemas.openxmlformats.org/officeDocument/2006/relationships/customXml" Target="../ink/ink8.xml"/><Relationship Id="rId38" Type="http://schemas.openxmlformats.org/officeDocument/2006/relationships/image" Target="../media/image20.png"/><Relationship Id="rId59" Type="http://schemas.openxmlformats.org/officeDocument/2006/relationships/customXml" Target="../ink/ink29.xml"/><Relationship Id="rId103" Type="http://schemas.openxmlformats.org/officeDocument/2006/relationships/customXml" Target="../ink/ink51.xml"/><Relationship Id="rId124" Type="http://schemas.openxmlformats.org/officeDocument/2006/relationships/image" Target="../media/image63.png"/><Relationship Id="rId70" Type="http://schemas.openxmlformats.org/officeDocument/2006/relationships/image" Target="../media/image36.png"/><Relationship Id="rId91" Type="http://schemas.openxmlformats.org/officeDocument/2006/relationships/customXml" Target="../ink/ink45.xml"/><Relationship Id="rId145" Type="http://schemas.openxmlformats.org/officeDocument/2006/relationships/customXml" Target="../ink/ink72.xml"/><Relationship Id="rId166" Type="http://schemas.openxmlformats.org/officeDocument/2006/relationships/image" Target="../media/image84.png"/><Relationship Id="rId187" Type="http://schemas.openxmlformats.org/officeDocument/2006/relationships/customXml" Target="../ink/ink93.xml"/><Relationship Id="rId1" Type="http://schemas.openxmlformats.org/officeDocument/2006/relationships/slideLayout" Target="../slideLayouts/slideLayout2.xml"/><Relationship Id="rId212" Type="http://schemas.openxmlformats.org/officeDocument/2006/relationships/image" Target="../media/image107.png"/><Relationship Id="rId233" Type="http://schemas.openxmlformats.org/officeDocument/2006/relationships/customXml" Target="../ink/ink116.xml"/><Relationship Id="rId28" Type="http://schemas.openxmlformats.org/officeDocument/2006/relationships/image" Target="../media/image15.png"/><Relationship Id="rId49" Type="http://schemas.openxmlformats.org/officeDocument/2006/relationships/customXml" Target="../ink/ink24.xml"/><Relationship Id="rId114" Type="http://schemas.openxmlformats.org/officeDocument/2006/relationships/image" Target="../media/image58.png"/><Relationship Id="rId60" Type="http://schemas.openxmlformats.org/officeDocument/2006/relationships/image" Target="../media/image31.png"/><Relationship Id="rId81" Type="http://schemas.openxmlformats.org/officeDocument/2006/relationships/customXml" Target="../ink/ink40.xml"/><Relationship Id="rId135" Type="http://schemas.openxmlformats.org/officeDocument/2006/relationships/customXml" Target="../ink/ink67.xml"/><Relationship Id="rId156" Type="http://schemas.openxmlformats.org/officeDocument/2006/relationships/image" Target="../media/image79.png"/><Relationship Id="rId177" Type="http://schemas.openxmlformats.org/officeDocument/2006/relationships/customXml" Target="../ink/ink88.xml"/><Relationship Id="rId198" Type="http://schemas.openxmlformats.org/officeDocument/2006/relationships/image" Target="../media/image100.png"/><Relationship Id="rId202" Type="http://schemas.openxmlformats.org/officeDocument/2006/relationships/image" Target="../media/image102.png"/><Relationship Id="rId223" Type="http://schemas.openxmlformats.org/officeDocument/2006/relationships/customXml" Target="../ink/ink111.xml"/><Relationship Id="rId18" Type="http://schemas.openxmlformats.org/officeDocument/2006/relationships/image" Target="../media/image10.png"/><Relationship Id="rId39" Type="http://schemas.openxmlformats.org/officeDocument/2006/relationships/customXml" Target="../ink/ink19.xml"/><Relationship Id="rId50" Type="http://schemas.openxmlformats.org/officeDocument/2006/relationships/image" Target="../media/image26.png"/><Relationship Id="rId104" Type="http://schemas.openxmlformats.org/officeDocument/2006/relationships/image" Target="../media/image53.png"/><Relationship Id="rId125" Type="http://schemas.openxmlformats.org/officeDocument/2006/relationships/customXml" Target="../ink/ink62.xml"/><Relationship Id="rId146" Type="http://schemas.openxmlformats.org/officeDocument/2006/relationships/image" Target="../media/image74.png"/><Relationship Id="rId167" Type="http://schemas.openxmlformats.org/officeDocument/2006/relationships/customXml" Target="../ink/ink83.xml"/><Relationship Id="rId188" Type="http://schemas.openxmlformats.org/officeDocument/2006/relationships/image" Target="../media/image95.png"/><Relationship Id="rId71" Type="http://schemas.openxmlformats.org/officeDocument/2006/relationships/customXml" Target="../ink/ink35.xml"/><Relationship Id="rId92" Type="http://schemas.openxmlformats.org/officeDocument/2006/relationships/image" Target="../media/image47.png"/><Relationship Id="rId213" Type="http://schemas.openxmlformats.org/officeDocument/2006/relationships/customXml" Target="../ink/ink106.xml"/><Relationship Id="rId234" Type="http://schemas.openxmlformats.org/officeDocument/2006/relationships/image" Target="../media/image118.png"/><Relationship Id="rId2" Type="http://schemas.openxmlformats.org/officeDocument/2006/relationships/notesSlide" Target="../notesSlides/notesSlide3.xml"/><Relationship Id="rId29" Type="http://schemas.openxmlformats.org/officeDocument/2006/relationships/customXml" Target="../ink/ink14.xml"/><Relationship Id="rId40" Type="http://schemas.openxmlformats.org/officeDocument/2006/relationships/image" Target="../media/image21.png"/><Relationship Id="rId115" Type="http://schemas.openxmlformats.org/officeDocument/2006/relationships/customXml" Target="../ink/ink57.xml"/><Relationship Id="rId136" Type="http://schemas.openxmlformats.org/officeDocument/2006/relationships/image" Target="../media/image69.png"/><Relationship Id="rId157" Type="http://schemas.openxmlformats.org/officeDocument/2006/relationships/customXml" Target="../ink/ink78.xml"/><Relationship Id="rId178" Type="http://schemas.openxmlformats.org/officeDocument/2006/relationships/image" Target="../media/image90.png"/><Relationship Id="rId61" Type="http://schemas.openxmlformats.org/officeDocument/2006/relationships/customXml" Target="../ink/ink30.xml"/><Relationship Id="rId82" Type="http://schemas.openxmlformats.org/officeDocument/2006/relationships/image" Target="../media/image42.png"/><Relationship Id="rId199" Type="http://schemas.openxmlformats.org/officeDocument/2006/relationships/customXml" Target="../ink/ink99.xml"/><Relationship Id="rId203" Type="http://schemas.openxmlformats.org/officeDocument/2006/relationships/customXml" Target="../ink/ink101.xml"/><Relationship Id="rId19" Type="http://schemas.openxmlformats.org/officeDocument/2006/relationships/customXml" Target="../ink/ink9.xml"/><Relationship Id="rId224" Type="http://schemas.openxmlformats.org/officeDocument/2006/relationships/image" Target="../media/image113.png"/><Relationship Id="rId30" Type="http://schemas.openxmlformats.org/officeDocument/2006/relationships/image" Target="../media/image16.png"/><Relationship Id="rId105" Type="http://schemas.openxmlformats.org/officeDocument/2006/relationships/customXml" Target="../ink/ink52.xml"/><Relationship Id="rId126" Type="http://schemas.openxmlformats.org/officeDocument/2006/relationships/image" Target="../media/image64.png"/><Relationship Id="rId147" Type="http://schemas.openxmlformats.org/officeDocument/2006/relationships/customXml" Target="../ink/ink73.xml"/><Relationship Id="rId168" Type="http://schemas.openxmlformats.org/officeDocument/2006/relationships/image" Target="../media/image85.png"/><Relationship Id="rId51" Type="http://schemas.openxmlformats.org/officeDocument/2006/relationships/customXml" Target="../ink/ink25.xml"/><Relationship Id="rId72" Type="http://schemas.openxmlformats.org/officeDocument/2006/relationships/image" Target="../media/image37.png"/><Relationship Id="rId93" Type="http://schemas.openxmlformats.org/officeDocument/2006/relationships/customXml" Target="../ink/ink46.xml"/><Relationship Id="rId189" Type="http://schemas.openxmlformats.org/officeDocument/2006/relationships/customXml" Target="../ink/ink94.xml"/><Relationship Id="rId3" Type="http://schemas.openxmlformats.org/officeDocument/2006/relationships/customXml" Target="../ink/ink1.xml"/><Relationship Id="rId214" Type="http://schemas.openxmlformats.org/officeDocument/2006/relationships/image" Target="../media/image108.png"/><Relationship Id="rId235" Type="http://schemas.openxmlformats.org/officeDocument/2006/relationships/customXml" Target="../ink/ink117.xml"/><Relationship Id="rId116" Type="http://schemas.openxmlformats.org/officeDocument/2006/relationships/image" Target="../media/image59.png"/><Relationship Id="rId137" Type="http://schemas.openxmlformats.org/officeDocument/2006/relationships/customXml" Target="../ink/ink68.xml"/><Relationship Id="rId158" Type="http://schemas.openxmlformats.org/officeDocument/2006/relationships/image" Target="../media/image80.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62"/>
        <p:cNvGrpSpPr/>
        <p:nvPr/>
      </p:nvGrpSpPr>
      <p:grpSpPr>
        <a:xfrm>
          <a:off x="0" y="0"/>
          <a:ext cx="0" cy="0"/>
          <a:chOff x="0" y="0"/>
          <a:chExt cx="0" cy="0"/>
        </a:xfrm>
      </p:grpSpPr>
      <p:sp>
        <p:nvSpPr>
          <p:cNvPr id="63" name="Google Shape;63;p1"/>
          <p:cNvSpPr txBox="1">
            <a:spLocks noGrp="1"/>
          </p:cNvSpPr>
          <p:nvPr>
            <p:ph type="ctrTitle"/>
          </p:nvPr>
        </p:nvSpPr>
        <p:spPr>
          <a:xfrm>
            <a:off x="311708" y="744575"/>
            <a:ext cx="8520600" cy="2052600"/>
          </a:xfrm>
          <a:prstGeom prst="rect">
            <a:avLst/>
          </a:prstGeom>
          <a:noFill/>
          <a:ln>
            <a:noFill/>
          </a:ln>
        </p:spPr>
        <p:txBody>
          <a:bodyPr spcFirstLastPara="1" wrap="square" lIns="91425" tIns="91425" rIns="91425" bIns="91425" anchor="b" anchorCtr="0">
            <a:noAutofit/>
          </a:bodyPr>
          <a:lstStyle/>
          <a:p>
            <a:pPr marL="0" lvl="0" indent="0" algn="ctr" rtl="0">
              <a:lnSpc>
                <a:spcPct val="100000"/>
              </a:lnSpc>
              <a:spcBef>
                <a:spcPts val="0"/>
              </a:spcBef>
              <a:spcAft>
                <a:spcPts val="0"/>
              </a:spcAft>
              <a:buSzPts val="5200"/>
              <a:buNone/>
            </a:pPr>
            <a:r>
              <a:rPr lang="en" dirty="0"/>
              <a:t>Week 5</a:t>
            </a:r>
            <a:endParaRPr dirty="0"/>
          </a:p>
        </p:txBody>
      </p:sp>
      <p:sp>
        <p:nvSpPr>
          <p:cNvPr id="64" name="Google Shape;64;p1"/>
          <p:cNvSpPr txBox="1">
            <a:spLocks noGrp="1"/>
          </p:cNvSpPr>
          <p:nvPr>
            <p:ph type="subTitle" idx="1"/>
          </p:nvPr>
        </p:nvSpPr>
        <p:spPr>
          <a:xfrm>
            <a:off x="311700" y="2834125"/>
            <a:ext cx="8520600" cy="792600"/>
          </a:xfrm>
          <a:prstGeom prst="rect">
            <a:avLst/>
          </a:prstGeom>
          <a:noFill/>
          <a:ln>
            <a:noFill/>
          </a:ln>
        </p:spPr>
        <p:txBody>
          <a:bodyPr spcFirstLastPara="1" wrap="square" lIns="91425" tIns="91425" rIns="91425" bIns="91425" anchor="t" anchorCtr="0">
            <a:noAutofit/>
          </a:bodyPr>
          <a:lstStyle/>
          <a:p>
            <a:pPr marL="0" lvl="0" indent="0" algn="ctr" rtl="0">
              <a:lnSpc>
                <a:spcPct val="100000"/>
              </a:lnSpc>
              <a:spcBef>
                <a:spcPts val="0"/>
              </a:spcBef>
              <a:spcAft>
                <a:spcPts val="0"/>
              </a:spcAft>
              <a:buSzPts val="2800"/>
              <a:buNone/>
            </a:pPr>
            <a:r>
              <a:rPr lang="en"/>
              <a:t>Computer Vision</a:t>
            </a:r>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18"/>
        <p:cNvGrpSpPr/>
        <p:nvPr/>
      </p:nvGrpSpPr>
      <p:grpSpPr>
        <a:xfrm>
          <a:off x="0" y="0"/>
          <a:ext cx="0" cy="0"/>
          <a:chOff x="0" y="0"/>
          <a:chExt cx="0" cy="0"/>
        </a:xfrm>
      </p:grpSpPr>
      <p:sp>
        <p:nvSpPr>
          <p:cNvPr id="119" name="Google Shape;119;p10"/>
          <p:cNvSpPr txBox="1">
            <a:spLocks noGrp="1"/>
          </p:cNvSpPr>
          <p:nvPr>
            <p:ph type="title"/>
          </p:nvPr>
        </p:nvSpPr>
        <p:spPr>
          <a:xfrm>
            <a:off x="311700" y="2285400"/>
            <a:ext cx="8520600" cy="572700"/>
          </a:xfrm>
          <a:prstGeom prst="rect">
            <a:avLst/>
          </a:prstGeom>
          <a:noFill/>
          <a:ln>
            <a:noFill/>
          </a:ln>
        </p:spPr>
        <p:txBody>
          <a:bodyPr spcFirstLastPara="1" wrap="square" lIns="91425" tIns="91425" rIns="91425" bIns="91425" anchor="t" anchorCtr="0">
            <a:noAutofit/>
          </a:bodyPr>
          <a:lstStyle/>
          <a:p>
            <a:pPr marL="0" lvl="0" indent="0" algn="ctr" rtl="0">
              <a:lnSpc>
                <a:spcPct val="100000"/>
              </a:lnSpc>
              <a:spcBef>
                <a:spcPts val="0"/>
              </a:spcBef>
              <a:spcAft>
                <a:spcPts val="0"/>
              </a:spcAft>
              <a:buSzPts val="2800"/>
              <a:buNone/>
            </a:pPr>
            <a:r>
              <a:rPr lang="en" sz="3600" b="1">
                <a:solidFill>
                  <a:srgbClr val="0B5394"/>
                </a:solidFill>
              </a:rPr>
              <a:t>Mobile</a:t>
            </a:r>
            <a:r>
              <a:rPr lang="en" sz="3600">
                <a:solidFill>
                  <a:srgbClr val="3D85C6"/>
                </a:solidFill>
              </a:rPr>
              <a:t>Net</a:t>
            </a:r>
            <a:endParaRPr sz="3600">
              <a:solidFill>
                <a:srgbClr val="3D85C6"/>
              </a:solidFill>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23"/>
        <p:cNvGrpSpPr/>
        <p:nvPr/>
      </p:nvGrpSpPr>
      <p:grpSpPr>
        <a:xfrm>
          <a:off x="0" y="0"/>
          <a:ext cx="0" cy="0"/>
          <a:chOff x="0" y="0"/>
          <a:chExt cx="0" cy="0"/>
        </a:xfrm>
      </p:grpSpPr>
      <p:sp>
        <p:nvSpPr>
          <p:cNvPr id="124" name="Google Shape;124;p1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2800"/>
              <a:buNone/>
            </a:pPr>
            <a:r>
              <a:rPr lang="en"/>
              <a:t>Standard Convolutions</a:t>
            </a:r>
            <a:endParaRPr/>
          </a:p>
        </p:txBody>
      </p:sp>
      <p:pic>
        <p:nvPicPr>
          <p:cNvPr id="126" name="Google Shape;126;p11"/>
          <p:cNvPicPr preferRelativeResize="0"/>
          <p:nvPr/>
        </p:nvPicPr>
        <p:blipFill rotWithShape="1">
          <a:blip r:embed="rId3">
            <a:alphaModFix/>
          </a:blip>
          <a:srcRect/>
          <a:stretch/>
        </p:blipFill>
        <p:spPr>
          <a:xfrm>
            <a:off x="311700" y="1447988"/>
            <a:ext cx="8520600" cy="2825373"/>
          </a:xfrm>
          <a:prstGeom prst="rect">
            <a:avLst/>
          </a:prstGeom>
          <a:noFill/>
          <a:ln>
            <a:noFill/>
          </a:ln>
        </p:spPr>
      </p:pic>
      <p:grpSp>
        <p:nvGrpSpPr>
          <p:cNvPr id="22" name="Group 21">
            <a:extLst>
              <a:ext uri="{FF2B5EF4-FFF2-40B4-BE49-F238E27FC236}">
                <a16:creationId xmlns:a16="http://schemas.microsoft.com/office/drawing/2014/main" id="{999168EF-05B9-90E1-255D-03E09B77DA5A}"/>
              </a:ext>
            </a:extLst>
          </p:cNvPr>
          <p:cNvGrpSpPr/>
          <p:nvPr/>
        </p:nvGrpSpPr>
        <p:grpSpPr>
          <a:xfrm>
            <a:off x="4760723" y="649317"/>
            <a:ext cx="1881000" cy="858960"/>
            <a:chOff x="4760723" y="649317"/>
            <a:chExt cx="1881000" cy="858960"/>
          </a:xfrm>
        </p:grpSpPr>
        <mc:AlternateContent xmlns:mc="http://schemas.openxmlformats.org/markup-compatibility/2006">
          <mc:Choice xmlns:p14="http://schemas.microsoft.com/office/powerpoint/2010/main" Requires="p14">
            <p:contentPart p14:bwMode="auto" r:id="rId4">
              <p14:nvContentPartPr>
                <p14:cNvPr id="2" name="Ink 1">
                  <a:extLst>
                    <a:ext uri="{FF2B5EF4-FFF2-40B4-BE49-F238E27FC236}">
                      <a16:creationId xmlns:a16="http://schemas.microsoft.com/office/drawing/2014/main" id="{CBA08287-02CF-5890-FA16-66FFAEB58628}"/>
                    </a:ext>
                  </a:extLst>
                </p14:cNvPr>
                <p14:cNvContentPartPr/>
                <p14:nvPr/>
              </p14:nvContentPartPr>
              <p14:xfrm>
                <a:off x="4902563" y="912117"/>
                <a:ext cx="115920" cy="214560"/>
              </p14:xfrm>
            </p:contentPart>
          </mc:Choice>
          <mc:Fallback>
            <p:pic>
              <p:nvPicPr>
                <p:cNvPr id="2" name="Ink 1">
                  <a:extLst>
                    <a:ext uri="{FF2B5EF4-FFF2-40B4-BE49-F238E27FC236}">
                      <a16:creationId xmlns:a16="http://schemas.microsoft.com/office/drawing/2014/main" id="{CBA08287-02CF-5890-FA16-66FFAEB58628}"/>
                    </a:ext>
                  </a:extLst>
                </p:cNvPr>
                <p:cNvPicPr/>
                <p:nvPr/>
              </p:nvPicPr>
              <p:blipFill>
                <a:blip r:embed="rId5"/>
                <a:stretch>
                  <a:fillRect/>
                </a:stretch>
              </p:blipFill>
              <p:spPr>
                <a:xfrm>
                  <a:off x="4887443" y="896997"/>
                  <a:ext cx="146160" cy="24516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3" name="Ink 2">
                  <a:extLst>
                    <a:ext uri="{FF2B5EF4-FFF2-40B4-BE49-F238E27FC236}">
                      <a16:creationId xmlns:a16="http://schemas.microsoft.com/office/drawing/2014/main" id="{DEE42A8E-6720-9498-0BDA-6C6A99CBE011}"/>
                    </a:ext>
                  </a:extLst>
                </p14:cNvPr>
                <p14:cNvContentPartPr/>
                <p14:nvPr/>
              </p14:nvContentPartPr>
              <p14:xfrm>
                <a:off x="5082923" y="930117"/>
                <a:ext cx="93960" cy="160560"/>
              </p14:xfrm>
            </p:contentPart>
          </mc:Choice>
          <mc:Fallback>
            <p:pic>
              <p:nvPicPr>
                <p:cNvPr id="3" name="Ink 2">
                  <a:extLst>
                    <a:ext uri="{FF2B5EF4-FFF2-40B4-BE49-F238E27FC236}">
                      <a16:creationId xmlns:a16="http://schemas.microsoft.com/office/drawing/2014/main" id="{DEE42A8E-6720-9498-0BDA-6C6A99CBE011}"/>
                    </a:ext>
                  </a:extLst>
                </p:cNvPr>
                <p:cNvPicPr/>
                <p:nvPr/>
              </p:nvPicPr>
              <p:blipFill>
                <a:blip r:embed="rId7"/>
                <a:stretch>
                  <a:fillRect/>
                </a:stretch>
              </p:blipFill>
              <p:spPr>
                <a:xfrm>
                  <a:off x="5067803" y="914637"/>
                  <a:ext cx="124560" cy="19116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4" name="Ink 3">
                  <a:extLst>
                    <a:ext uri="{FF2B5EF4-FFF2-40B4-BE49-F238E27FC236}">
                      <a16:creationId xmlns:a16="http://schemas.microsoft.com/office/drawing/2014/main" id="{938F622A-A202-51C4-7649-2B79D995125E}"/>
                    </a:ext>
                  </a:extLst>
                </p14:cNvPr>
                <p14:cNvContentPartPr/>
                <p14:nvPr/>
              </p14:nvContentPartPr>
              <p14:xfrm>
                <a:off x="5113163" y="1012197"/>
                <a:ext cx="100440" cy="5040"/>
              </p14:xfrm>
            </p:contentPart>
          </mc:Choice>
          <mc:Fallback>
            <p:pic>
              <p:nvPicPr>
                <p:cNvPr id="4" name="Ink 3">
                  <a:extLst>
                    <a:ext uri="{FF2B5EF4-FFF2-40B4-BE49-F238E27FC236}">
                      <a16:creationId xmlns:a16="http://schemas.microsoft.com/office/drawing/2014/main" id="{938F622A-A202-51C4-7649-2B79D995125E}"/>
                    </a:ext>
                  </a:extLst>
                </p:cNvPr>
                <p:cNvPicPr/>
                <p:nvPr/>
              </p:nvPicPr>
              <p:blipFill>
                <a:blip r:embed="rId9"/>
                <a:stretch>
                  <a:fillRect/>
                </a:stretch>
              </p:blipFill>
              <p:spPr>
                <a:xfrm>
                  <a:off x="5098043" y="997077"/>
                  <a:ext cx="131040" cy="35280"/>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5" name="Ink 4">
                  <a:extLst>
                    <a:ext uri="{FF2B5EF4-FFF2-40B4-BE49-F238E27FC236}">
                      <a16:creationId xmlns:a16="http://schemas.microsoft.com/office/drawing/2014/main" id="{66661981-7371-885E-E095-EACF38404A85}"/>
                    </a:ext>
                  </a:extLst>
                </p14:cNvPr>
                <p14:cNvContentPartPr/>
                <p14:nvPr/>
              </p14:nvContentPartPr>
              <p14:xfrm>
                <a:off x="5280203" y="989877"/>
                <a:ext cx="80280" cy="102240"/>
              </p14:xfrm>
            </p:contentPart>
          </mc:Choice>
          <mc:Fallback>
            <p:pic>
              <p:nvPicPr>
                <p:cNvPr id="5" name="Ink 4">
                  <a:extLst>
                    <a:ext uri="{FF2B5EF4-FFF2-40B4-BE49-F238E27FC236}">
                      <a16:creationId xmlns:a16="http://schemas.microsoft.com/office/drawing/2014/main" id="{66661981-7371-885E-E095-EACF38404A85}"/>
                    </a:ext>
                  </a:extLst>
                </p:cNvPr>
                <p:cNvPicPr/>
                <p:nvPr/>
              </p:nvPicPr>
              <p:blipFill>
                <a:blip r:embed="rId11"/>
                <a:stretch>
                  <a:fillRect/>
                </a:stretch>
              </p:blipFill>
              <p:spPr>
                <a:xfrm>
                  <a:off x="5265083" y="974757"/>
                  <a:ext cx="110880" cy="13284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6" name="Ink 5">
                  <a:extLst>
                    <a:ext uri="{FF2B5EF4-FFF2-40B4-BE49-F238E27FC236}">
                      <a16:creationId xmlns:a16="http://schemas.microsoft.com/office/drawing/2014/main" id="{6E93C8B2-1319-A269-23E6-BA668EEC9FFA}"/>
                    </a:ext>
                  </a:extLst>
                </p14:cNvPr>
                <p14:cNvContentPartPr/>
                <p14:nvPr/>
              </p14:nvContentPartPr>
              <p14:xfrm>
                <a:off x="5277683" y="988437"/>
                <a:ext cx="79200" cy="125640"/>
              </p14:xfrm>
            </p:contentPart>
          </mc:Choice>
          <mc:Fallback>
            <p:pic>
              <p:nvPicPr>
                <p:cNvPr id="6" name="Ink 5">
                  <a:extLst>
                    <a:ext uri="{FF2B5EF4-FFF2-40B4-BE49-F238E27FC236}">
                      <a16:creationId xmlns:a16="http://schemas.microsoft.com/office/drawing/2014/main" id="{6E93C8B2-1319-A269-23E6-BA668EEC9FFA}"/>
                    </a:ext>
                  </a:extLst>
                </p:cNvPr>
                <p:cNvPicPr/>
                <p:nvPr/>
              </p:nvPicPr>
              <p:blipFill>
                <a:blip r:embed="rId13"/>
                <a:stretch>
                  <a:fillRect/>
                </a:stretch>
              </p:blipFill>
              <p:spPr>
                <a:xfrm>
                  <a:off x="5262203" y="972957"/>
                  <a:ext cx="109800" cy="156240"/>
                </a:xfrm>
                <a:prstGeom prst="rect">
                  <a:avLst/>
                </a:prstGeom>
              </p:spPr>
            </p:pic>
          </mc:Fallback>
        </mc:AlternateContent>
        <mc:AlternateContent xmlns:mc="http://schemas.openxmlformats.org/markup-compatibility/2006">
          <mc:Choice xmlns:p14="http://schemas.microsoft.com/office/powerpoint/2010/main" Requires="p14">
            <p:contentPart p14:bwMode="auto" r:id="rId14">
              <p14:nvContentPartPr>
                <p14:cNvPr id="7" name="Ink 6">
                  <a:extLst>
                    <a:ext uri="{FF2B5EF4-FFF2-40B4-BE49-F238E27FC236}">
                      <a16:creationId xmlns:a16="http://schemas.microsoft.com/office/drawing/2014/main" id="{428CD598-F398-543E-FA65-D2C810FBDBEC}"/>
                    </a:ext>
                  </a:extLst>
                </p14:cNvPr>
                <p14:cNvContentPartPr/>
                <p14:nvPr/>
              </p14:nvContentPartPr>
              <p14:xfrm>
                <a:off x="5468483" y="999957"/>
                <a:ext cx="108000" cy="159840"/>
              </p14:xfrm>
            </p:contentPart>
          </mc:Choice>
          <mc:Fallback>
            <p:pic>
              <p:nvPicPr>
                <p:cNvPr id="7" name="Ink 6">
                  <a:extLst>
                    <a:ext uri="{FF2B5EF4-FFF2-40B4-BE49-F238E27FC236}">
                      <a16:creationId xmlns:a16="http://schemas.microsoft.com/office/drawing/2014/main" id="{428CD598-F398-543E-FA65-D2C810FBDBEC}"/>
                    </a:ext>
                  </a:extLst>
                </p:cNvPr>
                <p:cNvPicPr/>
                <p:nvPr/>
              </p:nvPicPr>
              <p:blipFill>
                <a:blip r:embed="rId15"/>
                <a:stretch>
                  <a:fillRect/>
                </a:stretch>
              </p:blipFill>
              <p:spPr>
                <a:xfrm>
                  <a:off x="5453363" y="984837"/>
                  <a:ext cx="138600" cy="190440"/>
                </a:xfrm>
                <a:prstGeom prst="rect">
                  <a:avLst/>
                </a:prstGeom>
              </p:spPr>
            </p:pic>
          </mc:Fallback>
        </mc:AlternateContent>
        <mc:AlternateContent xmlns:mc="http://schemas.openxmlformats.org/markup-compatibility/2006">
          <mc:Choice xmlns:p14="http://schemas.microsoft.com/office/powerpoint/2010/main" Requires="p14">
            <p:contentPart p14:bwMode="auto" r:id="rId16">
              <p14:nvContentPartPr>
                <p14:cNvPr id="8" name="Ink 7">
                  <a:extLst>
                    <a:ext uri="{FF2B5EF4-FFF2-40B4-BE49-F238E27FC236}">
                      <a16:creationId xmlns:a16="http://schemas.microsoft.com/office/drawing/2014/main" id="{81BCA0D9-D3A3-279F-5F72-556CE24C4B29}"/>
                    </a:ext>
                  </a:extLst>
                </p14:cNvPr>
                <p14:cNvContentPartPr/>
                <p14:nvPr/>
              </p14:nvContentPartPr>
              <p14:xfrm>
                <a:off x="5657123" y="976557"/>
                <a:ext cx="95040" cy="138240"/>
              </p14:xfrm>
            </p:contentPart>
          </mc:Choice>
          <mc:Fallback>
            <p:pic>
              <p:nvPicPr>
                <p:cNvPr id="8" name="Ink 7">
                  <a:extLst>
                    <a:ext uri="{FF2B5EF4-FFF2-40B4-BE49-F238E27FC236}">
                      <a16:creationId xmlns:a16="http://schemas.microsoft.com/office/drawing/2014/main" id="{81BCA0D9-D3A3-279F-5F72-556CE24C4B29}"/>
                    </a:ext>
                  </a:extLst>
                </p:cNvPr>
                <p:cNvPicPr/>
                <p:nvPr/>
              </p:nvPicPr>
              <p:blipFill>
                <a:blip r:embed="rId17"/>
                <a:stretch>
                  <a:fillRect/>
                </a:stretch>
              </p:blipFill>
              <p:spPr>
                <a:xfrm>
                  <a:off x="5642003" y="961437"/>
                  <a:ext cx="125640" cy="168840"/>
                </a:xfrm>
                <a:prstGeom prst="rect">
                  <a:avLst/>
                </a:prstGeom>
              </p:spPr>
            </p:pic>
          </mc:Fallback>
        </mc:AlternateContent>
        <mc:AlternateContent xmlns:mc="http://schemas.openxmlformats.org/markup-compatibility/2006">
          <mc:Choice xmlns:p14="http://schemas.microsoft.com/office/powerpoint/2010/main" Requires="p14">
            <p:contentPart p14:bwMode="auto" r:id="rId18">
              <p14:nvContentPartPr>
                <p14:cNvPr id="9" name="Ink 8">
                  <a:extLst>
                    <a:ext uri="{FF2B5EF4-FFF2-40B4-BE49-F238E27FC236}">
                      <a16:creationId xmlns:a16="http://schemas.microsoft.com/office/drawing/2014/main" id="{45954E12-91D0-33A6-DEDC-FCFF9F8D6CB9}"/>
                    </a:ext>
                  </a:extLst>
                </p14:cNvPr>
                <p14:cNvContentPartPr/>
                <p14:nvPr/>
              </p14:nvContentPartPr>
              <p14:xfrm>
                <a:off x="5668643" y="1043877"/>
                <a:ext cx="68760" cy="30600"/>
              </p14:xfrm>
            </p:contentPart>
          </mc:Choice>
          <mc:Fallback>
            <p:pic>
              <p:nvPicPr>
                <p:cNvPr id="9" name="Ink 8">
                  <a:extLst>
                    <a:ext uri="{FF2B5EF4-FFF2-40B4-BE49-F238E27FC236}">
                      <a16:creationId xmlns:a16="http://schemas.microsoft.com/office/drawing/2014/main" id="{45954E12-91D0-33A6-DEDC-FCFF9F8D6CB9}"/>
                    </a:ext>
                  </a:extLst>
                </p:cNvPr>
                <p:cNvPicPr/>
                <p:nvPr/>
              </p:nvPicPr>
              <p:blipFill>
                <a:blip r:embed="rId19"/>
                <a:stretch>
                  <a:fillRect/>
                </a:stretch>
              </p:blipFill>
              <p:spPr>
                <a:xfrm>
                  <a:off x="5653523" y="1028757"/>
                  <a:ext cx="99000" cy="61200"/>
                </a:xfrm>
                <a:prstGeom prst="rect">
                  <a:avLst/>
                </a:prstGeom>
              </p:spPr>
            </p:pic>
          </mc:Fallback>
        </mc:AlternateContent>
        <mc:AlternateContent xmlns:mc="http://schemas.openxmlformats.org/markup-compatibility/2006">
          <mc:Choice xmlns:p14="http://schemas.microsoft.com/office/powerpoint/2010/main" Requires="p14">
            <p:contentPart p14:bwMode="auto" r:id="rId20">
              <p14:nvContentPartPr>
                <p14:cNvPr id="10" name="Ink 9">
                  <a:extLst>
                    <a:ext uri="{FF2B5EF4-FFF2-40B4-BE49-F238E27FC236}">
                      <a16:creationId xmlns:a16="http://schemas.microsoft.com/office/drawing/2014/main" id="{736DC584-B410-B866-DB0F-C7DC65D54B95}"/>
                    </a:ext>
                  </a:extLst>
                </p14:cNvPr>
                <p14:cNvContentPartPr/>
                <p14:nvPr/>
              </p14:nvContentPartPr>
              <p14:xfrm>
                <a:off x="5892923" y="973677"/>
                <a:ext cx="128880" cy="156240"/>
              </p14:xfrm>
            </p:contentPart>
          </mc:Choice>
          <mc:Fallback>
            <p:pic>
              <p:nvPicPr>
                <p:cNvPr id="10" name="Ink 9">
                  <a:extLst>
                    <a:ext uri="{FF2B5EF4-FFF2-40B4-BE49-F238E27FC236}">
                      <a16:creationId xmlns:a16="http://schemas.microsoft.com/office/drawing/2014/main" id="{736DC584-B410-B866-DB0F-C7DC65D54B95}"/>
                    </a:ext>
                  </a:extLst>
                </p:cNvPr>
                <p:cNvPicPr/>
                <p:nvPr/>
              </p:nvPicPr>
              <p:blipFill>
                <a:blip r:embed="rId21"/>
                <a:stretch>
                  <a:fillRect/>
                </a:stretch>
              </p:blipFill>
              <p:spPr>
                <a:xfrm>
                  <a:off x="5877443" y="958557"/>
                  <a:ext cx="159480" cy="186840"/>
                </a:xfrm>
                <a:prstGeom prst="rect">
                  <a:avLst/>
                </a:prstGeom>
              </p:spPr>
            </p:pic>
          </mc:Fallback>
        </mc:AlternateContent>
        <mc:AlternateContent xmlns:mc="http://schemas.openxmlformats.org/markup-compatibility/2006">
          <mc:Choice xmlns:p14="http://schemas.microsoft.com/office/powerpoint/2010/main" Requires="p14">
            <p:contentPart p14:bwMode="auto" r:id="rId22">
              <p14:nvContentPartPr>
                <p14:cNvPr id="11" name="Ink 10">
                  <a:extLst>
                    <a:ext uri="{FF2B5EF4-FFF2-40B4-BE49-F238E27FC236}">
                      <a16:creationId xmlns:a16="http://schemas.microsoft.com/office/drawing/2014/main" id="{680ACF6F-AC07-33AE-98D3-DC971B182866}"/>
                    </a:ext>
                  </a:extLst>
                </p14:cNvPr>
                <p14:cNvContentPartPr/>
                <p14:nvPr/>
              </p14:nvContentPartPr>
              <p14:xfrm>
                <a:off x="5922803" y="992037"/>
                <a:ext cx="55440" cy="129600"/>
              </p14:xfrm>
            </p:contentPart>
          </mc:Choice>
          <mc:Fallback>
            <p:pic>
              <p:nvPicPr>
                <p:cNvPr id="11" name="Ink 10">
                  <a:extLst>
                    <a:ext uri="{FF2B5EF4-FFF2-40B4-BE49-F238E27FC236}">
                      <a16:creationId xmlns:a16="http://schemas.microsoft.com/office/drawing/2014/main" id="{680ACF6F-AC07-33AE-98D3-DC971B182866}"/>
                    </a:ext>
                  </a:extLst>
                </p:cNvPr>
                <p:cNvPicPr/>
                <p:nvPr/>
              </p:nvPicPr>
              <p:blipFill>
                <a:blip r:embed="rId23"/>
                <a:stretch>
                  <a:fillRect/>
                </a:stretch>
              </p:blipFill>
              <p:spPr>
                <a:xfrm>
                  <a:off x="5907323" y="976557"/>
                  <a:ext cx="86040" cy="160200"/>
                </a:xfrm>
                <a:prstGeom prst="rect">
                  <a:avLst/>
                </a:prstGeom>
              </p:spPr>
            </p:pic>
          </mc:Fallback>
        </mc:AlternateContent>
        <mc:AlternateContent xmlns:mc="http://schemas.openxmlformats.org/markup-compatibility/2006">
          <mc:Choice xmlns:p14="http://schemas.microsoft.com/office/powerpoint/2010/main" Requires="p14">
            <p:contentPart p14:bwMode="auto" r:id="rId24">
              <p14:nvContentPartPr>
                <p14:cNvPr id="12" name="Ink 11">
                  <a:extLst>
                    <a:ext uri="{FF2B5EF4-FFF2-40B4-BE49-F238E27FC236}">
                      <a16:creationId xmlns:a16="http://schemas.microsoft.com/office/drawing/2014/main" id="{D81B8DE9-B62D-B8B6-B7B9-6509A7DDC219}"/>
                    </a:ext>
                  </a:extLst>
                </p14:cNvPr>
                <p14:cNvContentPartPr/>
                <p14:nvPr/>
              </p14:nvContentPartPr>
              <p14:xfrm>
                <a:off x="6083363" y="1019397"/>
                <a:ext cx="127080" cy="142200"/>
              </p14:xfrm>
            </p:contentPart>
          </mc:Choice>
          <mc:Fallback>
            <p:pic>
              <p:nvPicPr>
                <p:cNvPr id="12" name="Ink 11">
                  <a:extLst>
                    <a:ext uri="{FF2B5EF4-FFF2-40B4-BE49-F238E27FC236}">
                      <a16:creationId xmlns:a16="http://schemas.microsoft.com/office/drawing/2014/main" id="{D81B8DE9-B62D-B8B6-B7B9-6509A7DDC219}"/>
                    </a:ext>
                  </a:extLst>
                </p:cNvPr>
                <p:cNvPicPr/>
                <p:nvPr/>
              </p:nvPicPr>
              <p:blipFill>
                <a:blip r:embed="rId25"/>
                <a:stretch>
                  <a:fillRect/>
                </a:stretch>
              </p:blipFill>
              <p:spPr>
                <a:xfrm>
                  <a:off x="6068243" y="1004277"/>
                  <a:ext cx="157680" cy="172440"/>
                </a:xfrm>
                <a:prstGeom prst="rect">
                  <a:avLst/>
                </a:prstGeom>
              </p:spPr>
            </p:pic>
          </mc:Fallback>
        </mc:AlternateContent>
        <mc:AlternateContent xmlns:mc="http://schemas.openxmlformats.org/markup-compatibility/2006">
          <mc:Choice xmlns:p14="http://schemas.microsoft.com/office/powerpoint/2010/main" Requires="p14">
            <p:contentPart p14:bwMode="auto" r:id="rId26">
              <p14:nvContentPartPr>
                <p14:cNvPr id="13" name="Ink 12">
                  <a:extLst>
                    <a:ext uri="{FF2B5EF4-FFF2-40B4-BE49-F238E27FC236}">
                      <a16:creationId xmlns:a16="http://schemas.microsoft.com/office/drawing/2014/main" id="{B5FA0CD4-A993-3EBC-8F8C-2D635A0CB9F4}"/>
                    </a:ext>
                  </a:extLst>
                </p14:cNvPr>
                <p14:cNvContentPartPr/>
                <p14:nvPr/>
              </p14:nvContentPartPr>
              <p14:xfrm>
                <a:off x="5843243" y="1226397"/>
                <a:ext cx="295200" cy="24480"/>
              </p14:xfrm>
            </p:contentPart>
          </mc:Choice>
          <mc:Fallback>
            <p:pic>
              <p:nvPicPr>
                <p:cNvPr id="13" name="Ink 12">
                  <a:extLst>
                    <a:ext uri="{FF2B5EF4-FFF2-40B4-BE49-F238E27FC236}">
                      <a16:creationId xmlns:a16="http://schemas.microsoft.com/office/drawing/2014/main" id="{B5FA0CD4-A993-3EBC-8F8C-2D635A0CB9F4}"/>
                    </a:ext>
                  </a:extLst>
                </p:cNvPr>
                <p:cNvPicPr/>
                <p:nvPr/>
              </p:nvPicPr>
              <p:blipFill>
                <a:blip r:embed="rId27"/>
                <a:stretch>
                  <a:fillRect/>
                </a:stretch>
              </p:blipFill>
              <p:spPr>
                <a:xfrm>
                  <a:off x="5827763" y="1211277"/>
                  <a:ext cx="325800" cy="55080"/>
                </a:xfrm>
                <a:prstGeom prst="rect">
                  <a:avLst/>
                </a:prstGeom>
              </p:spPr>
            </p:pic>
          </mc:Fallback>
        </mc:AlternateContent>
        <mc:AlternateContent xmlns:mc="http://schemas.openxmlformats.org/markup-compatibility/2006">
          <mc:Choice xmlns:p14="http://schemas.microsoft.com/office/powerpoint/2010/main" Requires="p14">
            <p:contentPart p14:bwMode="auto" r:id="rId28">
              <p14:nvContentPartPr>
                <p14:cNvPr id="14" name="Ink 13">
                  <a:extLst>
                    <a:ext uri="{FF2B5EF4-FFF2-40B4-BE49-F238E27FC236}">
                      <a16:creationId xmlns:a16="http://schemas.microsoft.com/office/drawing/2014/main" id="{AEDC429A-1259-5392-1A4F-BBF8F43972DC}"/>
                    </a:ext>
                  </a:extLst>
                </p14:cNvPr>
                <p14:cNvContentPartPr/>
                <p14:nvPr/>
              </p14:nvContentPartPr>
              <p14:xfrm>
                <a:off x="5862323" y="1300557"/>
                <a:ext cx="225720" cy="33480"/>
              </p14:xfrm>
            </p:contentPart>
          </mc:Choice>
          <mc:Fallback>
            <p:pic>
              <p:nvPicPr>
                <p:cNvPr id="14" name="Ink 13">
                  <a:extLst>
                    <a:ext uri="{FF2B5EF4-FFF2-40B4-BE49-F238E27FC236}">
                      <a16:creationId xmlns:a16="http://schemas.microsoft.com/office/drawing/2014/main" id="{AEDC429A-1259-5392-1A4F-BBF8F43972DC}"/>
                    </a:ext>
                  </a:extLst>
                </p:cNvPr>
                <p:cNvPicPr/>
                <p:nvPr/>
              </p:nvPicPr>
              <p:blipFill>
                <a:blip r:embed="rId29"/>
                <a:stretch>
                  <a:fillRect/>
                </a:stretch>
              </p:blipFill>
              <p:spPr>
                <a:xfrm>
                  <a:off x="5846843" y="1285077"/>
                  <a:ext cx="256320" cy="64080"/>
                </a:xfrm>
                <a:prstGeom prst="rect">
                  <a:avLst/>
                </a:prstGeom>
              </p:spPr>
            </p:pic>
          </mc:Fallback>
        </mc:AlternateContent>
        <mc:AlternateContent xmlns:mc="http://schemas.openxmlformats.org/markup-compatibility/2006">
          <mc:Choice xmlns:p14="http://schemas.microsoft.com/office/powerpoint/2010/main" Requires="p14">
            <p:contentPart p14:bwMode="auto" r:id="rId30">
              <p14:nvContentPartPr>
                <p14:cNvPr id="15" name="Ink 14">
                  <a:extLst>
                    <a:ext uri="{FF2B5EF4-FFF2-40B4-BE49-F238E27FC236}">
                      <a16:creationId xmlns:a16="http://schemas.microsoft.com/office/drawing/2014/main" id="{ABEC934E-172B-53C3-C858-6711D14E4232}"/>
                    </a:ext>
                  </a:extLst>
                </p14:cNvPr>
                <p14:cNvContentPartPr/>
                <p14:nvPr/>
              </p14:nvContentPartPr>
              <p14:xfrm>
                <a:off x="6241763" y="902397"/>
                <a:ext cx="38520" cy="6480"/>
              </p14:xfrm>
            </p:contentPart>
          </mc:Choice>
          <mc:Fallback>
            <p:pic>
              <p:nvPicPr>
                <p:cNvPr id="15" name="Ink 14">
                  <a:extLst>
                    <a:ext uri="{FF2B5EF4-FFF2-40B4-BE49-F238E27FC236}">
                      <a16:creationId xmlns:a16="http://schemas.microsoft.com/office/drawing/2014/main" id="{ABEC934E-172B-53C3-C858-6711D14E4232}"/>
                    </a:ext>
                  </a:extLst>
                </p:cNvPr>
                <p:cNvPicPr/>
                <p:nvPr/>
              </p:nvPicPr>
              <p:blipFill>
                <a:blip r:embed="rId31"/>
                <a:stretch>
                  <a:fillRect/>
                </a:stretch>
              </p:blipFill>
              <p:spPr>
                <a:xfrm>
                  <a:off x="6226643" y="887277"/>
                  <a:ext cx="68760" cy="37080"/>
                </a:xfrm>
                <a:prstGeom prst="rect">
                  <a:avLst/>
                </a:prstGeom>
              </p:spPr>
            </p:pic>
          </mc:Fallback>
        </mc:AlternateContent>
        <mc:AlternateContent xmlns:mc="http://schemas.openxmlformats.org/markup-compatibility/2006">
          <mc:Choice xmlns:p14="http://schemas.microsoft.com/office/powerpoint/2010/main" Requires="p14">
            <p:contentPart p14:bwMode="auto" r:id="rId32">
              <p14:nvContentPartPr>
                <p14:cNvPr id="16" name="Ink 15">
                  <a:extLst>
                    <a:ext uri="{FF2B5EF4-FFF2-40B4-BE49-F238E27FC236}">
                      <a16:creationId xmlns:a16="http://schemas.microsoft.com/office/drawing/2014/main" id="{E9E6445F-28F9-38D0-C179-3F8B74CFEAC2}"/>
                    </a:ext>
                  </a:extLst>
                </p14:cNvPr>
                <p14:cNvContentPartPr/>
                <p14:nvPr/>
              </p14:nvContentPartPr>
              <p14:xfrm>
                <a:off x="6260123" y="990597"/>
                <a:ext cx="40680" cy="4680"/>
              </p14:xfrm>
            </p:contentPart>
          </mc:Choice>
          <mc:Fallback>
            <p:pic>
              <p:nvPicPr>
                <p:cNvPr id="16" name="Ink 15">
                  <a:extLst>
                    <a:ext uri="{FF2B5EF4-FFF2-40B4-BE49-F238E27FC236}">
                      <a16:creationId xmlns:a16="http://schemas.microsoft.com/office/drawing/2014/main" id="{E9E6445F-28F9-38D0-C179-3F8B74CFEAC2}"/>
                    </a:ext>
                  </a:extLst>
                </p:cNvPr>
                <p:cNvPicPr/>
                <p:nvPr/>
              </p:nvPicPr>
              <p:blipFill>
                <a:blip r:embed="rId33"/>
                <a:stretch>
                  <a:fillRect/>
                </a:stretch>
              </p:blipFill>
              <p:spPr>
                <a:xfrm>
                  <a:off x="6244643" y="975477"/>
                  <a:ext cx="71280" cy="35280"/>
                </a:xfrm>
                <a:prstGeom prst="rect">
                  <a:avLst/>
                </a:prstGeom>
              </p:spPr>
            </p:pic>
          </mc:Fallback>
        </mc:AlternateContent>
        <mc:AlternateContent xmlns:mc="http://schemas.openxmlformats.org/markup-compatibility/2006">
          <mc:Choice xmlns:p14="http://schemas.microsoft.com/office/powerpoint/2010/main" Requires="p14">
            <p:contentPart p14:bwMode="auto" r:id="rId34">
              <p14:nvContentPartPr>
                <p14:cNvPr id="17" name="Ink 16">
                  <a:extLst>
                    <a:ext uri="{FF2B5EF4-FFF2-40B4-BE49-F238E27FC236}">
                      <a16:creationId xmlns:a16="http://schemas.microsoft.com/office/drawing/2014/main" id="{246A8CE2-EDDF-DB5A-334C-DAE64476B4F4}"/>
                    </a:ext>
                  </a:extLst>
                </p14:cNvPr>
                <p14:cNvContentPartPr/>
                <p14:nvPr/>
              </p14:nvContentPartPr>
              <p14:xfrm>
                <a:off x="6400163" y="895197"/>
                <a:ext cx="60840" cy="127080"/>
              </p14:xfrm>
            </p:contentPart>
          </mc:Choice>
          <mc:Fallback>
            <p:pic>
              <p:nvPicPr>
                <p:cNvPr id="17" name="Ink 16">
                  <a:extLst>
                    <a:ext uri="{FF2B5EF4-FFF2-40B4-BE49-F238E27FC236}">
                      <a16:creationId xmlns:a16="http://schemas.microsoft.com/office/drawing/2014/main" id="{246A8CE2-EDDF-DB5A-334C-DAE64476B4F4}"/>
                    </a:ext>
                  </a:extLst>
                </p:cNvPr>
                <p:cNvPicPr/>
                <p:nvPr/>
              </p:nvPicPr>
              <p:blipFill>
                <a:blip r:embed="rId35"/>
                <a:stretch>
                  <a:fillRect/>
                </a:stretch>
              </p:blipFill>
              <p:spPr>
                <a:xfrm>
                  <a:off x="6385043" y="879717"/>
                  <a:ext cx="91080" cy="157680"/>
                </a:xfrm>
                <a:prstGeom prst="rect">
                  <a:avLst/>
                </a:prstGeom>
              </p:spPr>
            </p:pic>
          </mc:Fallback>
        </mc:AlternateContent>
        <mc:AlternateContent xmlns:mc="http://schemas.openxmlformats.org/markup-compatibility/2006">
          <mc:Choice xmlns:p14="http://schemas.microsoft.com/office/powerpoint/2010/main" Requires="p14">
            <p:contentPart p14:bwMode="auto" r:id="rId36">
              <p14:nvContentPartPr>
                <p14:cNvPr id="18" name="Ink 17">
                  <a:extLst>
                    <a:ext uri="{FF2B5EF4-FFF2-40B4-BE49-F238E27FC236}">
                      <a16:creationId xmlns:a16="http://schemas.microsoft.com/office/drawing/2014/main" id="{F73E8665-85F7-5451-66AC-A40904E697A8}"/>
                    </a:ext>
                  </a:extLst>
                </p14:cNvPr>
                <p14:cNvContentPartPr/>
                <p14:nvPr/>
              </p14:nvContentPartPr>
              <p14:xfrm>
                <a:off x="4760723" y="719877"/>
                <a:ext cx="20520" cy="442800"/>
              </p14:xfrm>
            </p:contentPart>
          </mc:Choice>
          <mc:Fallback>
            <p:pic>
              <p:nvPicPr>
                <p:cNvPr id="18" name="Ink 17">
                  <a:extLst>
                    <a:ext uri="{FF2B5EF4-FFF2-40B4-BE49-F238E27FC236}">
                      <a16:creationId xmlns:a16="http://schemas.microsoft.com/office/drawing/2014/main" id="{F73E8665-85F7-5451-66AC-A40904E697A8}"/>
                    </a:ext>
                  </a:extLst>
                </p:cNvPr>
                <p:cNvPicPr/>
                <p:nvPr/>
              </p:nvPicPr>
              <p:blipFill>
                <a:blip r:embed="rId37"/>
                <a:stretch>
                  <a:fillRect/>
                </a:stretch>
              </p:blipFill>
              <p:spPr>
                <a:xfrm>
                  <a:off x="4745243" y="704397"/>
                  <a:ext cx="51120" cy="473040"/>
                </a:xfrm>
                <a:prstGeom prst="rect">
                  <a:avLst/>
                </a:prstGeom>
              </p:spPr>
            </p:pic>
          </mc:Fallback>
        </mc:AlternateContent>
        <mc:AlternateContent xmlns:mc="http://schemas.openxmlformats.org/markup-compatibility/2006">
          <mc:Choice xmlns:p14="http://schemas.microsoft.com/office/powerpoint/2010/main" Requires="p14">
            <p:contentPart p14:bwMode="auto" r:id="rId38">
              <p14:nvContentPartPr>
                <p14:cNvPr id="19" name="Ink 18">
                  <a:extLst>
                    <a:ext uri="{FF2B5EF4-FFF2-40B4-BE49-F238E27FC236}">
                      <a16:creationId xmlns:a16="http://schemas.microsoft.com/office/drawing/2014/main" id="{D2590478-8164-3BCB-FF82-C555A2C6F30F}"/>
                    </a:ext>
                  </a:extLst>
                </p14:cNvPr>
                <p14:cNvContentPartPr/>
                <p14:nvPr/>
              </p14:nvContentPartPr>
              <p14:xfrm>
                <a:off x="4800323" y="649317"/>
                <a:ext cx="1724760" cy="590040"/>
              </p14:xfrm>
            </p:contentPart>
          </mc:Choice>
          <mc:Fallback>
            <p:pic>
              <p:nvPicPr>
                <p:cNvPr id="19" name="Ink 18">
                  <a:extLst>
                    <a:ext uri="{FF2B5EF4-FFF2-40B4-BE49-F238E27FC236}">
                      <a16:creationId xmlns:a16="http://schemas.microsoft.com/office/drawing/2014/main" id="{D2590478-8164-3BCB-FF82-C555A2C6F30F}"/>
                    </a:ext>
                  </a:extLst>
                </p:cNvPr>
                <p:cNvPicPr/>
                <p:nvPr/>
              </p:nvPicPr>
              <p:blipFill>
                <a:blip r:embed="rId39"/>
                <a:stretch>
                  <a:fillRect/>
                </a:stretch>
              </p:blipFill>
              <p:spPr>
                <a:xfrm>
                  <a:off x="4785203" y="633837"/>
                  <a:ext cx="1755360" cy="620640"/>
                </a:xfrm>
                <a:prstGeom prst="rect">
                  <a:avLst/>
                </a:prstGeom>
              </p:spPr>
            </p:pic>
          </mc:Fallback>
        </mc:AlternateContent>
        <mc:AlternateContent xmlns:mc="http://schemas.openxmlformats.org/markup-compatibility/2006">
          <mc:Choice xmlns:p14="http://schemas.microsoft.com/office/powerpoint/2010/main" Requires="p14">
            <p:contentPart p14:bwMode="auto" r:id="rId40">
              <p14:nvContentPartPr>
                <p14:cNvPr id="20" name="Ink 19">
                  <a:extLst>
                    <a:ext uri="{FF2B5EF4-FFF2-40B4-BE49-F238E27FC236}">
                      <a16:creationId xmlns:a16="http://schemas.microsoft.com/office/drawing/2014/main" id="{D74D97C9-A966-8AE1-011F-E7B51C028551}"/>
                    </a:ext>
                  </a:extLst>
                </p14:cNvPr>
                <p14:cNvContentPartPr/>
                <p14:nvPr/>
              </p14:nvContentPartPr>
              <p14:xfrm>
                <a:off x="4789883" y="1146477"/>
                <a:ext cx="39240" cy="81720"/>
              </p14:xfrm>
            </p:contentPart>
          </mc:Choice>
          <mc:Fallback>
            <p:pic>
              <p:nvPicPr>
                <p:cNvPr id="20" name="Ink 19">
                  <a:extLst>
                    <a:ext uri="{FF2B5EF4-FFF2-40B4-BE49-F238E27FC236}">
                      <a16:creationId xmlns:a16="http://schemas.microsoft.com/office/drawing/2014/main" id="{D74D97C9-A966-8AE1-011F-E7B51C028551}"/>
                    </a:ext>
                  </a:extLst>
                </p:cNvPr>
                <p:cNvPicPr/>
                <p:nvPr/>
              </p:nvPicPr>
              <p:blipFill>
                <a:blip r:embed="rId41"/>
                <a:stretch>
                  <a:fillRect/>
                </a:stretch>
              </p:blipFill>
              <p:spPr>
                <a:xfrm>
                  <a:off x="4774763" y="1131357"/>
                  <a:ext cx="69480" cy="112320"/>
                </a:xfrm>
                <a:prstGeom prst="rect">
                  <a:avLst/>
                </a:prstGeom>
              </p:spPr>
            </p:pic>
          </mc:Fallback>
        </mc:AlternateContent>
        <mc:AlternateContent xmlns:mc="http://schemas.openxmlformats.org/markup-compatibility/2006">
          <mc:Choice xmlns:p14="http://schemas.microsoft.com/office/powerpoint/2010/main" Requires="p14">
            <p:contentPart p14:bwMode="auto" r:id="rId42">
              <p14:nvContentPartPr>
                <p14:cNvPr id="21" name="Ink 20">
                  <a:extLst>
                    <a:ext uri="{FF2B5EF4-FFF2-40B4-BE49-F238E27FC236}">
                      <a16:creationId xmlns:a16="http://schemas.microsoft.com/office/drawing/2014/main" id="{DBA0ED58-69FA-1EBE-9DFF-3AC5D65C951C}"/>
                    </a:ext>
                  </a:extLst>
                </p14:cNvPr>
                <p14:cNvContentPartPr/>
                <p14:nvPr/>
              </p14:nvContentPartPr>
              <p14:xfrm>
                <a:off x="4807883" y="1184637"/>
                <a:ext cx="1833840" cy="323640"/>
              </p14:xfrm>
            </p:contentPart>
          </mc:Choice>
          <mc:Fallback>
            <p:pic>
              <p:nvPicPr>
                <p:cNvPr id="21" name="Ink 20">
                  <a:extLst>
                    <a:ext uri="{FF2B5EF4-FFF2-40B4-BE49-F238E27FC236}">
                      <a16:creationId xmlns:a16="http://schemas.microsoft.com/office/drawing/2014/main" id="{DBA0ED58-69FA-1EBE-9DFF-3AC5D65C951C}"/>
                    </a:ext>
                  </a:extLst>
                </p:cNvPr>
                <p:cNvPicPr/>
                <p:nvPr/>
              </p:nvPicPr>
              <p:blipFill>
                <a:blip r:embed="rId43"/>
                <a:stretch>
                  <a:fillRect/>
                </a:stretch>
              </p:blipFill>
              <p:spPr>
                <a:xfrm>
                  <a:off x="4792763" y="1169517"/>
                  <a:ext cx="1864440" cy="35388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44">
            <p14:nvContentPartPr>
              <p14:cNvPr id="23" name="Ink 22">
                <a:extLst>
                  <a:ext uri="{FF2B5EF4-FFF2-40B4-BE49-F238E27FC236}">
                    <a16:creationId xmlns:a16="http://schemas.microsoft.com/office/drawing/2014/main" id="{68EE792C-42B3-070B-223A-607178A6B3CB}"/>
                  </a:ext>
                </a:extLst>
              </p14:cNvPr>
              <p14:cNvContentPartPr/>
              <p14:nvPr/>
            </p14:nvContentPartPr>
            <p14:xfrm>
              <a:off x="5159243" y="2233317"/>
              <a:ext cx="226800" cy="50400"/>
            </p14:xfrm>
          </p:contentPart>
        </mc:Choice>
        <mc:Fallback>
          <p:pic>
            <p:nvPicPr>
              <p:cNvPr id="23" name="Ink 22">
                <a:extLst>
                  <a:ext uri="{FF2B5EF4-FFF2-40B4-BE49-F238E27FC236}">
                    <a16:creationId xmlns:a16="http://schemas.microsoft.com/office/drawing/2014/main" id="{68EE792C-42B3-070B-223A-607178A6B3CB}"/>
                  </a:ext>
                </a:extLst>
              </p:cNvPr>
              <p:cNvPicPr/>
              <p:nvPr/>
            </p:nvPicPr>
            <p:blipFill>
              <a:blip r:embed="rId45"/>
              <a:stretch>
                <a:fillRect/>
              </a:stretch>
            </p:blipFill>
            <p:spPr>
              <a:xfrm>
                <a:off x="5144123" y="2218197"/>
                <a:ext cx="257040" cy="81000"/>
              </a:xfrm>
              <a:prstGeom prst="rect">
                <a:avLst/>
              </a:prstGeom>
            </p:spPr>
          </p:pic>
        </mc:Fallback>
      </mc:AlternateContent>
      <p:grpSp>
        <p:nvGrpSpPr>
          <p:cNvPr id="38" name="Group 37">
            <a:extLst>
              <a:ext uri="{FF2B5EF4-FFF2-40B4-BE49-F238E27FC236}">
                <a16:creationId xmlns:a16="http://schemas.microsoft.com/office/drawing/2014/main" id="{2B33B454-50C5-E857-32AC-EDCB01507B98}"/>
              </a:ext>
            </a:extLst>
          </p:cNvPr>
          <p:cNvGrpSpPr/>
          <p:nvPr/>
        </p:nvGrpSpPr>
        <p:grpSpPr>
          <a:xfrm>
            <a:off x="1775603" y="1618797"/>
            <a:ext cx="1527480" cy="909360"/>
            <a:chOff x="1775603" y="1618797"/>
            <a:chExt cx="1527480" cy="909360"/>
          </a:xfrm>
        </p:grpSpPr>
        <mc:AlternateContent xmlns:mc="http://schemas.openxmlformats.org/markup-compatibility/2006">
          <mc:Choice xmlns:p14="http://schemas.microsoft.com/office/powerpoint/2010/main" Requires="p14">
            <p:contentPart p14:bwMode="auto" r:id="rId46">
              <p14:nvContentPartPr>
                <p14:cNvPr id="24" name="Ink 23">
                  <a:extLst>
                    <a:ext uri="{FF2B5EF4-FFF2-40B4-BE49-F238E27FC236}">
                      <a16:creationId xmlns:a16="http://schemas.microsoft.com/office/drawing/2014/main" id="{8E410187-A094-C630-EC91-67BC03EDC0FC}"/>
                    </a:ext>
                  </a:extLst>
                </p14:cNvPr>
                <p14:cNvContentPartPr/>
                <p14:nvPr/>
              </p14:nvContentPartPr>
              <p14:xfrm>
                <a:off x="1826003" y="1618797"/>
                <a:ext cx="459360" cy="473400"/>
              </p14:xfrm>
            </p:contentPart>
          </mc:Choice>
          <mc:Fallback>
            <p:pic>
              <p:nvPicPr>
                <p:cNvPr id="24" name="Ink 23">
                  <a:extLst>
                    <a:ext uri="{FF2B5EF4-FFF2-40B4-BE49-F238E27FC236}">
                      <a16:creationId xmlns:a16="http://schemas.microsoft.com/office/drawing/2014/main" id="{8E410187-A094-C630-EC91-67BC03EDC0FC}"/>
                    </a:ext>
                  </a:extLst>
                </p:cNvPr>
                <p:cNvPicPr/>
                <p:nvPr/>
              </p:nvPicPr>
              <p:blipFill>
                <a:blip r:embed="rId47"/>
                <a:stretch>
                  <a:fillRect/>
                </a:stretch>
              </p:blipFill>
              <p:spPr>
                <a:xfrm>
                  <a:off x="1810883" y="1603677"/>
                  <a:ext cx="489960" cy="504000"/>
                </a:xfrm>
                <a:prstGeom prst="rect">
                  <a:avLst/>
                </a:prstGeom>
              </p:spPr>
            </p:pic>
          </mc:Fallback>
        </mc:AlternateContent>
        <mc:AlternateContent xmlns:mc="http://schemas.openxmlformats.org/markup-compatibility/2006">
          <mc:Choice xmlns:p14="http://schemas.microsoft.com/office/powerpoint/2010/main" Requires="p14">
            <p:contentPart p14:bwMode="auto" r:id="rId48">
              <p14:nvContentPartPr>
                <p14:cNvPr id="25" name="Ink 24">
                  <a:extLst>
                    <a:ext uri="{FF2B5EF4-FFF2-40B4-BE49-F238E27FC236}">
                      <a16:creationId xmlns:a16="http://schemas.microsoft.com/office/drawing/2014/main" id="{90587691-67F5-35FD-C5AE-B555DF37C161}"/>
                    </a:ext>
                  </a:extLst>
                </p14:cNvPr>
                <p14:cNvContentPartPr/>
                <p14:nvPr/>
              </p14:nvContentPartPr>
              <p14:xfrm>
                <a:off x="2211563" y="1641117"/>
                <a:ext cx="479160" cy="451080"/>
              </p14:xfrm>
            </p:contentPart>
          </mc:Choice>
          <mc:Fallback>
            <p:pic>
              <p:nvPicPr>
                <p:cNvPr id="25" name="Ink 24">
                  <a:extLst>
                    <a:ext uri="{FF2B5EF4-FFF2-40B4-BE49-F238E27FC236}">
                      <a16:creationId xmlns:a16="http://schemas.microsoft.com/office/drawing/2014/main" id="{90587691-67F5-35FD-C5AE-B555DF37C161}"/>
                    </a:ext>
                  </a:extLst>
                </p:cNvPr>
                <p:cNvPicPr/>
                <p:nvPr/>
              </p:nvPicPr>
              <p:blipFill>
                <a:blip r:embed="rId49"/>
                <a:stretch>
                  <a:fillRect/>
                </a:stretch>
              </p:blipFill>
              <p:spPr>
                <a:xfrm>
                  <a:off x="2196083" y="1625637"/>
                  <a:ext cx="509760" cy="481680"/>
                </a:xfrm>
                <a:prstGeom prst="rect">
                  <a:avLst/>
                </a:prstGeom>
              </p:spPr>
            </p:pic>
          </mc:Fallback>
        </mc:AlternateContent>
        <mc:AlternateContent xmlns:mc="http://schemas.openxmlformats.org/markup-compatibility/2006">
          <mc:Choice xmlns:p14="http://schemas.microsoft.com/office/powerpoint/2010/main" Requires="p14">
            <p:contentPart p14:bwMode="auto" r:id="rId50">
              <p14:nvContentPartPr>
                <p14:cNvPr id="27" name="Ink 26">
                  <a:extLst>
                    <a:ext uri="{FF2B5EF4-FFF2-40B4-BE49-F238E27FC236}">
                      <a16:creationId xmlns:a16="http://schemas.microsoft.com/office/drawing/2014/main" id="{04096E3A-0CC4-C811-F28B-F5FAFB88A881}"/>
                    </a:ext>
                  </a:extLst>
                </p14:cNvPr>
                <p14:cNvContentPartPr/>
                <p14:nvPr/>
              </p14:nvContentPartPr>
              <p14:xfrm>
                <a:off x="1826723" y="2087517"/>
                <a:ext cx="311760" cy="18000"/>
              </p14:xfrm>
            </p:contentPart>
          </mc:Choice>
          <mc:Fallback>
            <p:pic>
              <p:nvPicPr>
                <p:cNvPr id="27" name="Ink 26">
                  <a:extLst>
                    <a:ext uri="{FF2B5EF4-FFF2-40B4-BE49-F238E27FC236}">
                      <a16:creationId xmlns:a16="http://schemas.microsoft.com/office/drawing/2014/main" id="{04096E3A-0CC4-C811-F28B-F5FAFB88A881}"/>
                    </a:ext>
                  </a:extLst>
                </p:cNvPr>
                <p:cNvPicPr/>
                <p:nvPr/>
              </p:nvPicPr>
              <p:blipFill>
                <a:blip r:embed="rId51"/>
                <a:stretch>
                  <a:fillRect/>
                </a:stretch>
              </p:blipFill>
              <p:spPr>
                <a:xfrm>
                  <a:off x="1811603" y="2072397"/>
                  <a:ext cx="342360" cy="48240"/>
                </a:xfrm>
                <a:prstGeom prst="rect">
                  <a:avLst/>
                </a:prstGeom>
              </p:spPr>
            </p:pic>
          </mc:Fallback>
        </mc:AlternateContent>
        <mc:AlternateContent xmlns:mc="http://schemas.openxmlformats.org/markup-compatibility/2006">
          <mc:Choice xmlns:p14="http://schemas.microsoft.com/office/powerpoint/2010/main" Requires="p14">
            <p:contentPart p14:bwMode="auto" r:id="rId52">
              <p14:nvContentPartPr>
                <p14:cNvPr id="32" name="Ink 31">
                  <a:extLst>
                    <a:ext uri="{FF2B5EF4-FFF2-40B4-BE49-F238E27FC236}">
                      <a16:creationId xmlns:a16="http://schemas.microsoft.com/office/drawing/2014/main" id="{DD43C8D0-11FC-FF17-B458-B75CA63968DD}"/>
                    </a:ext>
                  </a:extLst>
                </p14:cNvPr>
                <p14:cNvContentPartPr/>
                <p14:nvPr/>
              </p14:nvContentPartPr>
              <p14:xfrm>
                <a:off x="1775603" y="2060157"/>
                <a:ext cx="441000" cy="468000"/>
              </p14:xfrm>
            </p:contentPart>
          </mc:Choice>
          <mc:Fallback>
            <p:pic>
              <p:nvPicPr>
                <p:cNvPr id="32" name="Ink 31">
                  <a:extLst>
                    <a:ext uri="{FF2B5EF4-FFF2-40B4-BE49-F238E27FC236}">
                      <a16:creationId xmlns:a16="http://schemas.microsoft.com/office/drawing/2014/main" id="{DD43C8D0-11FC-FF17-B458-B75CA63968DD}"/>
                    </a:ext>
                  </a:extLst>
                </p:cNvPr>
                <p:cNvPicPr/>
                <p:nvPr/>
              </p:nvPicPr>
              <p:blipFill>
                <a:blip r:embed="rId53"/>
                <a:stretch>
                  <a:fillRect/>
                </a:stretch>
              </p:blipFill>
              <p:spPr>
                <a:xfrm>
                  <a:off x="1760483" y="2045037"/>
                  <a:ext cx="471600" cy="498240"/>
                </a:xfrm>
                <a:prstGeom prst="rect">
                  <a:avLst/>
                </a:prstGeom>
              </p:spPr>
            </p:pic>
          </mc:Fallback>
        </mc:AlternateContent>
        <mc:AlternateContent xmlns:mc="http://schemas.openxmlformats.org/markup-compatibility/2006">
          <mc:Choice xmlns:p14="http://schemas.microsoft.com/office/powerpoint/2010/main" Requires="p14">
            <p:contentPart p14:bwMode="auto" r:id="rId54">
              <p14:nvContentPartPr>
                <p14:cNvPr id="34" name="Ink 33">
                  <a:extLst>
                    <a:ext uri="{FF2B5EF4-FFF2-40B4-BE49-F238E27FC236}">
                      <a16:creationId xmlns:a16="http://schemas.microsoft.com/office/drawing/2014/main" id="{B8DCA117-972C-F1C8-FCAF-898765AECA8D}"/>
                    </a:ext>
                  </a:extLst>
                </p14:cNvPr>
                <p14:cNvContentPartPr/>
                <p14:nvPr/>
              </p14:nvContentPartPr>
              <p14:xfrm>
                <a:off x="2651123" y="1633197"/>
                <a:ext cx="118080" cy="592560"/>
              </p14:xfrm>
            </p:contentPart>
          </mc:Choice>
          <mc:Fallback>
            <p:pic>
              <p:nvPicPr>
                <p:cNvPr id="34" name="Ink 33">
                  <a:extLst>
                    <a:ext uri="{FF2B5EF4-FFF2-40B4-BE49-F238E27FC236}">
                      <a16:creationId xmlns:a16="http://schemas.microsoft.com/office/drawing/2014/main" id="{B8DCA117-972C-F1C8-FCAF-898765AECA8D}"/>
                    </a:ext>
                  </a:extLst>
                </p:cNvPr>
                <p:cNvPicPr/>
                <p:nvPr/>
              </p:nvPicPr>
              <p:blipFill>
                <a:blip r:embed="rId55"/>
                <a:stretch>
                  <a:fillRect/>
                </a:stretch>
              </p:blipFill>
              <p:spPr>
                <a:xfrm>
                  <a:off x="2636003" y="1618077"/>
                  <a:ext cx="148680" cy="622800"/>
                </a:xfrm>
                <a:prstGeom prst="rect">
                  <a:avLst/>
                </a:prstGeom>
              </p:spPr>
            </p:pic>
          </mc:Fallback>
        </mc:AlternateContent>
        <mc:AlternateContent xmlns:mc="http://schemas.openxmlformats.org/markup-compatibility/2006">
          <mc:Choice xmlns:p14="http://schemas.microsoft.com/office/powerpoint/2010/main" Requires="p14">
            <p:contentPart p14:bwMode="auto" r:id="rId56">
              <p14:nvContentPartPr>
                <p14:cNvPr id="35" name="Ink 34">
                  <a:extLst>
                    <a:ext uri="{FF2B5EF4-FFF2-40B4-BE49-F238E27FC236}">
                      <a16:creationId xmlns:a16="http://schemas.microsoft.com/office/drawing/2014/main" id="{373C5521-C5ED-F29E-5190-DC1A4E764AFA}"/>
                    </a:ext>
                  </a:extLst>
                </p14:cNvPr>
                <p14:cNvContentPartPr/>
                <p14:nvPr/>
              </p14:nvContentPartPr>
              <p14:xfrm>
                <a:off x="2612603" y="1661997"/>
                <a:ext cx="388080" cy="709920"/>
              </p14:xfrm>
            </p:contentPart>
          </mc:Choice>
          <mc:Fallback>
            <p:pic>
              <p:nvPicPr>
                <p:cNvPr id="35" name="Ink 34">
                  <a:extLst>
                    <a:ext uri="{FF2B5EF4-FFF2-40B4-BE49-F238E27FC236}">
                      <a16:creationId xmlns:a16="http://schemas.microsoft.com/office/drawing/2014/main" id="{373C5521-C5ED-F29E-5190-DC1A4E764AFA}"/>
                    </a:ext>
                  </a:extLst>
                </p:cNvPr>
                <p:cNvPicPr/>
                <p:nvPr/>
              </p:nvPicPr>
              <p:blipFill>
                <a:blip r:embed="rId57"/>
                <a:stretch>
                  <a:fillRect/>
                </a:stretch>
              </p:blipFill>
              <p:spPr>
                <a:xfrm>
                  <a:off x="2597483" y="1646877"/>
                  <a:ext cx="418320" cy="740520"/>
                </a:xfrm>
                <a:prstGeom prst="rect">
                  <a:avLst/>
                </a:prstGeom>
              </p:spPr>
            </p:pic>
          </mc:Fallback>
        </mc:AlternateContent>
        <mc:AlternateContent xmlns:mc="http://schemas.openxmlformats.org/markup-compatibility/2006">
          <mc:Choice xmlns:p14="http://schemas.microsoft.com/office/powerpoint/2010/main" Requires="p14">
            <p:contentPart p14:bwMode="auto" r:id="rId58">
              <p14:nvContentPartPr>
                <p14:cNvPr id="36" name="Ink 35">
                  <a:extLst>
                    <a:ext uri="{FF2B5EF4-FFF2-40B4-BE49-F238E27FC236}">
                      <a16:creationId xmlns:a16="http://schemas.microsoft.com/office/drawing/2014/main" id="{C18395E5-E417-0B85-7109-A27D7339BEFF}"/>
                    </a:ext>
                  </a:extLst>
                </p14:cNvPr>
                <p14:cNvContentPartPr/>
                <p14:nvPr/>
              </p14:nvContentPartPr>
              <p14:xfrm>
                <a:off x="3093923" y="1635357"/>
                <a:ext cx="80280" cy="573840"/>
              </p14:xfrm>
            </p:contentPart>
          </mc:Choice>
          <mc:Fallback>
            <p:pic>
              <p:nvPicPr>
                <p:cNvPr id="36" name="Ink 35">
                  <a:extLst>
                    <a:ext uri="{FF2B5EF4-FFF2-40B4-BE49-F238E27FC236}">
                      <a16:creationId xmlns:a16="http://schemas.microsoft.com/office/drawing/2014/main" id="{C18395E5-E417-0B85-7109-A27D7339BEFF}"/>
                    </a:ext>
                  </a:extLst>
                </p:cNvPr>
                <p:cNvPicPr/>
                <p:nvPr/>
              </p:nvPicPr>
              <p:blipFill>
                <a:blip r:embed="rId59"/>
                <a:stretch>
                  <a:fillRect/>
                </a:stretch>
              </p:blipFill>
              <p:spPr>
                <a:xfrm>
                  <a:off x="3078803" y="1620237"/>
                  <a:ext cx="110880" cy="604440"/>
                </a:xfrm>
                <a:prstGeom prst="rect">
                  <a:avLst/>
                </a:prstGeom>
              </p:spPr>
            </p:pic>
          </mc:Fallback>
        </mc:AlternateContent>
        <mc:AlternateContent xmlns:mc="http://schemas.openxmlformats.org/markup-compatibility/2006">
          <mc:Choice xmlns:p14="http://schemas.microsoft.com/office/powerpoint/2010/main" Requires="p14">
            <p:contentPart p14:bwMode="auto" r:id="rId60">
              <p14:nvContentPartPr>
                <p14:cNvPr id="37" name="Ink 36">
                  <a:extLst>
                    <a:ext uri="{FF2B5EF4-FFF2-40B4-BE49-F238E27FC236}">
                      <a16:creationId xmlns:a16="http://schemas.microsoft.com/office/drawing/2014/main" id="{5C5B7B4C-643A-0EE8-BD50-02D8A5B14200}"/>
                    </a:ext>
                  </a:extLst>
                </p14:cNvPr>
                <p14:cNvContentPartPr/>
                <p14:nvPr/>
              </p14:nvContentPartPr>
              <p14:xfrm>
                <a:off x="3158363" y="1686837"/>
                <a:ext cx="144720" cy="567360"/>
              </p14:xfrm>
            </p:contentPart>
          </mc:Choice>
          <mc:Fallback>
            <p:pic>
              <p:nvPicPr>
                <p:cNvPr id="37" name="Ink 36">
                  <a:extLst>
                    <a:ext uri="{FF2B5EF4-FFF2-40B4-BE49-F238E27FC236}">
                      <a16:creationId xmlns:a16="http://schemas.microsoft.com/office/drawing/2014/main" id="{5C5B7B4C-643A-0EE8-BD50-02D8A5B14200}"/>
                    </a:ext>
                  </a:extLst>
                </p:cNvPr>
                <p:cNvPicPr/>
                <p:nvPr/>
              </p:nvPicPr>
              <p:blipFill>
                <a:blip r:embed="rId61"/>
                <a:stretch>
                  <a:fillRect/>
                </a:stretch>
              </p:blipFill>
              <p:spPr>
                <a:xfrm>
                  <a:off x="3143243" y="1671717"/>
                  <a:ext cx="175320" cy="59796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62">
            <p14:nvContentPartPr>
              <p14:cNvPr id="41" name="Ink 40">
                <a:extLst>
                  <a:ext uri="{FF2B5EF4-FFF2-40B4-BE49-F238E27FC236}">
                    <a16:creationId xmlns:a16="http://schemas.microsoft.com/office/drawing/2014/main" id="{B21EE4EC-BDBC-B39C-5B57-7EE9F2850FBE}"/>
                  </a:ext>
                </a:extLst>
              </p14:cNvPr>
              <p14:cNvContentPartPr/>
              <p14:nvPr/>
            </p14:nvContentPartPr>
            <p14:xfrm>
              <a:off x="3103643" y="2685477"/>
              <a:ext cx="6480" cy="39240"/>
            </p14:xfrm>
          </p:contentPart>
        </mc:Choice>
        <mc:Fallback>
          <p:pic>
            <p:nvPicPr>
              <p:cNvPr id="41" name="Ink 40">
                <a:extLst>
                  <a:ext uri="{FF2B5EF4-FFF2-40B4-BE49-F238E27FC236}">
                    <a16:creationId xmlns:a16="http://schemas.microsoft.com/office/drawing/2014/main" id="{B21EE4EC-BDBC-B39C-5B57-7EE9F2850FBE}"/>
                  </a:ext>
                </a:extLst>
              </p:cNvPr>
              <p:cNvPicPr/>
              <p:nvPr/>
            </p:nvPicPr>
            <p:blipFill>
              <a:blip r:embed="rId63"/>
              <a:stretch>
                <a:fillRect/>
              </a:stretch>
            </p:blipFill>
            <p:spPr>
              <a:xfrm>
                <a:off x="3088523" y="2669997"/>
                <a:ext cx="36720" cy="69840"/>
              </a:xfrm>
              <a:prstGeom prst="rect">
                <a:avLst/>
              </a:prstGeom>
            </p:spPr>
          </p:pic>
        </mc:Fallback>
      </mc:AlternateContent>
      <mc:AlternateContent xmlns:mc="http://schemas.openxmlformats.org/markup-compatibility/2006">
        <mc:Choice xmlns:p14="http://schemas.microsoft.com/office/powerpoint/2010/main" Requires="p14">
          <p:contentPart p14:bwMode="auto" r:id="rId64">
            <p14:nvContentPartPr>
              <p14:cNvPr id="43" name="Ink 42">
                <a:extLst>
                  <a:ext uri="{FF2B5EF4-FFF2-40B4-BE49-F238E27FC236}">
                    <a16:creationId xmlns:a16="http://schemas.microsoft.com/office/drawing/2014/main" id="{1194970A-7E23-B096-07C8-C8D53DEAB3BC}"/>
                  </a:ext>
                </a:extLst>
              </p14:cNvPr>
              <p14:cNvContentPartPr/>
              <p14:nvPr/>
            </p14:nvContentPartPr>
            <p14:xfrm>
              <a:off x="4486763" y="2825877"/>
              <a:ext cx="285840" cy="20520"/>
            </p14:xfrm>
          </p:contentPart>
        </mc:Choice>
        <mc:Fallback>
          <p:pic>
            <p:nvPicPr>
              <p:cNvPr id="43" name="Ink 42">
                <a:extLst>
                  <a:ext uri="{FF2B5EF4-FFF2-40B4-BE49-F238E27FC236}">
                    <a16:creationId xmlns:a16="http://schemas.microsoft.com/office/drawing/2014/main" id="{1194970A-7E23-B096-07C8-C8D53DEAB3BC}"/>
                  </a:ext>
                </a:extLst>
              </p:cNvPr>
              <p:cNvPicPr/>
              <p:nvPr/>
            </p:nvPicPr>
            <p:blipFill>
              <a:blip r:embed="rId65"/>
              <a:stretch>
                <a:fillRect/>
              </a:stretch>
            </p:blipFill>
            <p:spPr>
              <a:xfrm>
                <a:off x="4471283" y="2810757"/>
                <a:ext cx="316080" cy="51120"/>
              </a:xfrm>
              <a:prstGeom prst="rect">
                <a:avLst/>
              </a:prstGeom>
            </p:spPr>
          </p:pic>
        </mc:Fallback>
      </mc:AlternateContent>
      <mc:AlternateContent xmlns:mc="http://schemas.openxmlformats.org/markup-compatibility/2006">
        <mc:Choice xmlns:p14="http://schemas.microsoft.com/office/powerpoint/2010/main" Requires="p14">
          <p:contentPart p14:bwMode="auto" r:id="rId66">
            <p14:nvContentPartPr>
              <p14:cNvPr id="44" name="Ink 43">
                <a:extLst>
                  <a:ext uri="{FF2B5EF4-FFF2-40B4-BE49-F238E27FC236}">
                    <a16:creationId xmlns:a16="http://schemas.microsoft.com/office/drawing/2014/main" id="{C8049C55-B78F-98ED-12BF-0300C583F633}"/>
                  </a:ext>
                </a:extLst>
              </p14:cNvPr>
              <p14:cNvContentPartPr/>
              <p14:nvPr/>
            </p14:nvContentPartPr>
            <p14:xfrm>
              <a:off x="5178683" y="2851437"/>
              <a:ext cx="333000" cy="20160"/>
            </p14:xfrm>
          </p:contentPart>
        </mc:Choice>
        <mc:Fallback>
          <p:pic>
            <p:nvPicPr>
              <p:cNvPr id="44" name="Ink 43">
                <a:extLst>
                  <a:ext uri="{FF2B5EF4-FFF2-40B4-BE49-F238E27FC236}">
                    <a16:creationId xmlns:a16="http://schemas.microsoft.com/office/drawing/2014/main" id="{C8049C55-B78F-98ED-12BF-0300C583F633}"/>
                  </a:ext>
                </a:extLst>
              </p:cNvPr>
              <p:cNvPicPr/>
              <p:nvPr/>
            </p:nvPicPr>
            <p:blipFill>
              <a:blip r:embed="rId67"/>
              <a:stretch>
                <a:fillRect/>
              </a:stretch>
            </p:blipFill>
            <p:spPr>
              <a:xfrm>
                <a:off x="5163563" y="2835957"/>
                <a:ext cx="363600" cy="50760"/>
              </a:xfrm>
              <a:prstGeom prst="rect">
                <a:avLst/>
              </a:prstGeom>
            </p:spPr>
          </p:pic>
        </mc:Fallback>
      </mc:AlternateContent>
      <p:grpSp>
        <p:nvGrpSpPr>
          <p:cNvPr id="49" name="Group 48">
            <a:extLst>
              <a:ext uri="{FF2B5EF4-FFF2-40B4-BE49-F238E27FC236}">
                <a16:creationId xmlns:a16="http://schemas.microsoft.com/office/drawing/2014/main" id="{D1B9F4E7-4AA6-3568-257D-2709E8A3DECF}"/>
              </a:ext>
            </a:extLst>
          </p:cNvPr>
          <p:cNvGrpSpPr/>
          <p:nvPr/>
        </p:nvGrpSpPr>
        <p:grpSpPr>
          <a:xfrm>
            <a:off x="2049203" y="2590437"/>
            <a:ext cx="653040" cy="90720"/>
            <a:chOff x="2049203" y="2590437"/>
            <a:chExt cx="653040" cy="90720"/>
          </a:xfrm>
        </p:grpSpPr>
        <mc:AlternateContent xmlns:mc="http://schemas.openxmlformats.org/markup-compatibility/2006">
          <mc:Choice xmlns:p14="http://schemas.microsoft.com/office/powerpoint/2010/main" Requires="p14">
            <p:contentPart p14:bwMode="auto" r:id="rId68">
              <p14:nvContentPartPr>
                <p14:cNvPr id="39" name="Ink 38">
                  <a:extLst>
                    <a:ext uri="{FF2B5EF4-FFF2-40B4-BE49-F238E27FC236}">
                      <a16:creationId xmlns:a16="http://schemas.microsoft.com/office/drawing/2014/main" id="{ABFE5027-472A-B818-8ED7-6DF41708A404}"/>
                    </a:ext>
                  </a:extLst>
                </p14:cNvPr>
                <p14:cNvContentPartPr/>
                <p14:nvPr/>
              </p14:nvContentPartPr>
              <p14:xfrm>
                <a:off x="2357363" y="2659557"/>
                <a:ext cx="93600" cy="5400"/>
              </p14:xfrm>
            </p:contentPart>
          </mc:Choice>
          <mc:Fallback>
            <p:pic>
              <p:nvPicPr>
                <p:cNvPr id="39" name="Ink 38">
                  <a:extLst>
                    <a:ext uri="{FF2B5EF4-FFF2-40B4-BE49-F238E27FC236}">
                      <a16:creationId xmlns:a16="http://schemas.microsoft.com/office/drawing/2014/main" id="{ABFE5027-472A-B818-8ED7-6DF41708A404}"/>
                    </a:ext>
                  </a:extLst>
                </p:cNvPr>
                <p:cNvPicPr/>
                <p:nvPr/>
              </p:nvPicPr>
              <p:blipFill>
                <a:blip r:embed="rId69"/>
                <a:stretch>
                  <a:fillRect/>
                </a:stretch>
              </p:blipFill>
              <p:spPr>
                <a:xfrm>
                  <a:off x="2342243" y="2644077"/>
                  <a:ext cx="124200" cy="36000"/>
                </a:xfrm>
                <a:prstGeom prst="rect">
                  <a:avLst/>
                </a:prstGeom>
              </p:spPr>
            </p:pic>
          </mc:Fallback>
        </mc:AlternateContent>
        <mc:AlternateContent xmlns:mc="http://schemas.openxmlformats.org/markup-compatibility/2006">
          <mc:Choice xmlns:p14="http://schemas.microsoft.com/office/powerpoint/2010/main" Requires="p14">
            <p:contentPart p14:bwMode="auto" r:id="rId70">
              <p14:nvContentPartPr>
                <p14:cNvPr id="40" name="Ink 39">
                  <a:extLst>
                    <a:ext uri="{FF2B5EF4-FFF2-40B4-BE49-F238E27FC236}">
                      <a16:creationId xmlns:a16="http://schemas.microsoft.com/office/drawing/2014/main" id="{2F476538-7027-325A-AC93-530CB84D63A7}"/>
                    </a:ext>
                  </a:extLst>
                </p14:cNvPr>
                <p14:cNvContentPartPr/>
                <p14:nvPr/>
              </p14:nvContentPartPr>
              <p14:xfrm>
                <a:off x="2049203" y="2673957"/>
                <a:ext cx="375840" cy="7200"/>
              </p14:xfrm>
            </p:contentPart>
          </mc:Choice>
          <mc:Fallback>
            <p:pic>
              <p:nvPicPr>
                <p:cNvPr id="40" name="Ink 39">
                  <a:extLst>
                    <a:ext uri="{FF2B5EF4-FFF2-40B4-BE49-F238E27FC236}">
                      <a16:creationId xmlns:a16="http://schemas.microsoft.com/office/drawing/2014/main" id="{2F476538-7027-325A-AC93-530CB84D63A7}"/>
                    </a:ext>
                  </a:extLst>
                </p:cNvPr>
                <p:cNvPicPr/>
                <p:nvPr/>
              </p:nvPicPr>
              <p:blipFill>
                <a:blip r:embed="rId71"/>
                <a:stretch>
                  <a:fillRect/>
                </a:stretch>
              </p:blipFill>
              <p:spPr>
                <a:xfrm>
                  <a:off x="2034083" y="2658477"/>
                  <a:ext cx="406440" cy="37800"/>
                </a:xfrm>
                <a:prstGeom prst="rect">
                  <a:avLst/>
                </a:prstGeom>
              </p:spPr>
            </p:pic>
          </mc:Fallback>
        </mc:AlternateContent>
        <mc:AlternateContent xmlns:mc="http://schemas.openxmlformats.org/markup-compatibility/2006">
          <mc:Choice xmlns:p14="http://schemas.microsoft.com/office/powerpoint/2010/main" Requires="p14">
            <p:contentPart p14:bwMode="auto" r:id="rId72">
              <p14:nvContentPartPr>
                <p14:cNvPr id="48" name="Ink 47">
                  <a:extLst>
                    <a:ext uri="{FF2B5EF4-FFF2-40B4-BE49-F238E27FC236}">
                      <a16:creationId xmlns:a16="http://schemas.microsoft.com/office/drawing/2014/main" id="{27F11D04-E431-0274-58BD-48542A8D3AD5}"/>
                    </a:ext>
                  </a:extLst>
                </p14:cNvPr>
                <p14:cNvContentPartPr/>
                <p14:nvPr/>
              </p14:nvContentPartPr>
              <p14:xfrm>
                <a:off x="2644283" y="2590437"/>
                <a:ext cx="57960" cy="7920"/>
              </p14:xfrm>
            </p:contentPart>
          </mc:Choice>
          <mc:Fallback>
            <p:pic>
              <p:nvPicPr>
                <p:cNvPr id="48" name="Ink 47">
                  <a:extLst>
                    <a:ext uri="{FF2B5EF4-FFF2-40B4-BE49-F238E27FC236}">
                      <a16:creationId xmlns:a16="http://schemas.microsoft.com/office/drawing/2014/main" id="{27F11D04-E431-0274-58BD-48542A8D3AD5}"/>
                    </a:ext>
                  </a:extLst>
                </p:cNvPr>
                <p:cNvPicPr/>
                <p:nvPr/>
              </p:nvPicPr>
              <p:blipFill>
                <a:blip r:embed="rId73"/>
                <a:stretch>
                  <a:fillRect/>
                </a:stretch>
              </p:blipFill>
              <p:spPr>
                <a:xfrm>
                  <a:off x="2628803" y="2575317"/>
                  <a:ext cx="88200" cy="38160"/>
                </a:xfrm>
                <a:prstGeom prst="rect">
                  <a:avLst/>
                </a:prstGeom>
              </p:spPr>
            </p:pic>
          </mc:Fallback>
        </mc:AlternateContent>
      </p:grpSp>
      <p:grpSp>
        <p:nvGrpSpPr>
          <p:cNvPr id="52" name="Group 51">
            <a:extLst>
              <a:ext uri="{FF2B5EF4-FFF2-40B4-BE49-F238E27FC236}">
                <a16:creationId xmlns:a16="http://schemas.microsoft.com/office/drawing/2014/main" id="{BB7EFC58-DAF8-0DA2-BD3A-7D8D9D935153}"/>
              </a:ext>
            </a:extLst>
          </p:cNvPr>
          <p:cNvGrpSpPr/>
          <p:nvPr/>
        </p:nvGrpSpPr>
        <p:grpSpPr>
          <a:xfrm>
            <a:off x="5046923" y="3459837"/>
            <a:ext cx="178200" cy="83880"/>
            <a:chOff x="5046923" y="3459837"/>
            <a:chExt cx="178200" cy="83880"/>
          </a:xfrm>
        </p:grpSpPr>
        <mc:AlternateContent xmlns:mc="http://schemas.openxmlformats.org/markup-compatibility/2006">
          <mc:Choice xmlns:p14="http://schemas.microsoft.com/office/powerpoint/2010/main" Requires="p14">
            <p:contentPart p14:bwMode="auto" r:id="rId74">
              <p14:nvContentPartPr>
                <p14:cNvPr id="50" name="Ink 49">
                  <a:extLst>
                    <a:ext uri="{FF2B5EF4-FFF2-40B4-BE49-F238E27FC236}">
                      <a16:creationId xmlns:a16="http://schemas.microsoft.com/office/drawing/2014/main" id="{F4B58935-9985-142F-0306-DA32EA4CA0AF}"/>
                    </a:ext>
                  </a:extLst>
                </p14:cNvPr>
                <p14:cNvContentPartPr/>
                <p14:nvPr/>
              </p14:nvContentPartPr>
              <p14:xfrm>
                <a:off x="5052683" y="3459837"/>
                <a:ext cx="136440" cy="24120"/>
              </p14:xfrm>
            </p:contentPart>
          </mc:Choice>
          <mc:Fallback>
            <p:pic>
              <p:nvPicPr>
                <p:cNvPr id="50" name="Ink 49">
                  <a:extLst>
                    <a:ext uri="{FF2B5EF4-FFF2-40B4-BE49-F238E27FC236}">
                      <a16:creationId xmlns:a16="http://schemas.microsoft.com/office/drawing/2014/main" id="{F4B58935-9985-142F-0306-DA32EA4CA0AF}"/>
                    </a:ext>
                  </a:extLst>
                </p:cNvPr>
                <p:cNvPicPr/>
                <p:nvPr/>
              </p:nvPicPr>
              <p:blipFill>
                <a:blip r:embed="rId75"/>
                <a:stretch>
                  <a:fillRect/>
                </a:stretch>
              </p:blipFill>
              <p:spPr>
                <a:xfrm>
                  <a:off x="5037563" y="3444717"/>
                  <a:ext cx="166680" cy="54720"/>
                </a:xfrm>
                <a:prstGeom prst="rect">
                  <a:avLst/>
                </a:prstGeom>
              </p:spPr>
            </p:pic>
          </mc:Fallback>
        </mc:AlternateContent>
        <mc:AlternateContent xmlns:mc="http://schemas.openxmlformats.org/markup-compatibility/2006">
          <mc:Choice xmlns:p14="http://schemas.microsoft.com/office/powerpoint/2010/main" Requires="p14">
            <p:contentPart p14:bwMode="auto" r:id="rId76">
              <p14:nvContentPartPr>
                <p14:cNvPr id="51" name="Ink 50">
                  <a:extLst>
                    <a:ext uri="{FF2B5EF4-FFF2-40B4-BE49-F238E27FC236}">
                      <a16:creationId xmlns:a16="http://schemas.microsoft.com/office/drawing/2014/main" id="{333B54EF-4067-1E00-3265-8C44AC3F261A}"/>
                    </a:ext>
                  </a:extLst>
                </p14:cNvPr>
                <p14:cNvContentPartPr/>
                <p14:nvPr/>
              </p14:nvContentPartPr>
              <p14:xfrm>
                <a:off x="5046923" y="3521037"/>
                <a:ext cx="178200" cy="22680"/>
              </p14:xfrm>
            </p:contentPart>
          </mc:Choice>
          <mc:Fallback>
            <p:pic>
              <p:nvPicPr>
                <p:cNvPr id="51" name="Ink 50">
                  <a:extLst>
                    <a:ext uri="{FF2B5EF4-FFF2-40B4-BE49-F238E27FC236}">
                      <a16:creationId xmlns:a16="http://schemas.microsoft.com/office/drawing/2014/main" id="{333B54EF-4067-1E00-3265-8C44AC3F261A}"/>
                    </a:ext>
                  </a:extLst>
                </p:cNvPr>
                <p:cNvPicPr/>
                <p:nvPr/>
              </p:nvPicPr>
              <p:blipFill>
                <a:blip r:embed="rId77"/>
                <a:stretch>
                  <a:fillRect/>
                </a:stretch>
              </p:blipFill>
              <p:spPr>
                <a:xfrm>
                  <a:off x="5031443" y="3505917"/>
                  <a:ext cx="208800" cy="5328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78">
            <p14:nvContentPartPr>
              <p14:cNvPr id="45" name="Ink 44">
                <a:extLst>
                  <a:ext uri="{FF2B5EF4-FFF2-40B4-BE49-F238E27FC236}">
                    <a16:creationId xmlns:a16="http://schemas.microsoft.com/office/drawing/2014/main" id="{4A552974-F901-EDE1-25C1-FF80FC80F39A}"/>
                  </a:ext>
                </a:extLst>
              </p14:cNvPr>
              <p14:cNvContentPartPr/>
              <p14:nvPr/>
            </p14:nvContentPartPr>
            <p14:xfrm>
              <a:off x="6712283" y="2900037"/>
              <a:ext cx="257400" cy="15840"/>
            </p14:xfrm>
          </p:contentPart>
        </mc:Choice>
        <mc:Fallback>
          <p:pic>
            <p:nvPicPr>
              <p:cNvPr id="45" name="Ink 44">
                <a:extLst>
                  <a:ext uri="{FF2B5EF4-FFF2-40B4-BE49-F238E27FC236}">
                    <a16:creationId xmlns:a16="http://schemas.microsoft.com/office/drawing/2014/main" id="{4A552974-F901-EDE1-25C1-FF80FC80F39A}"/>
                  </a:ext>
                </a:extLst>
              </p:cNvPr>
              <p:cNvPicPr/>
              <p:nvPr/>
            </p:nvPicPr>
            <p:blipFill>
              <a:blip r:embed="rId79"/>
              <a:stretch>
                <a:fillRect/>
              </a:stretch>
            </p:blipFill>
            <p:spPr>
              <a:xfrm>
                <a:off x="6696803" y="2884917"/>
                <a:ext cx="287640" cy="46440"/>
              </a:xfrm>
              <a:prstGeom prst="rect">
                <a:avLst/>
              </a:prstGeom>
            </p:spPr>
          </p:pic>
        </mc:Fallback>
      </mc:AlternateContent>
      <mc:AlternateContent xmlns:mc="http://schemas.openxmlformats.org/markup-compatibility/2006">
        <mc:Choice xmlns:p14="http://schemas.microsoft.com/office/powerpoint/2010/main" Requires="p14">
          <p:contentPart p14:bwMode="auto" r:id="rId80">
            <p14:nvContentPartPr>
              <p14:cNvPr id="46" name="Ink 45">
                <a:extLst>
                  <a:ext uri="{FF2B5EF4-FFF2-40B4-BE49-F238E27FC236}">
                    <a16:creationId xmlns:a16="http://schemas.microsoft.com/office/drawing/2014/main" id="{D3705F5B-2B2C-E5E6-CDB4-55F0B264E8C3}"/>
                  </a:ext>
                </a:extLst>
              </p14:cNvPr>
              <p14:cNvContentPartPr/>
              <p14:nvPr/>
            </p14:nvContentPartPr>
            <p14:xfrm>
              <a:off x="7452083" y="2903997"/>
              <a:ext cx="288000" cy="15120"/>
            </p14:xfrm>
          </p:contentPart>
        </mc:Choice>
        <mc:Fallback>
          <p:pic>
            <p:nvPicPr>
              <p:cNvPr id="46" name="Ink 45">
                <a:extLst>
                  <a:ext uri="{FF2B5EF4-FFF2-40B4-BE49-F238E27FC236}">
                    <a16:creationId xmlns:a16="http://schemas.microsoft.com/office/drawing/2014/main" id="{D3705F5B-2B2C-E5E6-CDB4-55F0B264E8C3}"/>
                  </a:ext>
                </a:extLst>
              </p:cNvPr>
              <p:cNvPicPr/>
              <p:nvPr/>
            </p:nvPicPr>
            <p:blipFill>
              <a:blip r:embed="rId81"/>
              <a:stretch>
                <a:fillRect/>
              </a:stretch>
            </p:blipFill>
            <p:spPr>
              <a:xfrm>
                <a:off x="7436963" y="2888517"/>
                <a:ext cx="318600" cy="45360"/>
              </a:xfrm>
              <a:prstGeom prst="rect">
                <a:avLst/>
              </a:prstGeom>
            </p:spPr>
          </p:pic>
        </mc:Fallback>
      </mc:AlternateContent>
      <mc:AlternateContent xmlns:mc="http://schemas.openxmlformats.org/markup-compatibility/2006">
        <mc:Choice xmlns:p14="http://schemas.microsoft.com/office/powerpoint/2010/main" Requires="p14">
          <p:contentPart p14:bwMode="auto" r:id="rId82">
            <p14:nvContentPartPr>
              <p14:cNvPr id="47" name="Ink 46">
                <a:extLst>
                  <a:ext uri="{FF2B5EF4-FFF2-40B4-BE49-F238E27FC236}">
                    <a16:creationId xmlns:a16="http://schemas.microsoft.com/office/drawing/2014/main" id="{9F5EFED4-2622-7A26-E7E7-59F51758B9C5}"/>
                  </a:ext>
                </a:extLst>
              </p14:cNvPr>
              <p14:cNvContentPartPr/>
              <p14:nvPr/>
            </p14:nvContentPartPr>
            <p14:xfrm>
              <a:off x="8109443" y="2888517"/>
              <a:ext cx="178200" cy="8280"/>
            </p14:xfrm>
          </p:contentPart>
        </mc:Choice>
        <mc:Fallback>
          <p:pic>
            <p:nvPicPr>
              <p:cNvPr id="47" name="Ink 46">
                <a:extLst>
                  <a:ext uri="{FF2B5EF4-FFF2-40B4-BE49-F238E27FC236}">
                    <a16:creationId xmlns:a16="http://schemas.microsoft.com/office/drawing/2014/main" id="{9F5EFED4-2622-7A26-E7E7-59F51758B9C5}"/>
                  </a:ext>
                </a:extLst>
              </p:cNvPr>
              <p:cNvPicPr/>
              <p:nvPr/>
            </p:nvPicPr>
            <p:blipFill>
              <a:blip r:embed="rId83"/>
              <a:stretch>
                <a:fillRect/>
              </a:stretch>
            </p:blipFill>
            <p:spPr>
              <a:xfrm>
                <a:off x="8093963" y="2873397"/>
                <a:ext cx="208800" cy="38880"/>
              </a:xfrm>
              <a:prstGeom prst="rect">
                <a:avLst/>
              </a:prstGeom>
            </p:spPr>
          </p:pic>
        </mc:Fallback>
      </mc:AlternateContent>
      <mc:AlternateContent xmlns:mc="http://schemas.openxmlformats.org/markup-compatibility/2006">
        <mc:Choice xmlns:p14="http://schemas.microsoft.com/office/powerpoint/2010/main" Requires="p14">
          <p:contentPart p14:bwMode="auto" r:id="rId84">
            <p14:nvContentPartPr>
              <p14:cNvPr id="53" name="Ink 52">
                <a:extLst>
                  <a:ext uri="{FF2B5EF4-FFF2-40B4-BE49-F238E27FC236}">
                    <a16:creationId xmlns:a16="http://schemas.microsoft.com/office/drawing/2014/main" id="{F5CB675E-D3B7-D102-08D8-781CDA52DB27}"/>
                  </a:ext>
                </a:extLst>
              </p14:cNvPr>
              <p14:cNvContentPartPr/>
              <p14:nvPr/>
            </p14:nvContentPartPr>
            <p14:xfrm>
              <a:off x="6709403" y="3417717"/>
              <a:ext cx="1821960" cy="164520"/>
            </p14:xfrm>
          </p:contentPart>
        </mc:Choice>
        <mc:Fallback>
          <p:pic>
            <p:nvPicPr>
              <p:cNvPr id="53" name="Ink 52">
                <a:extLst>
                  <a:ext uri="{FF2B5EF4-FFF2-40B4-BE49-F238E27FC236}">
                    <a16:creationId xmlns:a16="http://schemas.microsoft.com/office/drawing/2014/main" id="{F5CB675E-D3B7-D102-08D8-781CDA52DB27}"/>
                  </a:ext>
                </a:extLst>
              </p:cNvPr>
              <p:cNvPicPr/>
              <p:nvPr/>
            </p:nvPicPr>
            <p:blipFill>
              <a:blip r:embed="rId85"/>
              <a:stretch>
                <a:fillRect/>
              </a:stretch>
            </p:blipFill>
            <p:spPr>
              <a:xfrm>
                <a:off x="6694283" y="3402237"/>
                <a:ext cx="1852560" cy="194760"/>
              </a:xfrm>
              <a:prstGeom prst="rect">
                <a:avLst/>
              </a:prstGeom>
            </p:spPr>
          </p:pic>
        </mc:Fallback>
      </mc:AlternateContent>
      <mc:AlternateContent xmlns:mc="http://schemas.openxmlformats.org/markup-compatibility/2006">
        <mc:Choice xmlns:p14="http://schemas.microsoft.com/office/powerpoint/2010/main" Requires="p14">
          <p:contentPart p14:bwMode="auto" r:id="rId86">
            <p14:nvContentPartPr>
              <p14:cNvPr id="54" name="Ink 53">
                <a:extLst>
                  <a:ext uri="{FF2B5EF4-FFF2-40B4-BE49-F238E27FC236}">
                    <a16:creationId xmlns:a16="http://schemas.microsoft.com/office/drawing/2014/main" id="{EC186D24-CB96-3E86-B1B8-16B217924B2C}"/>
                  </a:ext>
                </a:extLst>
              </p14:cNvPr>
              <p14:cNvContentPartPr/>
              <p14:nvPr/>
            </p14:nvContentPartPr>
            <p14:xfrm>
              <a:off x="6629123" y="3041877"/>
              <a:ext cx="54000" cy="309240"/>
            </p14:xfrm>
          </p:contentPart>
        </mc:Choice>
        <mc:Fallback>
          <p:pic>
            <p:nvPicPr>
              <p:cNvPr id="54" name="Ink 53">
                <a:extLst>
                  <a:ext uri="{FF2B5EF4-FFF2-40B4-BE49-F238E27FC236}">
                    <a16:creationId xmlns:a16="http://schemas.microsoft.com/office/drawing/2014/main" id="{EC186D24-CB96-3E86-B1B8-16B217924B2C}"/>
                  </a:ext>
                </a:extLst>
              </p:cNvPr>
              <p:cNvPicPr/>
              <p:nvPr/>
            </p:nvPicPr>
            <p:blipFill>
              <a:blip r:embed="rId87"/>
              <a:stretch>
                <a:fillRect/>
              </a:stretch>
            </p:blipFill>
            <p:spPr>
              <a:xfrm>
                <a:off x="6614003" y="3026757"/>
                <a:ext cx="84240" cy="339840"/>
              </a:xfrm>
              <a:prstGeom prst="rect">
                <a:avLst/>
              </a:prstGeom>
            </p:spPr>
          </p:pic>
        </mc:Fallback>
      </mc:AlternateContent>
      <mc:AlternateContent xmlns:mc="http://schemas.openxmlformats.org/markup-compatibility/2006">
        <mc:Choice xmlns:p14="http://schemas.microsoft.com/office/powerpoint/2010/main" Requires="p14">
          <p:contentPart p14:bwMode="auto" r:id="rId88">
            <p14:nvContentPartPr>
              <p14:cNvPr id="55" name="Ink 54">
                <a:extLst>
                  <a:ext uri="{FF2B5EF4-FFF2-40B4-BE49-F238E27FC236}">
                    <a16:creationId xmlns:a16="http://schemas.microsoft.com/office/drawing/2014/main" id="{5296C5CE-5E60-867D-084B-90BF560035AE}"/>
                  </a:ext>
                </a:extLst>
              </p14:cNvPr>
              <p14:cNvContentPartPr/>
              <p14:nvPr/>
            </p14:nvContentPartPr>
            <p14:xfrm>
              <a:off x="6679883" y="3006237"/>
              <a:ext cx="2174760" cy="529560"/>
            </p14:xfrm>
          </p:contentPart>
        </mc:Choice>
        <mc:Fallback>
          <p:pic>
            <p:nvPicPr>
              <p:cNvPr id="55" name="Ink 54">
                <a:extLst>
                  <a:ext uri="{FF2B5EF4-FFF2-40B4-BE49-F238E27FC236}">
                    <a16:creationId xmlns:a16="http://schemas.microsoft.com/office/drawing/2014/main" id="{5296C5CE-5E60-867D-084B-90BF560035AE}"/>
                  </a:ext>
                </a:extLst>
              </p:cNvPr>
              <p:cNvPicPr/>
              <p:nvPr/>
            </p:nvPicPr>
            <p:blipFill>
              <a:blip r:embed="rId89"/>
              <a:stretch>
                <a:fillRect/>
              </a:stretch>
            </p:blipFill>
            <p:spPr>
              <a:xfrm>
                <a:off x="6664403" y="2991117"/>
                <a:ext cx="2205360" cy="559800"/>
              </a:xfrm>
              <a:prstGeom prst="rect">
                <a:avLst/>
              </a:prstGeom>
            </p:spPr>
          </p:pic>
        </mc:Fallback>
      </mc:AlternateContent>
      <mc:AlternateContent xmlns:mc="http://schemas.openxmlformats.org/markup-compatibility/2006">
        <mc:Choice xmlns:p14="http://schemas.microsoft.com/office/powerpoint/2010/main" Requires="p14">
          <p:contentPart p14:bwMode="auto" r:id="rId90">
            <p14:nvContentPartPr>
              <p14:cNvPr id="56" name="Ink 55">
                <a:extLst>
                  <a:ext uri="{FF2B5EF4-FFF2-40B4-BE49-F238E27FC236}">
                    <a16:creationId xmlns:a16="http://schemas.microsoft.com/office/drawing/2014/main" id="{707E1782-9915-6CE8-A4B9-21ED15434665}"/>
                  </a:ext>
                </a:extLst>
              </p14:cNvPr>
              <p14:cNvContentPartPr/>
              <p14:nvPr/>
            </p14:nvContentPartPr>
            <p14:xfrm>
              <a:off x="6623003" y="3247437"/>
              <a:ext cx="236520" cy="256320"/>
            </p14:xfrm>
          </p:contentPart>
        </mc:Choice>
        <mc:Fallback>
          <p:pic>
            <p:nvPicPr>
              <p:cNvPr id="56" name="Ink 55">
                <a:extLst>
                  <a:ext uri="{FF2B5EF4-FFF2-40B4-BE49-F238E27FC236}">
                    <a16:creationId xmlns:a16="http://schemas.microsoft.com/office/drawing/2014/main" id="{707E1782-9915-6CE8-A4B9-21ED15434665}"/>
                  </a:ext>
                </a:extLst>
              </p:cNvPr>
              <p:cNvPicPr/>
              <p:nvPr/>
            </p:nvPicPr>
            <p:blipFill>
              <a:blip r:embed="rId91"/>
              <a:stretch>
                <a:fillRect/>
              </a:stretch>
            </p:blipFill>
            <p:spPr>
              <a:xfrm>
                <a:off x="6607523" y="3232317"/>
                <a:ext cx="267120" cy="286560"/>
              </a:xfrm>
              <a:prstGeom prst="rect">
                <a:avLst/>
              </a:prstGeom>
            </p:spPr>
          </p:pic>
        </mc:Fallback>
      </mc:AlternateContent>
      <mc:AlternateContent xmlns:mc="http://schemas.openxmlformats.org/markup-compatibility/2006">
        <mc:Choice xmlns:p14="http://schemas.microsoft.com/office/powerpoint/2010/main" Requires="p14">
          <p:contentPart p14:bwMode="auto" r:id="rId92">
            <p14:nvContentPartPr>
              <p14:cNvPr id="58" name="Ink 57">
                <a:extLst>
                  <a:ext uri="{FF2B5EF4-FFF2-40B4-BE49-F238E27FC236}">
                    <a16:creationId xmlns:a16="http://schemas.microsoft.com/office/drawing/2014/main" id="{FA61F9B7-9266-5D51-456D-C92616A89365}"/>
                  </a:ext>
                </a:extLst>
              </p14:cNvPr>
              <p14:cNvContentPartPr/>
              <p14:nvPr/>
            </p14:nvContentPartPr>
            <p14:xfrm>
              <a:off x="6527243" y="2395677"/>
              <a:ext cx="2247840" cy="546480"/>
            </p14:xfrm>
          </p:contentPart>
        </mc:Choice>
        <mc:Fallback>
          <p:pic>
            <p:nvPicPr>
              <p:cNvPr id="58" name="Ink 57">
                <a:extLst>
                  <a:ext uri="{FF2B5EF4-FFF2-40B4-BE49-F238E27FC236}">
                    <a16:creationId xmlns:a16="http://schemas.microsoft.com/office/drawing/2014/main" id="{FA61F9B7-9266-5D51-456D-C92616A89365}"/>
                  </a:ext>
                </a:extLst>
              </p:cNvPr>
              <p:cNvPicPr/>
              <p:nvPr/>
            </p:nvPicPr>
            <p:blipFill>
              <a:blip r:embed="rId93"/>
              <a:stretch>
                <a:fillRect/>
              </a:stretch>
            </p:blipFill>
            <p:spPr>
              <a:xfrm>
                <a:off x="6511763" y="2380557"/>
                <a:ext cx="2278440" cy="577080"/>
              </a:xfrm>
              <a:prstGeom prst="rect">
                <a:avLst/>
              </a:prstGeom>
            </p:spPr>
          </p:pic>
        </mc:Fallback>
      </mc:AlternateContent>
      <mc:AlternateContent xmlns:mc="http://schemas.openxmlformats.org/markup-compatibility/2006">
        <mc:Choice xmlns:p14="http://schemas.microsoft.com/office/powerpoint/2010/main" Requires="p14">
          <p:contentPart p14:bwMode="auto" r:id="rId94">
            <p14:nvContentPartPr>
              <p14:cNvPr id="60" name="Ink 59">
                <a:extLst>
                  <a:ext uri="{FF2B5EF4-FFF2-40B4-BE49-F238E27FC236}">
                    <a16:creationId xmlns:a16="http://schemas.microsoft.com/office/drawing/2014/main" id="{69D1BB18-D05F-EC42-59D7-4B7B3B7333D4}"/>
                  </a:ext>
                </a:extLst>
              </p14:cNvPr>
              <p14:cNvContentPartPr/>
              <p14:nvPr/>
            </p14:nvContentPartPr>
            <p14:xfrm>
              <a:off x="6502763" y="3019557"/>
              <a:ext cx="362880" cy="421200"/>
            </p14:xfrm>
          </p:contentPart>
        </mc:Choice>
        <mc:Fallback>
          <p:pic>
            <p:nvPicPr>
              <p:cNvPr id="60" name="Ink 59">
                <a:extLst>
                  <a:ext uri="{FF2B5EF4-FFF2-40B4-BE49-F238E27FC236}">
                    <a16:creationId xmlns:a16="http://schemas.microsoft.com/office/drawing/2014/main" id="{69D1BB18-D05F-EC42-59D7-4B7B3B7333D4}"/>
                  </a:ext>
                </a:extLst>
              </p:cNvPr>
              <p:cNvPicPr/>
              <p:nvPr/>
            </p:nvPicPr>
            <p:blipFill>
              <a:blip r:embed="rId95"/>
              <a:stretch>
                <a:fillRect/>
              </a:stretch>
            </p:blipFill>
            <p:spPr>
              <a:xfrm>
                <a:off x="6487643" y="3004077"/>
                <a:ext cx="393480" cy="451800"/>
              </a:xfrm>
              <a:prstGeom prst="rect">
                <a:avLst/>
              </a:prstGeom>
            </p:spPr>
          </p:pic>
        </mc:Fallback>
      </mc:AlternateContent>
      <mc:AlternateContent xmlns:mc="http://schemas.openxmlformats.org/markup-compatibility/2006">
        <mc:Choice xmlns:p14="http://schemas.microsoft.com/office/powerpoint/2010/main" Requires="p14">
          <p:contentPart p14:bwMode="auto" r:id="rId96">
            <p14:nvContentPartPr>
              <p14:cNvPr id="61" name="Ink 60">
                <a:extLst>
                  <a:ext uri="{FF2B5EF4-FFF2-40B4-BE49-F238E27FC236}">
                    <a16:creationId xmlns:a16="http://schemas.microsoft.com/office/drawing/2014/main" id="{96A6160E-7E52-1048-E058-773DEF577038}"/>
                  </a:ext>
                </a:extLst>
              </p14:cNvPr>
              <p14:cNvContentPartPr/>
              <p14:nvPr/>
            </p14:nvContentPartPr>
            <p14:xfrm>
              <a:off x="6677003" y="3466317"/>
              <a:ext cx="927720" cy="96840"/>
            </p14:xfrm>
          </p:contentPart>
        </mc:Choice>
        <mc:Fallback>
          <p:pic>
            <p:nvPicPr>
              <p:cNvPr id="61" name="Ink 60">
                <a:extLst>
                  <a:ext uri="{FF2B5EF4-FFF2-40B4-BE49-F238E27FC236}">
                    <a16:creationId xmlns:a16="http://schemas.microsoft.com/office/drawing/2014/main" id="{96A6160E-7E52-1048-E058-773DEF577038}"/>
                  </a:ext>
                </a:extLst>
              </p:cNvPr>
              <p:cNvPicPr/>
              <p:nvPr/>
            </p:nvPicPr>
            <p:blipFill>
              <a:blip r:embed="rId97"/>
              <a:stretch>
                <a:fillRect/>
              </a:stretch>
            </p:blipFill>
            <p:spPr>
              <a:xfrm>
                <a:off x="6661883" y="3451197"/>
                <a:ext cx="957960" cy="127440"/>
              </a:xfrm>
              <a:prstGeom prst="rect">
                <a:avLst/>
              </a:prstGeom>
            </p:spPr>
          </p:pic>
        </mc:Fallback>
      </mc:AlternateContent>
      <mc:AlternateContent xmlns:mc="http://schemas.openxmlformats.org/markup-compatibility/2006">
        <mc:Choice xmlns:p14="http://schemas.microsoft.com/office/powerpoint/2010/main" Requires="p14">
          <p:contentPart p14:bwMode="auto" r:id="rId98">
            <p14:nvContentPartPr>
              <p14:cNvPr id="63" name="Ink 62">
                <a:extLst>
                  <a:ext uri="{FF2B5EF4-FFF2-40B4-BE49-F238E27FC236}">
                    <a16:creationId xmlns:a16="http://schemas.microsoft.com/office/drawing/2014/main" id="{52ED4899-B2CF-DBB1-D6DD-CF92D981CA42}"/>
                  </a:ext>
                </a:extLst>
              </p14:cNvPr>
              <p14:cNvContentPartPr/>
              <p14:nvPr/>
            </p14:nvContentPartPr>
            <p14:xfrm>
              <a:off x="1304003" y="2441757"/>
              <a:ext cx="52920" cy="184680"/>
            </p14:xfrm>
          </p:contentPart>
        </mc:Choice>
        <mc:Fallback>
          <p:pic>
            <p:nvPicPr>
              <p:cNvPr id="63" name="Ink 62">
                <a:extLst>
                  <a:ext uri="{FF2B5EF4-FFF2-40B4-BE49-F238E27FC236}">
                    <a16:creationId xmlns:a16="http://schemas.microsoft.com/office/drawing/2014/main" id="{52ED4899-B2CF-DBB1-D6DD-CF92D981CA42}"/>
                  </a:ext>
                </a:extLst>
              </p:cNvPr>
              <p:cNvPicPr/>
              <p:nvPr/>
            </p:nvPicPr>
            <p:blipFill>
              <a:blip r:embed="rId99"/>
              <a:stretch>
                <a:fillRect/>
              </a:stretch>
            </p:blipFill>
            <p:spPr>
              <a:xfrm>
                <a:off x="1288883" y="2426637"/>
                <a:ext cx="83520" cy="214920"/>
              </a:xfrm>
              <a:prstGeom prst="rect">
                <a:avLst/>
              </a:prstGeom>
            </p:spPr>
          </p:pic>
        </mc:Fallback>
      </mc:AlternateContent>
      <mc:AlternateContent xmlns:mc="http://schemas.openxmlformats.org/markup-compatibility/2006">
        <mc:Choice xmlns:p14="http://schemas.microsoft.com/office/powerpoint/2010/main" Requires="p14">
          <p:contentPart p14:bwMode="auto" r:id="rId100">
            <p14:nvContentPartPr>
              <p14:cNvPr id="64" name="Ink 63">
                <a:extLst>
                  <a:ext uri="{FF2B5EF4-FFF2-40B4-BE49-F238E27FC236}">
                    <a16:creationId xmlns:a16="http://schemas.microsoft.com/office/drawing/2014/main" id="{099A4084-86FB-519D-596E-FA442BF48B3C}"/>
                  </a:ext>
                </a:extLst>
              </p14:cNvPr>
              <p14:cNvContentPartPr/>
              <p14:nvPr/>
            </p14:nvContentPartPr>
            <p14:xfrm>
              <a:off x="2025443" y="3155637"/>
              <a:ext cx="10080" cy="85320"/>
            </p14:xfrm>
          </p:contentPart>
        </mc:Choice>
        <mc:Fallback>
          <p:pic>
            <p:nvPicPr>
              <p:cNvPr id="64" name="Ink 63">
                <a:extLst>
                  <a:ext uri="{FF2B5EF4-FFF2-40B4-BE49-F238E27FC236}">
                    <a16:creationId xmlns:a16="http://schemas.microsoft.com/office/drawing/2014/main" id="{099A4084-86FB-519D-596E-FA442BF48B3C}"/>
                  </a:ext>
                </a:extLst>
              </p:cNvPr>
              <p:cNvPicPr/>
              <p:nvPr/>
            </p:nvPicPr>
            <p:blipFill>
              <a:blip r:embed="rId101"/>
              <a:stretch>
                <a:fillRect/>
              </a:stretch>
            </p:blipFill>
            <p:spPr>
              <a:xfrm>
                <a:off x="2009963" y="3140157"/>
                <a:ext cx="40680" cy="115560"/>
              </a:xfrm>
              <a:prstGeom prst="rect">
                <a:avLst/>
              </a:prstGeom>
            </p:spPr>
          </p:pic>
        </mc:Fallback>
      </mc:AlternateContent>
      <p:grpSp>
        <p:nvGrpSpPr>
          <p:cNvPr id="66" name="Group 65">
            <a:extLst>
              <a:ext uri="{FF2B5EF4-FFF2-40B4-BE49-F238E27FC236}">
                <a16:creationId xmlns:a16="http://schemas.microsoft.com/office/drawing/2014/main" id="{FCC79A19-269C-7746-071C-101DC75E62B4}"/>
              </a:ext>
            </a:extLst>
          </p:cNvPr>
          <p:cNvGrpSpPr/>
          <p:nvPr/>
        </p:nvGrpSpPr>
        <p:grpSpPr>
          <a:xfrm>
            <a:off x="6835043" y="1586397"/>
            <a:ext cx="1123560" cy="833400"/>
            <a:chOff x="6835043" y="1586397"/>
            <a:chExt cx="1123560" cy="833400"/>
          </a:xfrm>
        </p:grpSpPr>
        <mc:AlternateContent xmlns:mc="http://schemas.openxmlformats.org/markup-compatibility/2006">
          <mc:Choice xmlns:p14="http://schemas.microsoft.com/office/powerpoint/2010/main" Requires="p14">
            <p:contentPart p14:bwMode="auto" r:id="rId102">
              <p14:nvContentPartPr>
                <p14:cNvPr id="29" name="Ink 28">
                  <a:extLst>
                    <a:ext uri="{FF2B5EF4-FFF2-40B4-BE49-F238E27FC236}">
                      <a16:creationId xmlns:a16="http://schemas.microsoft.com/office/drawing/2014/main" id="{91DDA4CD-B746-AD4B-844A-379C6D187EB9}"/>
                    </a:ext>
                  </a:extLst>
                </p14:cNvPr>
                <p14:cNvContentPartPr/>
                <p14:nvPr/>
              </p14:nvContentPartPr>
              <p14:xfrm>
                <a:off x="6835043" y="1811757"/>
                <a:ext cx="460080" cy="557640"/>
              </p14:xfrm>
            </p:contentPart>
          </mc:Choice>
          <mc:Fallback>
            <p:pic>
              <p:nvPicPr>
                <p:cNvPr id="29" name="Ink 28">
                  <a:extLst>
                    <a:ext uri="{FF2B5EF4-FFF2-40B4-BE49-F238E27FC236}">
                      <a16:creationId xmlns:a16="http://schemas.microsoft.com/office/drawing/2014/main" id="{91DDA4CD-B746-AD4B-844A-379C6D187EB9}"/>
                    </a:ext>
                  </a:extLst>
                </p:cNvPr>
                <p:cNvPicPr/>
                <p:nvPr/>
              </p:nvPicPr>
              <p:blipFill>
                <a:blip r:embed="rId103"/>
                <a:stretch>
                  <a:fillRect/>
                </a:stretch>
              </p:blipFill>
              <p:spPr>
                <a:xfrm>
                  <a:off x="6819563" y="1796277"/>
                  <a:ext cx="490320" cy="588240"/>
                </a:xfrm>
                <a:prstGeom prst="rect">
                  <a:avLst/>
                </a:prstGeom>
              </p:spPr>
            </p:pic>
          </mc:Fallback>
        </mc:AlternateContent>
        <mc:AlternateContent xmlns:mc="http://schemas.openxmlformats.org/markup-compatibility/2006">
          <mc:Choice xmlns:p14="http://schemas.microsoft.com/office/powerpoint/2010/main" Requires="p14">
            <p:contentPart p14:bwMode="auto" r:id="rId104">
              <p14:nvContentPartPr>
                <p14:cNvPr id="30" name="Ink 29">
                  <a:extLst>
                    <a:ext uri="{FF2B5EF4-FFF2-40B4-BE49-F238E27FC236}">
                      <a16:creationId xmlns:a16="http://schemas.microsoft.com/office/drawing/2014/main" id="{4C8159FB-8604-C5E9-E0E9-490FC7443872}"/>
                    </a:ext>
                  </a:extLst>
                </p14:cNvPr>
                <p14:cNvContentPartPr/>
                <p14:nvPr/>
              </p14:nvContentPartPr>
              <p14:xfrm>
                <a:off x="7556843" y="1881957"/>
                <a:ext cx="304920" cy="448200"/>
              </p14:xfrm>
            </p:contentPart>
          </mc:Choice>
          <mc:Fallback>
            <p:pic>
              <p:nvPicPr>
                <p:cNvPr id="30" name="Ink 29">
                  <a:extLst>
                    <a:ext uri="{FF2B5EF4-FFF2-40B4-BE49-F238E27FC236}">
                      <a16:creationId xmlns:a16="http://schemas.microsoft.com/office/drawing/2014/main" id="{4C8159FB-8604-C5E9-E0E9-490FC7443872}"/>
                    </a:ext>
                  </a:extLst>
                </p:cNvPr>
                <p:cNvPicPr/>
                <p:nvPr/>
              </p:nvPicPr>
              <p:blipFill>
                <a:blip r:embed="rId105"/>
                <a:stretch>
                  <a:fillRect/>
                </a:stretch>
              </p:blipFill>
              <p:spPr>
                <a:xfrm>
                  <a:off x="7541363" y="1866837"/>
                  <a:ext cx="335520" cy="478800"/>
                </a:xfrm>
                <a:prstGeom prst="rect">
                  <a:avLst/>
                </a:prstGeom>
              </p:spPr>
            </p:pic>
          </mc:Fallback>
        </mc:AlternateContent>
        <mc:AlternateContent xmlns:mc="http://schemas.openxmlformats.org/markup-compatibility/2006">
          <mc:Choice xmlns:p14="http://schemas.microsoft.com/office/powerpoint/2010/main" Requires="p14">
            <p:contentPart p14:bwMode="auto" r:id="rId106">
              <p14:nvContentPartPr>
                <p14:cNvPr id="65" name="Ink 64">
                  <a:extLst>
                    <a:ext uri="{FF2B5EF4-FFF2-40B4-BE49-F238E27FC236}">
                      <a16:creationId xmlns:a16="http://schemas.microsoft.com/office/drawing/2014/main" id="{9456259A-0CD5-5274-A2C4-55880514BC54}"/>
                    </a:ext>
                  </a:extLst>
                </p14:cNvPr>
                <p14:cNvContentPartPr/>
                <p14:nvPr/>
              </p14:nvContentPartPr>
              <p14:xfrm>
                <a:off x="6850883" y="1586397"/>
                <a:ext cx="1107720" cy="833400"/>
              </p14:xfrm>
            </p:contentPart>
          </mc:Choice>
          <mc:Fallback>
            <p:pic>
              <p:nvPicPr>
                <p:cNvPr id="65" name="Ink 64">
                  <a:extLst>
                    <a:ext uri="{FF2B5EF4-FFF2-40B4-BE49-F238E27FC236}">
                      <a16:creationId xmlns:a16="http://schemas.microsoft.com/office/drawing/2014/main" id="{9456259A-0CD5-5274-A2C4-55880514BC54}"/>
                    </a:ext>
                  </a:extLst>
                </p:cNvPr>
                <p:cNvPicPr/>
                <p:nvPr/>
              </p:nvPicPr>
              <p:blipFill>
                <a:blip r:embed="rId107"/>
                <a:stretch>
                  <a:fillRect/>
                </a:stretch>
              </p:blipFill>
              <p:spPr>
                <a:xfrm>
                  <a:off x="6835763" y="1571277"/>
                  <a:ext cx="1138320" cy="86400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108">
            <p14:nvContentPartPr>
              <p14:cNvPr id="67" name="Ink 66">
                <a:extLst>
                  <a:ext uri="{FF2B5EF4-FFF2-40B4-BE49-F238E27FC236}">
                    <a16:creationId xmlns:a16="http://schemas.microsoft.com/office/drawing/2014/main" id="{C6AC22B3-47DF-3F58-186E-4B8DD2ACD584}"/>
                  </a:ext>
                </a:extLst>
              </p14:cNvPr>
              <p14:cNvContentPartPr/>
              <p14:nvPr/>
            </p14:nvContentPartPr>
            <p14:xfrm>
              <a:off x="6734603" y="3095517"/>
              <a:ext cx="2176920" cy="496080"/>
            </p14:xfrm>
          </p:contentPart>
        </mc:Choice>
        <mc:Fallback>
          <p:pic>
            <p:nvPicPr>
              <p:cNvPr id="67" name="Ink 66">
                <a:extLst>
                  <a:ext uri="{FF2B5EF4-FFF2-40B4-BE49-F238E27FC236}">
                    <a16:creationId xmlns:a16="http://schemas.microsoft.com/office/drawing/2014/main" id="{C6AC22B3-47DF-3F58-186E-4B8DD2ACD584}"/>
                  </a:ext>
                </a:extLst>
              </p:cNvPr>
              <p:cNvPicPr/>
              <p:nvPr/>
            </p:nvPicPr>
            <p:blipFill>
              <a:blip r:embed="rId109"/>
              <a:stretch>
                <a:fillRect/>
              </a:stretch>
            </p:blipFill>
            <p:spPr>
              <a:xfrm>
                <a:off x="6719123" y="3080037"/>
                <a:ext cx="2207520" cy="526680"/>
              </a:xfrm>
              <a:prstGeom prst="rect">
                <a:avLst/>
              </a:prstGeom>
            </p:spPr>
          </p:pic>
        </mc:Fallback>
      </mc:AlternateContent>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30"/>
        <p:cNvGrpSpPr/>
        <p:nvPr/>
      </p:nvGrpSpPr>
      <p:grpSpPr>
        <a:xfrm>
          <a:off x="0" y="0"/>
          <a:ext cx="0" cy="0"/>
          <a:chOff x="0" y="0"/>
          <a:chExt cx="0" cy="0"/>
        </a:xfrm>
      </p:grpSpPr>
      <p:sp>
        <p:nvSpPr>
          <p:cNvPr id="131" name="Google Shape;131;p12"/>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2800"/>
              <a:buNone/>
            </a:pPr>
            <a:r>
              <a:rPr lang="en"/>
              <a:t>Depthwise</a:t>
            </a:r>
            <a:endParaRPr/>
          </a:p>
        </p:txBody>
      </p:sp>
      <p:pic>
        <p:nvPicPr>
          <p:cNvPr id="133" name="Google Shape;133;p12"/>
          <p:cNvPicPr preferRelativeResize="0"/>
          <p:nvPr/>
        </p:nvPicPr>
        <p:blipFill rotWithShape="1">
          <a:blip r:embed="rId3">
            <a:alphaModFix/>
          </a:blip>
          <a:srcRect/>
          <a:stretch/>
        </p:blipFill>
        <p:spPr>
          <a:xfrm>
            <a:off x="380862" y="1104695"/>
            <a:ext cx="8263676" cy="3505725"/>
          </a:xfrm>
          <a:prstGeom prst="rect">
            <a:avLst/>
          </a:prstGeom>
          <a:noFill/>
          <a:ln>
            <a:noFill/>
          </a:ln>
        </p:spPr>
      </p:pic>
      <p:grpSp>
        <p:nvGrpSpPr>
          <p:cNvPr id="5" name="Group 4">
            <a:extLst>
              <a:ext uri="{FF2B5EF4-FFF2-40B4-BE49-F238E27FC236}">
                <a16:creationId xmlns:a16="http://schemas.microsoft.com/office/drawing/2014/main" id="{CCB6E461-426C-7319-990B-D60818E218A8}"/>
              </a:ext>
            </a:extLst>
          </p:cNvPr>
          <p:cNvGrpSpPr/>
          <p:nvPr/>
        </p:nvGrpSpPr>
        <p:grpSpPr>
          <a:xfrm>
            <a:off x="7076332" y="881217"/>
            <a:ext cx="345960" cy="168120"/>
            <a:chOff x="7076332" y="881217"/>
            <a:chExt cx="345960" cy="168120"/>
          </a:xfrm>
        </p:grpSpPr>
        <mc:AlternateContent xmlns:mc="http://schemas.openxmlformats.org/markup-compatibility/2006">
          <mc:Choice xmlns:p14="http://schemas.microsoft.com/office/powerpoint/2010/main" Requires="p14">
            <p:contentPart p14:bwMode="auto" r:id="rId4">
              <p14:nvContentPartPr>
                <p14:cNvPr id="2" name="Ink 1">
                  <a:extLst>
                    <a:ext uri="{FF2B5EF4-FFF2-40B4-BE49-F238E27FC236}">
                      <a16:creationId xmlns:a16="http://schemas.microsoft.com/office/drawing/2014/main" id="{D545488D-D99B-0C8B-0767-12B81B33CD3D}"/>
                    </a:ext>
                  </a:extLst>
                </p14:cNvPr>
                <p14:cNvContentPartPr/>
                <p14:nvPr/>
              </p14:nvContentPartPr>
              <p14:xfrm>
                <a:off x="7084612" y="1000017"/>
                <a:ext cx="360" cy="32760"/>
              </p14:xfrm>
            </p:contentPart>
          </mc:Choice>
          <mc:Fallback>
            <p:pic>
              <p:nvPicPr>
                <p:cNvPr id="2" name="Ink 1">
                  <a:extLst>
                    <a:ext uri="{FF2B5EF4-FFF2-40B4-BE49-F238E27FC236}">
                      <a16:creationId xmlns:a16="http://schemas.microsoft.com/office/drawing/2014/main" id="{D545488D-D99B-0C8B-0767-12B81B33CD3D}"/>
                    </a:ext>
                  </a:extLst>
                </p:cNvPr>
                <p:cNvPicPr/>
                <p:nvPr/>
              </p:nvPicPr>
              <p:blipFill>
                <a:blip r:embed="rId5"/>
                <a:stretch>
                  <a:fillRect/>
                </a:stretch>
              </p:blipFill>
              <p:spPr>
                <a:xfrm>
                  <a:off x="7075972" y="991377"/>
                  <a:ext cx="18000" cy="5040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3" name="Ink 2">
                  <a:extLst>
                    <a:ext uri="{FF2B5EF4-FFF2-40B4-BE49-F238E27FC236}">
                      <a16:creationId xmlns:a16="http://schemas.microsoft.com/office/drawing/2014/main" id="{C914F388-74F3-D480-5F9D-E7B670DA0FD0}"/>
                    </a:ext>
                  </a:extLst>
                </p14:cNvPr>
                <p14:cNvContentPartPr/>
                <p14:nvPr/>
              </p14:nvContentPartPr>
              <p14:xfrm>
                <a:off x="7076332" y="881217"/>
                <a:ext cx="157320" cy="153000"/>
              </p14:xfrm>
            </p:contentPart>
          </mc:Choice>
          <mc:Fallback>
            <p:pic>
              <p:nvPicPr>
                <p:cNvPr id="3" name="Ink 2">
                  <a:extLst>
                    <a:ext uri="{FF2B5EF4-FFF2-40B4-BE49-F238E27FC236}">
                      <a16:creationId xmlns:a16="http://schemas.microsoft.com/office/drawing/2014/main" id="{C914F388-74F3-D480-5F9D-E7B670DA0FD0}"/>
                    </a:ext>
                  </a:extLst>
                </p:cNvPr>
                <p:cNvPicPr/>
                <p:nvPr/>
              </p:nvPicPr>
              <p:blipFill>
                <a:blip r:embed="rId7"/>
                <a:stretch>
                  <a:fillRect/>
                </a:stretch>
              </p:blipFill>
              <p:spPr>
                <a:xfrm>
                  <a:off x="7067692" y="872577"/>
                  <a:ext cx="174960" cy="17064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4" name="Ink 3">
                  <a:extLst>
                    <a:ext uri="{FF2B5EF4-FFF2-40B4-BE49-F238E27FC236}">
                      <a16:creationId xmlns:a16="http://schemas.microsoft.com/office/drawing/2014/main" id="{31114FAD-B6DC-CAC4-368C-2CD9B6E91265}"/>
                    </a:ext>
                  </a:extLst>
                </p14:cNvPr>
                <p14:cNvContentPartPr/>
                <p14:nvPr/>
              </p14:nvContentPartPr>
              <p14:xfrm>
                <a:off x="7296652" y="955737"/>
                <a:ext cx="125640" cy="93600"/>
              </p14:xfrm>
            </p:contentPart>
          </mc:Choice>
          <mc:Fallback>
            <p:pic>
              <p:nvPicPr>
                <p:cNvPr id="4" name="Ink 3">
                  <a:extLst>
                    <a:ext uri="{FF2B5EF4-FFF2-40B4-BE49-F238E27FC236}">
                      <a16:creationId xmlns:a16="http://schemas.microsoft.com/office/drawing/2014/main" id="{31114FAD-B6DC-CAC4-368C-2CD9B6E91265}"/>
                    </a:ext>
                  </a:extLst>
                </p:cNvPr>
                <p:cNvPicPr/>
                <p:nvPr/>
              </p:nvPicPr>
              <p:blipFill>
                <a:blip r:embed="rId9"/>
                <a:stretch>
                  <a:fillRect/>
                </a:stretch>
              </p:blipFill>
              <p:spPr>
                <a:xfrm>
                  <a:off x="7287652" y="946737"/>
                  <a:ext cx="143280" cy="111240"/>
                </a:xfrm>
                <a:prstGeom prst="rect">
                  <a:avLst/>
                </a:prstGeom>
              </p:spPr>
            </p:pic>
          </mc:Fallback>
        </mc:AlternateContent>
      </p:grpSp>
      <p:grpSp>
        <p:nvGrpSpPr>
          <p:cNvPr id="8" name="Group 7">
            <a:extLst>
              <a:ext uri="{FF2B5EF4-FFF2-40B4-BE49-F238E27FC236}">
                <a16:creationId xmlns:a16="http://schemas.microsoft.com/office/drawing/2014/main" id="{5F57C2C3-FD62-B0DB-D584-3D1DD7D90323}"/>
              </a:ext>
            </a:extLst>
          </p:cNvPr>
          <p:cNvGrpSpPr/>
          <p:nvPr/>
        </p:nvGrpSpPr>
        <p:grpSpPr>
          <a:xfrm>
            <a:off x="3765683" y="2062317"/>
            <a:ext cx="1283040" cy="66240"/>
            <a:chOff x="3765683" y="2062317"/>
            <a:chExt cx="1283040" cy="66240"/>
          </a:xfrm>
        </p:grpSpPr>
        <mc:AlternateContent xmlns:mc="http://schemas.openxmlformats.org/markup-compatibility/2006">
          <mc:Choice xmlns:p14="http://schemas.microsoft.com/office/powerpoint/2010/main" Requires="p14">
            <p:contentPart p14:bwMode="auto" r:id="rId10">
              <p14:nvContentPartPr>
                <p14:cNvPr id="6" name="Ink 5">
                  <a:extLst>
                    <a:ext uri="{FF2B5EF4-FFF2-40B4-BE49-F238E27FC236}">
                      <a16:creationId xmlns:a16="http://schemas.microsoft.com/office/drawing/2014/main" id="{D5554CC4-A9A4-7136-70B2-A162914C2DFD}"/>
                    </a:ext>
                  </a:extLst>
                </p14:cNvPr>
                <p14:cNvContentPartPr/>
                <p14:nvPr/>
              </p14:nvContentPartPr>
              <p14:xfrm>
                <a:off x="3765683" y="2062317"/>
                <a:ext cx="474840" cy="10800"/>
              </p14:xfrm>
            </p:contentPart>
          </mc:Choice>
          <mc:Fallback>
            <p:pic>
              <p:nvPicPr>
                <p:cNvPr id="6" name="Ink 5">
                  <a:extLst>
                    <a:ext uri="{FF2B5EF4-FFF2-40B4-BE49-F238E27FC236}">
                      <a16:creationId xmlns:a16="http://schemas.microsoft.com/office/drawing/2014/main" id="{D5554CC4-A9A4-7136-70B2-A162914C2DFD}"/>
                    </a:ext>
                  </a:extLst>
                </p:cNvPr>
                <p:cNvPicPr/>
                <p:nvPr/>
              </p:nvPicPr>
              <p:blipFill>
                <a:blip r:embed="rId11"/>
                <a:stretch>
                  <a:fillRect/>
                </a:stretch>
              </p:blipFill>
              <p:spPr>
                <a:xfrm>
                  <a:off x="3750563" y="2047197"/>
                  <a:ext cx="505440" cy="4140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7" name="Ink 6">
                  <a:extLst>
                    <a:ext uri="{FF2B5EF4-FFF2-40B4-BE49-F238E27FC236}">
                      <a16:creationId xmlns:a16="http://schemas.microsoft.com/office/drawing/2014/main" id="{E6D0CFAD-16D6-FFDB-8867-FACA5B684A43}"/>
                    </a:ext>
                  </a:extLst>
                </p14:cNvPr>
                <p14:cNvContentPartPr/>
                <p14:nvPr/>
              </p14:nvContentPartPr>
              <p14:xfrm>
                <a:off x="4496483" y="2076717"/>
                <a:ext cx="552240" cy="51840"/>
              </p14:xfrm>
            </p:contentPart>
          </mc:Choice>
          <mc:Fallback>
            <p:pic>
              <p:nvPicPr>
                <p:cNvPr id="7" name="Ink 6">
                  <a:extLst>
                    <a:ext uri="{FF2B5EF4-FFF2-40B4-BE49-F238E27FC236}">
                      <a16:creationId xmlns:a16="http://schemas.microsoft.com/office/drawing/2014/main" id="{E6D0CFAD-16D6-FFDB-8867-FACA5B684A43}"/>
                    </a:ext>
                  </a:extLst>
                </p:cNvPr>
                <p:cNvPicPr/>
                <p:nvPr/>
              </p:nvPicPr>
              <p:blipFill>
                <a:blip r:embed="rId13"/>
                <a:stretch>
                  <a:fillRect/>
                </a:stretch>
              </p:blipFill>
              <p:spPr>
                <a:xfrm>
                  <a:off x="4481363" y="2061237"/>
                  <a:ext cx="582840" cy="8208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14">
            <p14:nvContentPartPr>
              <p14:cNvPr id="9" name="Ink 8">
                <a:extLst>
                  <a:ext uri="{FF2B5EF4-FFF2-40B4-BE49-F238E27FC236}">
                    <a16:creationId xmlns:a16="http://schemas.microsoft.com/office/drawing/2014/main" id="{75F3A6DE-6F4E-06BE-1D2A-E09955EF66E1}"/>
                  </a:ext>
                </a:extLst>
              </p14:cNvPr>
              <p14:cNvContentPartPr/>
              <p14:nvPr/>
            </p14:nvContentPartPr>
            <p14:xfrm>
              <a:off x="2100323" y="3402237"/>
              <a:ext cx="582480" cy="566640"/>
            </p14:xfrm>
          </p:contentPart>
        </mc:Choice>
        <mc:Fallback>
          <p:pic>
            <p:nvPicPr>
              <p:cNvPr id="9" name="Ink 8">
                <a:extLst>
                  <a:ext uri="{FF2B5EF4-FFF2-40B4-BE49-F238E27FC236}">
                    <a16:creationId xmlns:a16="http://schemas.microsoft.com/office/drawing/2014/main" id="{75F3A6DE-6F4E-06BE-1D2A-E09955EF66E1}"/>
                  </a:ext>
                </a:extLst>
              </p:cNvPr>
              <p:cNvPicPr/>
              <p:nvPr/>
            </p:nvPicPr>
            <p:blipFill>
              <a:blip r:embed="rId15"/>
              <a:stretch>
                <a:fillRect/>
              </a:stretch>
            </p:blipFill>
            <p:spPr>
              <a:xfrm>
                <a:off x="2085203" y="3386757"/>
                <a:ext cx="613080" cy="597240"/>
              </a:xfrm>
              <a:prstGeom prst="rect">
                <a:avLst/>
              </a:prstGeom>
            </p:spPr>
          </p:pic>
        </mc:Fallback>
      </mc:AlternateContent>
      <mc:AlternateContent xmlns:mc="http://schemas.openxmlformats.org/markup-compatibility/2006">
        <mc:Choice xmlns:p14="http://schemas.microsoft.com/office/powerpoint/2010/main" Requires="p14">
          <p:contentPart p14:bwMode="auto" r:id="rId16">
            <p14:nvContentPartPr>
              <p14:cNvPr id="10" name="Ink 9">
                <a:extLst>
                  <a:ext uri="{FF2B5EF4-FFF2-40B4-BE49-F238E27FC236}">
                    <a16:creationId xmlns:a16="http://schemas.microsoft.com/office/drawing/2014/main" id="{66717344-716D-C473-71B4-0AF314CBDDC1}"/>
                  </a:ext>
                </a:extLst>
              </p14:cNvPr>
              <p14:cNvContentPartPr/>
              <p14:nvPr/>
            </p14:nvContentPartPr>
            <p14:xfrm>
              <a:off x="1444043" y="1658397"/>
              <a:ext cx="356040" cy="330120"/>
            </p14:xfrm>
          </p:contentPart>
        </mc:Choice>
        <mc:Fallback>
          <p:pic>
            <p:nvPicPr>
              <p:cNvPr id="10" name="Ink 9">
                <a:extLst>
                  <a:ext uri="{FF2B5EF4-FFF2-40B4-BE49-F238E27FC236}">
                    <a16:creationId xmlns:a16="http://schemas.microsoft.com/office/drawing/2014/main" id="{66717344-716D-C473-71B4-0AF314CBDDC1}"/>
                  </a:ext>
                </a:extLst>
              </p:cNvPr>
              <p:cNvPicPr/>
              <p:nvPr/>
            </p:nvPicPr>
            <p:blipFill>
              <a:blip r:embed="rId17"/>
              <a:stretch>
                <a:fillRect/>
              </a:stretch>
            </p:blipFill>
            <p:spPr>
              <a:xfrm>
                <a:off x="1428923" y="1643277"/>
                <a:ext cx="386280" cy="360720"/>
              </a:xfrm>
              <a:prstGeom prst="rect">
                <a:avLst/>
              </a:prstGeom>
            </p:spPr>
          </p:pic>
        </mc:Fallback>
      </mc:AlternateContent>
      <mc:AlternateContent xmlns:mc="http://schemas.openxmlformats.org/markup-compatibility/2006">
        <mc:Choice xmlns:p14="http://schemas.microsoft.com/office/powerpoint/2010/main" Requires="p14">
          <p:contentPart p14:bwMode="auto" r:id="rId18">
            <p14:nvContentPartPr>
              <p14:cNvPr id="11" name="Ink 10">
                <a:extLst>
                  <a:ext uri="{FF2B5EF4-FFF2-40B4-BE49-F238E27FC236}">
                    <a16:creationId xmlns:a16="http://schemas.microsoft.com/office/drawing/2014/main" id="{30C6BC37-3616-1909-5FAC-832D85508EF6}"/>
                  </a:ext>
                </a:extLst>
              </p14:cNvPr>
              <p14:cNvContentPartPr/>
              <p14:nvPr/>
            </p14:nvContentPartPr>
            <p14:xfrm>
              <a:off x="3047843" y="3404037"/>
              <a:ext cx="529200" cy="547200"/>
            </p14:xfrm>
          </p:contentPart>
        </mc:Choice>
        <mc:Fallback>
          <p:pic>
            <p:nvPicPr>
              <p:cNvPr id="11" name="Ink 10">
                <a:extLst>
                  <a:ext uri="{FF2B5EF4-FFF2-40B4-BE49-F238E27FC236}">
                    <a16:creationId xmlns:a16="http://schemas.microsoft.com/office/drawing/2014/main" id="{30C6BC37-3616-1909-5FAC-832D85508EF6}"/>
                  </a:ext>
                </a:extLst>
              </p:cNvPr>
              <p:cNvPicPr/>
              <p:nvPr/>
            </p:nvPicPr>
            <p:blipFill>
              <a:blip r:embed="rId19"/>
              <a:stretch>
                <a:fillRect/>
              </a:stretch>
            </p:blipFill>
            <p:spPr>
              <a:xfrm>
                <a:off x="3032723" y="3388557"/>
                <a:ext cx="559440" cy="577800"/>
              </a:xfrm>
              <a:prstGeom prst="rect">
                <a:avLst/>
              </a:prstGeom>
            </p:spPr>
          </p:pic>
        </mc:Fallback>
      </mc:AlternateContent>
      <p:grpSp>
        <p:nvGrpSpPr>
          <p:cNvPr id="16" name="Group 15">
            <a:extLst>
              <a:ext uri="{FF2B5EF4-FFF2-40B4-BE49-F238E27FC236}">
                <a16:creationId xmlns:a16="http://schemas.microsoft.com/office/drawing/2014/main" id="{E333A915-6F28-51C1-BF5F-552083030D3C}"/>
              </a:ext>
            </a:extLst>
          </p:cNvPr>
          <p:cNvGrpSpPr/>
          <p:nvPr/>
        </p:nvGrpSpPr>
        <p:grpSpPr>
          <a:xfrm>
            <a:off x="1567883" y="1301277"/>
            <a:ext cx="433440" cy="373320"/>
            <a:chOff x="1567883" y="1301277"/>
            <a:chExt cx="433440" cy="373320"/>
          </a:xfrm>
        </p:grpSpPr>
        <mc:AlternateContent xmlns:mc="http://schemas.openxmlformats.org/markup-compatibility/2006">
          <mc:Choice xmlns:p14="http://schemas.microsoft.com/office/powerpoint/2010/main" Requires="p14">
            <p:contentPart p14:bwMode="auto" r:id="rId20">
              <p14:nvContentPartPr>
                <p14:cNvPr id="12" name="Ink 11">
                  <a:extLst>
                    <a:ext uri="{FF2B5EF4-FFF2-40B4-BE49-F238E27FC236}">
                      <a16:creationId xmlns:a16="http://schemas.microsoft.com/office/drawing/2014/main" id="{75480CFE-DAC6-CA3A-8605-591F818BC62E}"/>
                    </a:ext>
                  </a:extLst>
                </p14:cNvPr>
                <p14:cNvContentPartPr/>
                <p14:nvPr/>
              </p14:nvContentPartPr>
              <p14:xfrm>
                <a:off x="1691363" y="1420077"/>
                <a:ext cx="201960" cy="185040"/>
              </p14:xfrm>
            </p:contentPart>
          </mc:Choice>
          <mc:Fallback>
            <p:pic>
              <p:nvPicPr>
                <p:cNvPr id="12" name="Ink 11">
                  <a:extLst>
                    <a:ext uri="{FF2B5EF4-FFF2-40B4-BE49-F238E27FC236}">
                      <a16:creationId xmlns:a16="http://schemas.microsoft.com/office/drawing/2014/main" id="{75480CFE-DAC6-CA3A-8605-591F818BC62E}"/>
                    </a:ext>
                  </a:extLst>
                </p:cNvPr>
                <p:cNvPicPr/>
                <p:nvPr/>
              </p:nvPicPr>
              <p:blipFill>
                <a:blip r:embed="rId21"/>
                <a:stretch>
                  <a:fillRect/>
                </a:stretch>
              </p:blipFill>
              <p:spPr>
                <a:xfrm>
                  <a:off x="1676243" y="1404957"/>
                  <a:ext cx="232560" cy="215280"/>
                </a:xfrm>
                <a:prstGeom prst="rect">
                  <a:avLst/>
                </a:prstGeom>
              </p:spPr>
            </p:pic>
          </mc:Fallback>
        </mc:AlternateContent>
        <mc:AlternateContent xmlns:mc="http://schemas.openxmlformats.org/markup-compatibility/2006">
          <mc:Choice xmlns:p14="http://schemas.microsoft.com/office/powerpoint/2010/main" Requires="p14">
            <p:contentPart p14:bwMode="auto" r:id="rId22">
              <p14:nvContentPartPr>
                <p14:cNvPr id="13" name="Ink 12">
                  <a:extLst>
                    <a:ext uri="{FF2B5EF4-FFF2-40B4-BE49-F238E27FC236}">
                      <a16:creationId xmlns:a16="http://schemas.microsoft.com/office/drawing/2014/main" id="{E42A2FF4-0ED2-D07F-BE5B-6C6FC759EE85}"/>
                    </a:ext>
                  </a:extLst>
                </p14:cNvPr>
                <p14:cNvContentPartPr/>
                <p14:nvPr/>
              </p14:nvContentPartPr>
              <p14:xfrm>
                <a:off x="1567883" y="1628877"/>
                <a:ext cx="289080" cy="45720"/>
              </p14:xfrm>
            </p:contentPart>
          </mc:Choice>
          <mc:Fallback>
            <p:pic>
              <p:nvPicPr>
                <p:cNvPr id="13" name="Ink 12">
                  <a:extLst>
                    <a:ext uri="{FF2B5EF4-FFF2-40B4-BE49-F238E27FC236}">
                      <a16:creationId xmlns:a16="http://schemas.microsoft.com/office/drawing/2014/main" id="{E42A2FF4-0ED2-D07F-BE5B-6C6FC759EE85}"/>
                    </a:ext>
                  </a:extLst>
                </p:cNvPr>
                <p:cNvPicPr/>
                <p:nvPr/>
              </p:nvPicPr>
              <p:blipFill>
                <a:blip r:embed="rId23"/>
                <a:stretch>
                  <a:fillRect/>
                </a:stretch>
              </p:blipFill>
              <p:spPr>
                <a:xfrm>
                  <a:off x="1552763" y="1613397"/>
                  <a:ext cx="319320" cy="76320"/>
                </a:xfrm>
                <a:prstGeom prst="rect">
                  <a:avLst/>
                </a:prstGeom>
              </p:spPr>
            </p:pic>
          </mc:Fallback>
        </mc:AlternateContent>
        <mc:AlternateContent xmlns:mc="http://schemas.openxmlformats.org/markup-compatibility/2006">
          <mc:Choice xmlns:p14="http://schemas.microsoft.com/office/powerpoint/2010/main" Requires="p14">
            <p:contentPart p14:bwMode="auto" r:id="rId24">
              <p14:nvContentPartPr>
                <p14:cNvPr id="15" name="Ink 14">
                  <a:extLst>
                    <a:ext uri="{FF2B5EF4-FFF2-40B4-BE49-F238E27FC236}">
                      <a16:creationId xmlns:a16="http://schemas.microsoft.com/office/drawing/2014/main" id="{A7608803-AC84-DA29-1F80-3B7E025F1349}"/>
                    </a:ext>
                  </a:extLst>
                </p14:cNvPr>
                <p14:cNvContentPartPr/>
                <p14:nvPr/>
              </p14:nvContentPartPr>
              <p14:xfrm>
                <a:off x="1825643" y="1301277"/>
                <a:ext cx="175680" cy="113760"/>
              </p14:xfrm>
            </p:contentPart>
          </mc:Choice>
          <mc:Fallback>
            <p:pic>
              <p:nvPicPr>
                <p:cNvPr id="15" name="Ink 14">
                  <a:extLst>
                    <a:ext uri="{FF2B5EF4-FFF2-40B4-BE49-F238E27FC236}">
                      <a16:creationId xmlns:a16="http://schemas.microsoft.com/office/drawing/2014/main" id="{A7608803-AC84-DA29-1F80-3B7E025F1349}"/>
                    </a:ext>
                  </a:extLst>
                </p:cNvPr>
                <p:cNvPicPr/>
                <p:nvPr/>
              </p:nvPicPr>
              <p:blipFill>
                <a:blip r:embed="rId25"/>
                <a:stretch>
                  <a:fillRect/>
                </a:stretch>
              </p:blipFill>
              <p:spPr>
                <a:xfrm>
                  <a:off x="1810523" y="1286157"/>
                  <a:ext cx="206280" cy="144360"/>
                </a:xfrm>
                <a:prstGeom prst="rect">
                  <a:avLst/>
                </a:prstGeom>
              </p:spPr>
            </p:pic>
          </mc:Fallback>
        </mc:AlternateContent>
      </p:grpSp>
      <p:grpSp>
        <p:nvGrpSpPr>
          <p:cNvPr id="23" name="Group 22">
            <a:extLst>
              <a:ext uri="{FF2B5EF4-FFF2-40B4-BE49-F238E27FC236}">
                <a16:creationId xmlns:a16="http://schemas.microsoft.com/office/drawing/2014/main" id="{2F9E54BE-15DE-6A49-4C52-4EC38FBD7937}"/>
              </a:ext>
            </a:extLst>
          </p:cNvPr>
          <p:cNvGrpSpPr/>
          <p:nvPr/>
        </p:nvGrpSpPr>
        <p:grpSpPr>
          <a:xfrm>
            <a:off x="2924723" y="547077"/>
            <a:ext cx="561240" cy="144720"/>
            <a:chOff x="2924723" y="547077"/>
            <a:chExt cx="561240" cy="144720"/>
          </a:xfrm>
        </p:grpSpPr>
        <mc:AlternateContent xmlns:mc="http://schemas.openxmlformats.org/markup-compatibility/2006">
          <mc:Choice xmlns:p14="http://schemas.microsoft.com/office/powerpoint/2010/main" Requires="p14">
            <p:contentPart p14:bwMode="auto" r:id="rId26">
              <p14:nvContentPartPr>
                <p14:cNvPr id="17" name="Ink 16">
                  <a:extLst>
                    <a:ext uri="{FF2B5EF4-FFF2-40B4-BE49-F238E27FC236}">
                      <a16:creationId xmlns:a16="http://schemas.microsoft.com/office/drawing/2014/main" id="{39877713-D957-E234-DF8D-81D2B377C52E}"/>
                    </a:ext>
                  </a:extLst>
                </p14:cNvPr>
                <p14:cNvContentPartPr/>
                <p14:nvPr/>
              </p14:nvContentPartPr>
              <p14:xfrm>
                <a:off x="2924723" y="547077"/>
                <a:ext cx="220320" cy="138240"/>
              </p14:xfrm>
            </p:contentPart>
          </mc:Choice>
          <mc:Fallback>
            <p:pic>
              <p:nvPicPr>
                <p:cNvPr id="17" name="Ink 16">
                  <a:extLst>
                    <a:ext uri="{FF2B5EF4-FFF2-40B4-BE49-F238E27FC236}">
                      <a16:creationId xmlns:a16="http://schemas.microsoft.com/office/drawing/2014/main" id="{39877713-D957-E234-DF8D-81D2B377C52E}"/>
                    </a:ext>
                  </a:extLst>
                </p:cNvPr>
                <p:cNvPicPr/>
                <p:nvPr/>
              </p:nvPicPr>
              <p:blipFill>
                <a:blip r:embed="rId27"/>
                <a:stretch>
                  <a:fillRect/>
                </a:stretch>
              </p:blipFill>
              <p:spPr>
                <a:xfrm>
                  <a:off x="2909603" y="531957"/>
                  <a:ext cx="250920" cy="168840"/>
                </a:xfrm>
                <a:prstGeom prst="rect">
                  <a:avLst/>
                </a:prstGeom>
              </p:spPr>
            </p:pic>
          </mc:Fallback>
        </mc:AlternateContent>
        <mc:AlternateContent xmlns:mc="http://schemas.openxmlformats.org/markup-compatibility/2006">
          <mc:Choice xmlns:p14="http://schemas.microsoft.com/office/powerpoint/2010/main" Requires="p14">
            <p:contentPart p14:bwMode="auto" r:id="rId28">
              <p14:nvContentPartPr>
                <p14:cNvPr id="18" name="Ink 17">
                  <a:extLst>
                    <a:ext uri="{FF2B5EF4-FFF2-40B4-BE49-F238E27FC236}">
                      <a16:creationId xmlns:a16="http://schemas.microsoft.com/office/drawing/2014/main" id="{BF2138E2-21B0-C4B2-8717-A588E1397A99}"/>
                    </a:ext>
                  </a:extLst>
                </p14:cNvPr>
                <p14:cNvContentPartPr/>
                <p14:nvPr/>
              </p14:nvContentPartPr>
              <p14:xfrm>
                <a:off x="3234683" y="576237"/>
                <a:ext cx="81360" cy="32760"/>
              </p14:xfrm>
            </p:contentPart>
          </mc:Choice>
          <mc:Fallback>
            <p:pic>
              <p:nvPicPr>
                <p:cNvPr id="18" name="Ink 17">
                  <a:extLst>
                    <a:ext uri="{FF2B5EF4-FFF2-40B4-BE49-F238E27FC236}">
                      <a16:creationId xmlns:a16="http://schemas.microsoft.com/office/drawing/2014/main" id="{BF2138E2-21B0-C4B2-8717-A588E1397A99}"/>
                    </a:ext>
                  </a:extLst>
                </p:cNvPr>
                <p:cNvPicPr/>
                <p:nvPr/>
              </p:nvPicPr>
              <p:blipFill>
                <a:blip r:embed="rId29"/>
                <a:stretch>
                  <a:fillRect/>
                </a:stretch>
              </p:blipFill>
              <p:spPr>
                <a:xfrm>
                  <a:off x="3219563" y="561117"/>
                  <a:ext cx="111600" cy="63360"/>
                </a:xfrm>
                <a:prstGeom prst="rect">
                  <a:avLst/>
                </a:prstGeom>
              </p:spPr>
            </p:pic>
          </mc:Fallback>
        </mc:AlternateContent>
        <mc:AlternateContent xmlns:mc="http://schemas.openxmlformats.org/markup-compatibility/2006">
          <mc:Choice xmlns:p14="http://schemas.microsoft.com/office/powerpoint/2010/main" Requires="p14">
            <p:contentPart p14:bwMode="auto" r:id="rId30">
              <p14:nvContentPartPr>
                <p14:cNvPr id="19" name="Ink 18">
                  <a:extLst>
                    <a:ext uri="{FF2B5EF4-FFF2-40B4-BE49-F238E27FC236}">
                      <a16:creationId xmlns:a16="http://schemas.microsoft.com/office/drawing/2014/main" id="{00E29E0D-D107-A4D6-CDFB-3EB2D56C278B}"/>
                    </a:ext>
                  </a:extLst>
                </p14:cNvPr>
                <p14:cNvContentPartPr/>
                <p14:nvPr/>
              </p14:nvContentPartPr>
              <p14:xfrm>
                <a:off x="3271043" y="575877"/>
                <a:ext cx="214920" cy="115920"/>
              </p14:xfrm>
            </p:contentPart>
          </mc:Choice>
          <mc:Fallback>
            <p:pic>
              <p:nvPicPr>
                <p:cNvPr id="19" name="Ink 18">
                  <a:extLst>
                    <a:ext uri="{FF2B5EF4-FFF2-40B4-BE49-F238E27FC236}">
                      <a16:creationId xmlns:a16="http://schemas.microsoft.com/office/drawing/2014/main" id="{00E29E0D-D107-A4D6-CDFB-3EB2D56C278B}"/>
                    </a:ext>
                  </a:extLst>
                </p:cNvPr>
                <p:cNvPicPr/>
                <p:nvPr/>
              </p:nvPicPr>
              <p:blipFill>
                <a:blip r:embed="rId31"/>
                <a:stretch>
                  <a:fillRect/>
                </a:stretch>
              </p:blipFill>
              <p:spPr>
                <a:xfrm>
                  <a:off x="3255923" y="560757"/>
                  <a:ext cx="245160" cy="146160"/>
                </a:xfrm>
                <a:prstGeom prst="rect">
                  <a:avLst/>
                </a:prstGeom>
              </p:spPr>
            </p:pic>
          </mc:Fallback>
        </mc:AlternateContent>
      </p:grpSp>
      <p:grpSp>
        <p:nvGrpSpPr>
          <p:cNvPr id="22" name="Group 21">
            <a:extLst>
              <a:ext uri="{FF2B5EF4-FFF2-40B4-BE49-F238E27FC236}">
                <a16:creationId xmlns:a16="http://schemas.microsoft.com/office/drawing/2014/main" id="{FF2193B3-6298-270F-7A63-15356A14367F}"/>
              </a:ext>
            </a:extLst>
          </p:cNvPr>
          <p:cNvGrpSpPr/>
          <p:nvPr/>
        </p:nvGrpSpPr>
        <p:grpSpPr>
          <a:xfrm>
            <a:off x="3075563" y="825717"/>
            <a:ext cx="443880" cy="149760"/>
            <a:chOff x="3075563" y="825717"/>
            <a:chExt cx="443880" cy="149760"/>
          </a:xfrm>
        </p:grpSpPr>
        <mc:AlternateContent xmlns:mc="http://schemas.openxmlformats.org/markup-compatibility/2006">
          <mc:Choice xmlns:p14="http://schemas.microsoft.com/office/powerpoint/2010/main" Requires="p14">
            <p:contentPart p14:bwMode="auto" r:id="rId32">
              <p14:nvContentPartPr>
                <p14:cNvPr id="20" name="Ink 19">
                  <a:extLst>
                    <a:ext uri="{FF2B5EF4-FFF2-40B4-BE49-F238E27FC236}">
                      <a16:creationId xmlns:a16="http://schemas.microsoft.com/office/drawing/2014/main" id="{23652702-FB61-1F4D-9B1F-4BAEC07739AC}"/>
                    </a:ext>
                  </a:extLst>
                </p14:cNvPr>
                <p14:cNvContentPartPr/>
                <p14:nvPr/>
              </p14:nvContentPartPr>
              <p14:xfrm>
                <a:off x="3075563" y="825717"/>
                <a:ext cx="408600" cy="14040"/>
              </p14:xfrm>
            </p:contentPart>
          </mc:Choice>
          <mc:Fallback>
            <p:pic>
              <p:nvPicPr>
                <p:cNvPr id="20" name="Ink 19">
                  <a:extLst>
                    <a:ext uri="{FF2B5EF4-FFF2-40B4-BE49-F238E27FC236}">
                      <a16:creationId xmlns:a16="http://schemas.microsoft.com/office/drawing/2014/main" id="{23652702-FB61-1F4D-9B1F-4BAEC07739AC}"/>
                    </a:ext>
                  </a:extLst>
                </p:cNvPr>
                <p:cNvPicPr/>
                <p:nvPr/>
              </p:nvPicPr>
              <p:blipFill>
                <a:blip r:embed="rId33"/>
                <a:stretch>
                  <a:fillRect/>
                </a:stretch>
              </p:blipFill>
              <p:spPr>
                <a:xfrm>
                  <a:off x="3060443" y="810237"/>
                  <a:ext cx="439200" cy="44640"/>
                </a:xfrm>
                <a:prstGeom prst="rect">
                  <a:avLst/>
                </a:prstGeom>
              </p:spPr>
            </p:pic>
          </mc:Fallback>
        </mc:AlternateContent>
        <mc:AlternateContent xmlns:mc="http://schemas.openxmlformats.org/markup-compatibility/2006">
          <mc:Choice xmlns:p14="http://schemas.microsoft.com/office/powerpoint/2010/main" Requires="p14">
            <p:contentPart p14:bwMode="auto" r:id="rId34">
              <p14:nvContentPartPr>
                <p14:cNvPr id="21" name="Ink 20">
                  <a:extLst>
                    <a:ext uri="{FF2B5EF4-FFF2-40B4-BE49-F238E27FC236}">
                      <a16:creationId xmlns:a16="http://schemas.microsoft.com/office/drawing/2014/main" id="{5A55AAEF-3B0A-92BB-B71E-3E426335283F}"/>
                    </a:ext>
                  </a:extLst>
                </p14:cNvPr>
                <p14:cNvContentPartPr/>
                <p14:nvPr/>
              </p14:nvContentPartPr>
              <p14:xfrm>
                <a:off x="3113363" y="916077"/>
                <a:ext cx="406080" cy="59400"/>
              </p14:xfrm>
            </p:contentPart>
          </mc:Choice>
          <mc:Fallback>
            <p:pic>
              <p:nvPicPr>
                <p:cNvPr id="21" name="Ink 20">
                  <a:extLst>
                    <a:ext uri="{FF2B5EF4-FFF2-40B4-BE49-F238E27FC236}">
                      <a16:creationId xmlns:a16="http://schemas.microsoft.com/office/drawing/2014/main" id="{5A55AAEF-3B0A-92BB-B71E-3E426335283F}"/>
                    </a:ext>
                  </a:extLst>
                </p:cNvPr>
                <p:cNvPicPr/>
                <p:nvPr/>
              </p:nvPicPr>
              <p:blipFill>
                <a:blip r:embed="rId35"/>
                <a:stretch>
                  <a:fillRect/>
                </a:stretch>
              </p:blipFill>
              <p:spPr>
                <a:xfrm>
                  <a:off x="3097883" y="900957"/>
                  <a:ext cx="436680" cy="9000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36">
            <p14:nvContentPartPr>
              <p14:cNvPr id="24" name="Ink 23">
                <a:extLst>
                  <a:ext uri="{FF2B5EF4-FFF2-40B4-BE49-F238E27FC236}">
                    <a16:creationId xmlns:a16="http://schemas.microsoft.com/office/drawing/2014/main" id="{7F95C474-1069-BA64-E8A0-8200C8F82199}"/>
                  </a:ext>
                </a:extLst>
              </p14:cNvPr>
              <p14:cNvContentPartPr/>
              <p14:nvPr/>
            </p14:nvContentPartPr>
            <p14:xfrm>
              <a:off x="3125963" y="3452997"/>
              <a:ext cx="435240" cy="43560"/>
            </p14:xfrm>
          </p:contentPart>
        </mc:Choice>
        <mc:Fallback>
          <p:pic>
            <p:nvPicPr>
              <p:cNvPr id="24" name="Ink 23">
                <a:extLst>
                  <a:ext uri="{FF2B5EF4-FFF2-40B4-BE49-F238E27FC236}">
                    <a16:creationId xmlns:a16="http://schemas.microsoft.com/office/drawing/2014/main" id="{7F95C474-1069-BA64-E8A0-8200C8F82199}"/>
                  </a:ext>
                </a:extLst>
              </p:cNvPr>
              <p:cNvPicPr/>
              <p:nvPr/>
            </p:nvPicPr>
            <p:blipFill>
              <a:blip r:embed="rId37"/>
              <a:stretch>
                <a:fillRect/>
              </a:stretch>
            </p:blipFill>
            <p:spPr>
              <a:xfrm>
                <a:off x="3110843" y="3437877"/>
                <a:ext cx="465840" cy="74160"/>
              </a:xfrm>
              <a:prstGeom prst="rect">
                <a:avLst/>
              </a:prstGeom>
            </p:spPr>
          </p:pic>
        </mc:Fallback>
      </mc:AlternateContent>
      <p:grpSp>
        <p:nvGrpSpPr>
          <p:cNvPr id="27" name="Group 26">
            <a:extLst>
              <a:ext uri="{FF2B5EF4-FFF2-40B4-BE49-F238E27FC236}">
                <a16:creationId xmlns:a16="http://schemas.microsoft.com/office/drawing/2014/main" id="{066A36F1-D475-5986-8144-14C194E5087E}"/>
              </a:ext>
            </a:extLst>
          </p:cNvPr>
          <p:cNvGrpSpPr/>
          <p:nvPr/>
        </p:nvGrpSpPr>
        <p:grpSpPr>
          <a:xfrm>
            <a:off x="4313243" y="2703117"/>
            <a:ext cx="585360" cy="135000"/>
            <a:chOff x="4313243" y="2703117"/>
            <a:chExt cx="585360" cy="135000"/>
          </a:xfrm>
        </p:grpSpPr>
        <mc:AlternateContent xmlns:mc="http://schemas.openxmlformats.org/markup-compatibility/2006">
          <mc:Choice xmlns:p14="http://schemas.microsoft.com/office/powerpoint/2010/main" Requires="p14">
            <p:contentPart p14:bwMode="auto" r:id="rId38">
              <p14:nvContentPartPr>
                <p14:cNvPr id="25" name="Ink 24">
                  <a:extLst>
                    <a:ext uri="{FF2B5EF4-FFF2-40B4-BE49-F238E27FC236}">
                      <a16:creationId xmlns:a16="http://schemas.microsoft.com/office/drawing/2014/main" id="{4C232A13-73E1-6A11-4657-6291A449BEDE}"/>
                    </a:ext>
                  </a:extLst>
                </p14:cNvPr>
                <p14:cNvContentPartPr/>
                <p14:nvPr/>
              </p14:nvContentPartPr>
              <p14:xfrm>
                <a:off x="4313243" y="2703117"/>
                <a:ext cx="585360" cy="31320"/>
              </p14:xfrm>
            </p:contentPart>
          </mc:Choice>
          <mc:Fallback>
            <p:pic>
              <p:nvPicPr>
                <p:cNvPr id="25" name="Ink 24">
                  <a:extLst>
                    <a:ext uri="{FF2B5EF4-FFF2-40B4-BE49-F238E27FC236}">
                      <a16:creationId xmlns:a16="http://schemas.microsoft.com/office/drawing/2014/main" id="{4C232A13-73E1-6A11-4657-6291A449BEDE}"/>
                    </a:ext>
                  </a:extLst>
                </p:cNvPr>
                <p:cNvPicPr/>
                <p:nvPr/>
              </p:nvPicPr>
              <p:blipFill>
                <a:blip r:embed="rId39"/>
                <a:stretch>
                  <a:fillRect/>
                </a:stretch>
              </p:blipFill>
              <p:spPr>
                <a:xfrm>
                  <a:off x="4298123" y="2687997"/>
                  <a:ext cx="615960" cy="61920"/>
                </a:xfrm>
                <a:prstGeom prst="rect">
                  <a:avLst/>
                </a:prstGeom>
              </p:spPr>
            </p:pic>
          </mc:Fallback>
        </mc:AlternateContent>
        <mc:AlternateContent xmlns:mc="http://schemas.openxmlformats.org/markup-compatibility/2006">
          <mc:Choice xmlns:p14="http://schemas.microsoft.com/office/powerpoint/2010/main" Requires="p14">
            <p:contentPart p14:bwMode="auto" r:id="rId40">
              <p14:nvContentPartPr>
                <p14:cNvPr id="26" name="Ink 25">
                  <a:extLst>
                    <a:ext uri="{FF2B5EF4-FFF2-40B4-BE49-F238E27FC236}">
                      <a16:creationId xmlns:a16="http://schemas.microsoft.com/office/drawing/2014/main" id="{96EBC615-85AE-A176-02E1-19746D7BAEDC}"/>
                    </a:ext>
                  </a:extLst>
                </p14:cNvPr>
                <p14:cNvContentPartPr/>
                <p14:nvPr/>
              </p14:nvContentPartPr>
              <p14:xfrm>
                <a:off x="4364363" y="2777637"/>
                <a:ext cx="432000" cy="60480"/>
              </p14:xfrm>
            </p:contentPart>
          </mc:Choice>
          <mc:Fallback>
            <p:pic>
              <p:nvPicPr>
                <p:cNvPr id="26" name="Ink 25">
                  <a:extLst>
                    <a:ext uri="{FF2B5EF4-FFF2-40B4-BE49-F238E27FC236}">
                      <a16:creationId xmlns:a16="http://schemas.microsoft.com/office/drawing/2014/main" id="{96EBC615-85AE-A176-02E1-19746D7BAEDC}"/>
                    </a:ext>
                  </a:extLst>
                </p:cNvPr>
                <p:cNvPicPr/>
                <p:nvPr/>
              </p:nvPicPr>
              <p:blipFill>
                <a:blip r:embed="rId41"/>
                <a:stretch>
                  <a:fillRect/>
                </a:stretch>
              </p:blipFill>
              <p:spPr>
                <a:xfrm>
                  <a:off x="4349243" y="2762157"/>
                  <a:ext cx="462600" cy="9108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42">
            <p14:nvContentPartPr>
              <p14:cNvPr id="28" name="Ink 27">
                <a:extLst>
                  <a:ext uri="{FF2B5EF4-FFF2-40B4-BE49-F238E27FC236}">
                    <a16:creationId xmlns:a16="http://schemas.microsoft.com/office/drawing/2014/main" id="{3C1926F1-912E-7C13-DD17-DC0CA446E515}"/>
                  </a:ext>
                </a:extLst>
              </p14:cNvPr>
              <p14:cNvContentPartPr/>
              <p14:nvPr/>
            </p14:nvContentPartPr>
            <p14:xfrm>
              <a:off x="6483683" y="2005437"/>
              <a:ext cx="403560" cy="392760"/>
            </p14:xfrm>
          </p:contentPart>
        </mc:Choice>
        <mc:Fallback>
          <p:pic>
            <p:nvPicPr>
              <p:cNvPr id="28" name="Ink 27">
                <a:extLst>
                  <a:ext uri="{FF2B5EF4-FFF2-40B4-BE49-F238E27FC236}">
                    <a16:creationId xmlns:a16="http://schemas.microsoft.com/office/drawing/2014/main" id="{3C1926F1-912E-7C13-DD17-DC0CA446E515}"/>
                  </a:ext>
                </a:extLst>
              </p:cNvPr>
              <p:cNvPicPr/>
              <p:nvPr/>
            </p:nvPicPr>
            <p:blipFill>
              <a:blip r:embed="rId43"/>
              <a:stretch>
                <a:fillRect/>
              </a:stretch>
            </p:blipFill>
            <p:spPr>
              <a:xfrm>
                <a:off x="6468203" y="1990317"/>
                <a:ext cx="433800" cy="423000"/>
              </a:xfrm>
              <a:prstGeom prst="rect">
                <a:avLst/>
              </a:prstGeom>
            </p:spPr>
          </p:pic>
        </mc:Fallback>
      </mc:AlternateContent>
      <mc:AlternateContent xmlns:mc="http://schemas.openxmlformats.org/markup-compatibility/2006">
        <mc:Choice xmlns:p14="http://schemas.microsoft.com/office/powerpoint/2010/main" Requires="p14">
          <p:contentPart p14:bwMode="auto" r:id="rId44">
            <p14:nvContentPartPr>
              <p14:cNvPr id="29" name="Ink 28">
                <a:extLst>
                  <a:ext uri="{FF2B5EF4-FFF2-40B4-BE49-F238E27FC236}">
                    <a16:creationId xmlns:a16="http://schemas.microsoft.com/office/drawing/2014/main" id="{95885951-C0D0-A3F3-7E39-868EB2076459}"/>
                  </a:ext>
                </a:extLst>
              </p14:cNvPr>
              <p14:cNvContentPartPr/>
              <p14:nvPr/>
            </p14:nvContentPartPr>
            <p14:xfrm>
              <a:off x="7209083" y="2763957"/>
              <a:ext cx="359280" cy="396360"/>
            </p14:xfrm>
          </p:contentPart>
        </mc:Choice>
        <mc:Fallback>
          <p:pic>
            <p:nvPicPr>
              <p:cNvPr id="29" name="Ink 28">
                <a:extLst>
                  <a:ext uri="{FF2B5EF4-FFF2-40B4-BE49-F238E27FC236}">
                    <a16:creationId xmlns:a16="http://schemas.microsoft.com/office/drawing/2014/main" id="{95885951-C0D0-A3F3-7E39-868EB2076459}"/>
                  </a:ext>
                </a:extLst>
              </p:cNvPr>
              <p:cNvPicPr/>
              <p:nvPr/>
            </p:nvPicPr>
            <p:blipFill>
              <a:blip r:embed="rId45"/>
              <a:stretch>
                <a:fillRect/>
              </a:stretch>
            </p:blipFill>
            <p:spPr>
              <a:xfrm>
                <a:off x="7193603" y="2748837"/>
                <a:ext cx="389880" cy="426960"/>
              </a:xfrm>
              <a:prstGeom prst="rect">
                <a:avLst/>
              </a:prstGeom>
            </p:spPr>
          </p:pic>
        </mc:Fallback>
      </mc:AlternateContent>
      <mc:AlternateContent xmlns:mc="http://schemas.openxmlformats.org/markup-compatibility/2006">
        <mc:Choice xmlns:p14="http://schemas.microsoft.com/office/powerpoint/2010/main" Requires="p14">
          <p:contentPart p14:bwMode="auto" r:id="rId46">
            <p14:nvContentPartPr>
              <p14:cNvPr id="30" name="Ink 29">
                <a:extLst>
                  <a:ext uri="{FF2B5EF4-FFF2-40B4-BE49-F238E27FC236}">
                    <a16:creationId xmlns:a16="http://schemas.microsoft.com/office/drawing/2014/main" id="{8AADD089-8394-DD71-5129-70245016600B}"/>
                  </a:ext>
                </a:extLst>
              </p14:cNvPr>
              <p14:cNvContentPartPr/>
              <p14:nvPr/>
            </p14:nvContentPartPr>
            <p14:xfrm>
              <a:off x="8078483" y="1493517"/>
              <a:ext cx="355320" cy="231840"/>
            </p14:xfrm>
          </p:contentPart>
        </mc:Choice>
        <mc:Fallback>
          <p:pic>
            <p:nvPicPr>
              <p:cNvPr id="30" name="Ink 29">
                <a:extLst>
                  <a:ext uri="{FF2B5EF4-FFF2-40B4-BE49-F238E27FC236}">
                    <a16:creationId xmlns:a16="http://schemas.microsoft.com/office/drawing/2014/main" id="{8AADD089-8394-DD71-5129-70245016600B}"/>
                  </a:ext>
                </a:extLst>
              </p:cNvPr>
              <p:cNvPicPr/>
              <p:nvPr/>
            </p:nvPicPr>
            <p:blipFill>
              <a:blip r:embed="rId47"/>
              <a:stretch>
                <a:fillRect/>
              </a:stretch>
            </p:blipFill>
            <p:spPr>
              <a:xfrm>
                <a:off x="8063003" y="1478037"/>
                <a:ext cx="385920" cy="262440"/>
              </a:xfrm>
              <a:prstGeom prst="rect">
                <a:avLst/>
              </a:prstGeom>
            </p:spPr>
          </p:pic>
        </mc:Fallback>
      </mc:AlternateContent>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37"/>
        <p:cNvGrpSpPr/>
        <p:nvPr/>
      </p:nvGrpSpPr>
      <p:grpSpPr>
        <a:xfrm>
          <a:off x="0" y="0"/>
          <a:ext cx="0" cy="0"/>
          <a:chOff x="0" y="0"/>
          <a:chExt cx="0" cy="0"/>
        </a:xfrm>
      </p:grpSpPr>
      <p:sp>
        <p:nvSpPr>
          <p:cNvPr id="138" name="Google Shape;138;p13"/>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2800"/>
              <a:buNone/>
            </a:pPr>
            <a:r>
              <a:rPr lang="en"/>
              <a:t>Pointwise</a:t>
            </a:r>
            <a:endParaRPr/>
          </a:p>
        </p:txBody>
      </p:sp>
      <p:pic>
        <p:nvPicPr>
          <p:cNvPr id="140" name="Google Shape;140;p13"/>
          <p:cNvPicPr preferRelativeResize="0"/>
          <p:nvPr/>
        </p:nvPicPr>
        <p:blipFill rotWithShape="1">
          <a:blip r:embed="rId3">
            <a:alphaModFix/>
          </a:blip>
          <a:srcRect/>
          <a:stretch/>
        </p:blipFill>
        <p:spPr>
          <a:xfrm>
            <a:off x="465380" y="1017725"/>
            <a:ext cx="8156106" cy="3680750"/>
          </a:xfrm>
          <a:prstGeom prst="rect">
            <a:avLst/>
          </a:prstGeom>
          <a:noFill/>
          <a:ln>
            <a:noFill/>
          </a:ln>
        </p:spPr>
      </p:pic>
      <p:grpSp>
        <p:nvGrpSpPr>
          <p:cNvPr id="8" name="Group 7">
            <a:extLst>
              <a:ext uri="{FF2B5EF4-FFF2-40B4-BE49-F238E27FC236}">
                <a16:creationId xmlns:a16="http://schemas.microsoft.com/office/drawing/2014/main" id="{CC9A9E44-4134-4C8A-9BD4-F1B21F7C895E}"/>
              </a:ext>
            </a:extLst>
          </p:cNvPr>
          <p:cNvGrpSpPr/>
          <p:nvPr/>
        </p:nvGrpSpPr>
        <p:grpSpPr>
          <a:xfrm>
            <a:off x="766473" y="3105188"/>
            <a:ext cx="368640" cy="205920"/>
            <a:chOff x="766473" y="3105188"/>
            <a:chExt cx="368640" cy="205920"/>
          </a:xfrm>
        </p:grpSpPr>
        <mc:AlternateContent xmlns:mc="http://schemas.openxmlformats.org/markup-compatibility/2006" xmlns:p14="http://schemas.microsoft.com/office/powerpoint/2010/main">
          <mc:Choice Requires="p14">
            <p:contentPart p14:bwMode="auto" r:id="rId4">
              <p14:nvContentPartPr>
                <p14:cNvPr id="2" name="Ink 1">
                  <a:extLst>
                    <a:ext uri="{FF2B5EF4-FFF2-40B4-BE49-F238E27FC236}">
                      <a16:creationId xmlns:a16="http://schemas.microsoft.com/office/drawing/2014/main" id="{1F3032B6-840A-4210-9DBB-EDEA41742082}"/>
                    </a:ext>
                  </a:extLst>
                </p14:cNvPr>
                <p14:cNvContentPartPr/>
                <p14:nvPr/>
              </p14:nvContentPartPr>
              <p14:xfrm>
                <a:off x="766473" y="3105188"/>
                <a:ext cx="51120" cy="202680"/>
              </p14:xfrm>
            </p:contentPart>
          </mc:Choice>
          <mc:Fallback xmlns="">
            <p:pic>
              <p:nvPicPr>
                <p:cNvPr id="2" name="Ink 1">
                  <a:extLst>
                    <a:ext uri="{FF2B5EF4-FFF2-40B4-BE49-F238E27FC236}">
                      <a16:creationId xmlns:a16="http://schemas.microsoft.com/office/drawing/2014/main" id="{1F3032B6-840A-4210-9DBB-EDEA41742082}"/>
                    </a:ext>
                  </a:extLst>
                </p:cNvPr>
                <p:cNvPicPr/>
                <p:nvPr/>
              </p:nvPicPr>
              <p:blipFill>
                <a:blip r:embed="rId5"/>
                <a:stretch>
                  <a:fillRect/>
                </a:stretch>
              </p:blipFill>
              <p:spPr>
                <a:xfrm>
                  <a:off x="748833" y="3087548"/>
                  <a:ext cx="86760" cy="23832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3" name="Ink 2">
                  <a:extLst>
                    <a:ext uri="{FF2B5EF4-FFF2-40B4-BE49-F238E27FC236}">
                      <a16:creationId xmlns:a16="http://schemas.microsoft.com/office/drawing/2014/main" id="{D7A393EB-AC40-4784-BE60-3D978B4EF62D}"/>
                    </a:ext>
                  </a:extLst>
                </p14:cNvPr>
                <p14:cNvContentPartPr/>
                <p14:nvPr/>
              </p14:nvContentPartPr>
              <p14:xfrm>
                <a:off x="923793" y="3152708"/>
                <a:ext cx="93240" cy="132480"/>
              </p14:xfrm>
            </p:contentPart>
          </mc:Choice>
          <mc:Fallback xmlns="">
            <p:pic>
              <p:nvPicPr>
                <p:cNvPr id="3" name="Ink 2">
                  <a:extLst>
                    <a:ext uri="{FF2B5EF4-FFF2-40B4-BE49-F238E27FC236}">
                      <a16:creationId xmlns:a16="http://schemas.microsoft.com/office/drawing/2014/main" id="{D7A393EB-AC40-4784-BE60-3D978B4EF62D}"/>
                    </a:ext>
                  </a:extLst>
                </p:cNvPr>
                <p:cNvPicPr/>
                <p:nvPr/>
              </p:nvPicPr>
              <p:blipFill>
                <a:blip r:embed="rId7"/>
                <a:stretch>
                  <a:fillRect/>
                </a:stretch>
              </p:blipFill>
              <p:spPr>
                <a:xfrm>
                  <a:off x="906153" y="3135068"/>
                  <a:ext cx="128880" cy="16812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4" name="Ink 3">
                  <a:extLst>
                    <a:ext uri="{FF2B5EF4-FFF2-40B4-BE49-F238E27FC236}">
                      <a16:creationId xmlns:a16="http://schemas.microsoft.com/office/drawing/2014/main" id="{2C0438D2-BABE-4B0B-9028-7A5CFC5050DD}"/>
                    </a:ext>
                  </a:extLst>
                </p14:cNvPr>
                <p14:cNvContentPartPr/>
                <p14:nvPr/>
              </p14:nvContentPartPr>
              <p14:xfrm>
                <a:off x="923433" y="3172148"/>
                <a:ext cx="211680" cy="138960"/>
              </p14:xfrm>
            </p:contentPart>
          </mc:Choice>
          <mc:Fallback xmlns="">
            <p:pic>
              <p:nvPicPr>
                <p:cNvPr id="4" name="Ink 3">
                  <a:extLst>
                    <a:ext uri="{FF2B5EF4-FFF2-40B4-BE49-F238E27FC236}">
                      <a16:creationId xmlns:a16="http://schemas.microsoft.com/office/drawing/2014/main" id="{2C0438D2-BABE-4B0B-9028-7A5CFC5050DD}"/>
                    </a:ext>
                  </a:extLst>
                </p:cNvPr>
                <p:cNvPicPr/>
                <p:nvPr/>
              </p:nvPicPr>
              <p:blipFill>
                <a:blip r:embed="rId9"/>
                <a:stretch>
                  <a:fillRect/>
                </a:stretch>
              </p:blipFill>
              <p:spPr>
                <a:xfrm>
                  <a:off x="905433" y="3154148"/>
                  <a:ext cx="247320" cy="174600"/>
                </a:xfrm>
                <a:prstGeom prst="rect">
                  <a:avLst/>
                </a:prstGeom>
              </p:spPr>
            </p:pic>
          </mc:Fallback>
        </mc:AlternateContent>
      </p:grpSp>
      <p:grpSp>
        <p:nvGrpSpPr>
          <p:cNvPr id="29" name="Group 28">
            <a:extLst>
              <a:ext uri="{FF2B5EF4-FFF2-40B4-BE49-F238E27FC236}">
                <a16:creationId xmlns:a16="http://schemas.microsoft.com/office/drawing/2014/main" id="{EAF5CC15-0365-4C12-BBD9-8A267C2C65A4}"/>
              </a:ext>
            </a:extLst>
          </p:cNvPr>
          <p:cNvGrpSpPr/>
          <p:nvPr/>
        </p:nvGrpSpPr>
        <p:grpSpPr>
          <a:xfrm>
            <a:off x="1308633" y="3004388"/>
            <a:ext cx="1478160" cy="322920"/>
            <a:chOff x="1308633" y="3004388"/>
            <a:chExt cx="1478160" cy="322920"/>
          </a:xfrm>
        </p:grpSpPr>
        <mc:AlternateContent xmlns:mc="http://schemas.openxmlformats.org/markup-compatibility/2006" xmlns:p14="http://schemas.microsoft.com/office/powerpoint/2010/main">
          <mc:Choice Requires="p14">
            <p:contentPart p14:bwMode="auto" r:id="rId10">
              <p14:nvContentPartPr>
                <p14:cNvPr id="10" name="Ink 9">
                  <a:extLst>
                    <a:ext uri="{FF2B5EF4-FFF2-40B4-BE49-F238E27FC236}">
                      <a16:creationId xmlns:a16="http://schemas.microsoft.com/office/drawing/2014/main" id="{EB50ACBC-1210-4EDA-9BC2-68339624302C}"/>
                    </a:ext>
                  </a:extLst>
                </p14:cNvPr>
                <p14:cNvContentPartPr/>
                <p14:nvPr/>
              </p14:nvContentPartPr>
              <p14:xfrm>
                <a:off x="1360113" y="3046508"/>
                <a:ext cx="127800" cy="116280"/>
              </p14:xfrm>
            </p:contentPart>
          </mc:Choice>
          <mc:Fallback xmlns="">
            <p:pic>
              <p:nvPicPr>
                <p:cNvPr id="10" name="Ink 9">
                  <a:extLst>
                    <a:ext uri="{FF2B5EF4-FFF2-40B4-BE49-F238E27FC236}">
                      <a16:creationId xmlns:a16="http://schemas.microsoft.com/office/drawing/2014/main" id="{EB50ACBC-1210-4EDA-9BC2-68339624302C}"/>
                    </a:ext>
                  </a:extLst>
                </p:cNvPr>
                <p:cNvPicPr/>
                <p:nvPr/>
              </p:nvPicPr>
              <p:blipFill>
                <a:blip r:embed="rId11"/>
                <a:stretch>
                  <a:fillRect/>
                </a:stretch>
              </p:blipFill>
              <p:spPr>
                <a:xfrm>
                  <a:off x="1342113" y="3028508"/>
                  <a:ext cx="163440" cy="15192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14" name="Ink 13">
                  <a:extLst>
                    <a:ext uri="{FF2B5EF4-FFF2-40B4-BE49-F238E27FC236}">
                      <a16:creationId xmlns:a16="http://schemas.microsoft.com/office/drawing/2014/main" id="{2F6A93CE-C781-44D4-9013-817914DA1036}"/>
                    </a:ext>
                  </a:extLst>
                </p14:cNvPr>
                <p14:cNvContentPartPr/>
                <p14:nvPr/>
              </p14:nvContentPartPr>
              <p14:xfrm>
                <a:off x="1359393" y="3097988"/>
                <a:ext cx="42120" cy="229320"/>
              </p14:xfrm>
            </p:contentPart>
          </mc:Choice>
          <mc:Fallback xmlns="">
            <p:pic>
              <p:nvPicPr>
                <p:cNvPr id="14" name="Ink 13">
                  <a:extLst>
                    <a:ext uri="{FF2B5EF4-FFF2-40B4-BE49-F238E27FC236}">
                      <a16:creationId xmlns:a16="http://schemas.microsoft.com/office/drawing/2014/main" id="{2F6A93CE-C781-44D4-9013-817914DA1036}"/>
                    </a:ext>
                  </a:extLst>
                </p:cNvPr>
                <p:cNvPicPr/>
                <p:nvPr/>
              </p:nvPicPr>
              <p:blipFill>
                <a:blip r:embed="rId13"/>
                <a:stretch>
                  <a:fillRect/>
                </a:stretch>
              </p:blipFill>
              <p:spPr>
                <a:xfrm>
                  <a:off x="1341753" y="3079988"/>
                  <a:ext cx="77760" cy="26496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15" name="Ink 14">
                  <a:extLst>
                    <a:ext uri="{FF2B5EF4-FFF2-40B4-BE49-F238E27FC236}">
                      <a16:creationId xmlns:a16="http://schemas.microsoft.com/office/drawing/2014/main" id="{24189E81-64E1-4AED-866F-AE17848E55A4}"/>
                    </a:ext>
                  </a:extLst>
                </p14:cNvPr>
                <p14:cNvContentPartPr/>
                <p14:nvPr/>
              </p14:nvContentPartPr>
              <p14:xfrm>
                <a:off x="1308633" y="3203108"/>
                <a:ext cx="183240" cy="31680"/>
              </p14:xfrm>
            </p:contentPart>
          </mc:Choice>
          <mc:Fallback xmlns="">
            <p:pic>
              <p:nvPicPr>
                <p:cNvPr id="15" name="Ink 14">
                  <a:extLst>
                    <a:ext uri="{FF2B5EF4-FFF2-40B4-BE49-F238E27FC236}">
                      <a16:creationId xmlns:a16="http://schemas.microsoft.com/office/drawing/2014/main" id="{24189E81-64E1-4AED-866F-AE17848E55A4}"/>
                    </a:ext>
                  </a:extLst>
                </p:cNvPr>
                <p:cNvPicPr/>
                <p:nvPr/>
              </p:nvPicPr>
              <p:blipFill>
                <a:blip r:embed="rId15"/>
                <a:stretch>
                  <a:fillRect/>
                </a:stretch>
              </p:blipFill>
              <p:spPr>
                <a:xfrm>
                  <a:off x="1290633" y="3185108"/>
                  <a:ext cx="218880" cy="6732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16" name="Ink 15">
                  <a:extLst>
                    <a:ext uri="{FF2B5EF4-FFF2-40B4-BE49-F238E27FC236}">
                      <a16:creationId xmlns:a16="http://schemas.microsoft.com/office/drawing/2014/main" id="{6E1A604F-4898-45E4-9E2C-0A69D341E5E6}"/>
                    </a:ext>
                  </a:extLst>
                </p14:cNvPr>
                <p14:cNvContentPartPr/>
                <p14:nvPr/>
              </p14:nvContentPartPr>
              <p14:xfrm>
                <a:off x="1520313" y="3124628"/>
                <a:ext cx="33480" cy="147600"/>
              </p14:xfrm>
            </p:contentPart>
          </mc:Choice>
          <mc:Fallback xmlns="">
            <p:pic>
              <p:nvPicPr>
                <p:cNvPr id="16" name="Ink 15">
                  <a:extLst>
                    <a:ext uri="{FF2B5EF4-FFF2-40B4-BE49-F238E27FC236}">
                      <a16:creationId xmlns:a16="http://schemas.microsoft.com/office/drawing/2014/main" id="{6E1A604F-4898-45E4-9E2C-0A69D341E5E6}"/>
                    </a:ext>
                  </a:extLst>
                </p:cNvPr>
                <p:cNvPicPr/>
                <p:nvPr/>
              </p:nvPicPr>
              <p:blipFill>
                <a:blip r:embed="rId17"/>
                <a:stretch>
                  <a:fillRect/>
                </a:stretch>
              </p:blipFill>
              <p:spPr>
                <a:xfrm>
                  <a:off x="1502673" y="3106628"/>
                  <a:ext cx="69120" cy="18324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17" name="Ink 16">
                  <a:extLst>
                    <a:ext uri="{FF2B5EF4-FFF2-40B4-BE49-F238E27FC236}">
                      <a16:creationId xmlns:a16="http://schemas.microsoft.com/office/drawing/2014/main" id="{79E2073D-AD18-4F04-8F8F-932151F53EC2}"/>
                    </a:ext>
                  </a:extLst>
                </p14:cNvPr>
                <p14:cNvContentPartPr/>
                <p14:nvPr/>
              </p14:nvContentPartPr>
              <p14:xfrm>
                <a:off x="1620753" y="3077108"/>
                <a:ext cx="174240" cy="238680"/>
              </p14:xfrm>
            </p:contentPart>
          </mc:Choice>
          <mc:Fallback xmlns="">
            <p:pic>
              <p:nvPicPr>
                <p:cNvPr id="17" name="Ink 16">
                  <a:extLst>
                    <a:ext uri="{FF2B5EF4-FFF2-40B4-BE49-F238E27FC236}">
                      <a16:creationId xmlns:a16="http://schemas.microsoft.com/office/drawing/2014/main" id="{79E2073D-AD18-4F04-8F8F-932151F53EC2}"/>
                    </a:ext>
                  </a:extLst>
                </p:cNvPr>
                <p:cNvPicPr/>
                <p:nvPr/>
              </p:nvPicPr>
              <p:blipFill>
                <a:blip r:embed="rId19"/>
                <a:stretch>
                  <a:fillRect/>
                </a:stretch>
              </p:blipFill>
              <p:spPr>
                <a:xfrm>
                  <a:off x="1603113" y="3059108"/>
                  <a:ext cx="209880" cy="274320"/>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18" name="Ink 17">
                  <a:extLst>
                    <a:ext uri="{FF2B5EF4-FFF2-40B4-BE49-F238E27FC236}">
                      <a16:creationId xmlns:a16="http://schemas.microsoft.com/office/drawing/2014/main" id="{5C8BBC6A-229B-4392-BBFB-4539FDAB0B6A}"/>
                    </a:ext>
                  </a:extLst>
                </p14:cNvPr>
                <p14:cNvContentPartPr/>
                <p14:nvPr/>
              </p14:nvContentPartPr>
              <p14:xfrm>
                <a:off x="1738833" y="3120308"/>
                <a:ext cx="435240" cy="131760"/>
              </p14:xfrm>
            </p:contentPart>
          </mc:Choice>
          <mc:Fallback xmlns="">
            <p:pic>
              <p:nvPicPr>
                <p:cNvPr id="18" name="Ink 17">
                  <a:extLst>
                    <a:ext uri="{FF2B5EF4-FFF2-40B4-BE49-F238E27FC236}">
                      <a16:creationId xmlns:a16="http://schemas.microsoft.com/office/drawing/2014/main" id="{5C8BBC6A-229B-4392-BBFB-4539FDAB0B6A}"/>
                    </a:ext>
                  </a:extLst>
                </p:cNvPr>
                <p:cNvPicPr/>
                <p:nvPr/>
              </p:nvPicPr>
              <p:blipFill>
                <a:blip r:embed="rId21"/>
                <a:stretch>
                  <a:fillRect/>
                </a:stretch>
              </p:blipFill>
              <p:spPr>
                <a:xfrm>
                  <a:off x="1720833" y="3102308"/>
                  <a:ext cx="470880" cy="16740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20" name="Ink 19">
                  <a:extLst>
                    <a:ext uri="{FF2B5EF4-FFF2-40B4-BE49-F238E27FC236}">
                      <a16:creationId xmlns:a16="http://schemas.microsoft.com/office/drawing/2014/main" id="{637C5385-CD85-458E-B7EC-FEB2C176B407}"/>
                    </a:ext>
                  </a:extLst>
                </p14:cNvPr>
                <p14:cNvContentPartPr/>
                <p14:nvPr/>
              </p14:nvContentPartPr>
              <p14:xfrm>
                <a:off x="2297913" y="3047228"/>
                <a:ext cx="93240" cy="119880"/>
              </p14:xfrm>
            </p:contentPart>
          </mc:Choice>
          <mc:Fallback xmlns="">
            <p:pic>
              <p:nvPicPr>
                <p:cNvPr id="20" name="Ink 19">
                  <a:extLst>
                    <a:ext uri="{FF2B5EF4-FFF2-40B4-BE49-F238E27FC236}">
                      <a16:creationId xmlns:a16="http://schemas.microsoft.com/office/drawing/2014/main" id="{637C5385-CD85-458E-B7EC-FEB2C176B407}"/>
                    </a:ext>
                  </a:extLst>
                </p:cNvPr>
                <p:cNvPicPr/>
                <p:nvPr/>
              </p:nvPicPr>
              <p:blipFill>
                <a:blip r:embed="rId23"/>
                <a:stretch>
                  <a:fillRect/>
                </a:stretch>
              </p:blipFill>
              <p:spPr>
                <a:xfrm>
                  <a:off x="2279913" y="3029588"/>
                  <a:ext cx="128880" cy="155520"/>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21" name="Ink 20">
                  <a:extLst>
                    <a:ext uri="{FF2B5EF4-FFF2-40B4-BE49-F238E27FC236}">
                      <a16:creationId xmlns:a16="http://schemas.microsoft.com/office/drawing/2014/main" id="{B123CE9B-6736-4033-8723-F008A0A32BEC}"/>
                    </a:ext>
                  </a:extLst>
                </p14:cNvPr>
                <p14:cNvContentPartPr/>
                <p14:nvPr/>
              </p14:nvContentPartPr>
              <p14:xfrm>
                <a:off x="2412393" y="3004388"/>
                <a:ext cx="232560" cy="121320"/>
              </p14:xfrm>
            </p:contentPart>
          </mc:Choice>
          <mc:Fallback xmlns="">
            <p:pic>
              <p:nvPicPr>
                <p:cNvPr id="21" name="Ink 20">
                  <a:extLst>
                    <a:ext uri="{FF2B5EF4-FFF2-40B4-BE49-F238E27FC236}">
                      <a16:creationId xmlns:a16="http://schemas.microsoft.com/office/drawing/2014/main" id="{B123CE9B-6736-4033-8723-F008A0A32BEC}"/>
                    </a:ext>
                  </a:extLst>
                </p:cNvPr>
                <p:cNvPicPr/>
                <p:nvPr/>
              </p:nvPicPr>
              <p:blipFill>
                <a:blip r:embed="rId25"/>
                <a:stretch>
                  <a:fillRect/>
                </a:stretch>
              </p:blipFill>
              <p:spPr>
                <a:xfrm>
                  <a:off x="2394753" y="2986388"/>
                  <a:ext cx="268200" cy="15696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22" name="Ink 21">
                  <a:extLst>
                    <a:ext uri="{FF2B5EF4-FFF2-40B4-BE49-F238E27FC236}">
                      <a16:creationId xmlns:a16="http://schemas.microsoft.com/office/drawing/2014/main" id="{28655AA3-C885-46EB-A4CF-C53C099EA91B}"/>
                    </a:ext>
                  </a:extLst>
                </p14:cNvPr>
                <p14:cNvContentPartPr/>
                <p14:nvPr/>
              </p14:nvContentPartPr>
              <p14:xfrm>
                <a:off x="2688873" y="3015548"/>
                <a:ext cx="97920" cy="103680"/>
              </p14:xfrm>
            </p:contentPart>
          </mc:Choice>
          <mc:Fallback xmlns="">
            <p:pic>
              <p:nvPicPr>
                <p:cNvPr id="22" name="Ink 21">
                  <a:extLst>
                    <a:ext uri="{FF2B5EF4-FFF2-40B4-BE49-F238E27FC236}">
                      <a16:creationId xmlns:a16="http://schemas.microsoft.com/office/drawing/2014/main" id="{28655AA3-C885-46EB-A4CF-C53C099EA91B}"/>
                    </a:ext>
                  </a:extLst>
                </p:cNvPr>
                <p:cNvPicPr/>
                <p:nvPr/>
              </p:nvPicPr>
              <p:blipFill>
                <a:blip r:embed="rId27"/>
                <a:stretch>
                  <a:fillRect/>
                </a:stretch>
              </p:blipFill>
              <p:spPr>
                <a:xfrm>
                  <a:off x="2671233" y="2997908"/>
                  <a:ext cx="133560" cy="139320"/>
                </a:xfrm>
                <a:prstGeom prst="rect">
                  <a:avLst/>
                </a:prstGeom>
              </p:spPr>
            </p:pic>
          </mc:Fallback>
        </mc:AlternateContent>
      </p:grpSp>
      <p:grpSp>
        <p:nvGrpSpPr>
          <p:cNvPr id="28" name="Group 27">
            <a:extLst>
              <a:ext uri="{FF2B5EF4-FFF2-40B4-BE49-F238E27FC236}">
                <a16:creationId xmlns:a16="http://schemas.microsoft.com/office/drawing/2014/main" id="{87F93D94-54B6-4B9D-9606-AF575CD99F07}"/>
              </a:ext>
            </a:extLst>
          </p:cNvPr>
          <p:cNvGrpSpPr/>
          <p:nvPr/>
        </p:nvGrpSpPr>
        <p:grpSpPr>
          <a:xfrm>
            <a:off x="3023673" y="2912588"/>
            <a:ext cx="1227600" cy="219600"/>
            <a:chOff x="3023673" y="2912588"/>
            <a:chExt cx="1227600" cy="219600"/>
          </a:xfrm>
        </p:grpSpPr>
        <mc:AlternateContent xmlns:mc="http://schemas.openxmlformats.org/markup-compatibility/2006" xmlns:p14="http://schemas.microsoft.com/office/powerpoint/2010/main">
          <mc:Choice Requires="p14">
            <p:contentPart p14:bwMode="auto" r:id="rId28">
              <p14:nvContentPartPr>
                <p14:cNvPr id="23" name="Ink 22">
                  <a:extLst>
                    <a:ext uri="{FF2B5EF4-FFF2-40B4-BE49-F238E27FC236}">
                      <a16:creationId xmlns:a16="http://schemas.microsoft.com/office/drawing/2014/main" id="{3F45D0A4-B376-419C-9ED6-31CD9E105BF1}"/>
                    </a:ext>
                  </a:extLst>
                </p14:cNvPr>
                <p14:cNvContentPartPr/>
                <p14:nvPr/>
              </p14:nvContentPartPr>
              <p14:xfrm>
                <a:off x="3023673" y="3012668"/>
                <a:ext cx="154080" cy="119520"/>
              </p14:xfrm>
            </p:contentPart>
          </mc:Choice>
          <mc:Fallback xmlns="">
            <p:pic>
              <p:nvPicPr>
                <p:cNvPr id="23" name="Ink 22">
                  <a:extLst>
                    <a:ext uri="{FF2B5EF4-FFF2-40B4-BE49-F238E27FC236}">
                      <a16:creationId xmlns:a16="http://schemas.microsoft.com/office/drawing/2014/main" id="{3F45D0A4-B376-419C-9ED6-31CD9E105BF1}"/>
                    </a:ext>
                  </a:extLst>
                </p:cNvPr>
                <p:cNvPicPr/>
                <p:nvPr/>
              </p:nvPicPr>
              <p:blipFill>
                <a:blip r:embed="rId29"/>
                <a:stretch>
                  <a:fillRect/>
                </a:stretch>
              </p:blipFill>
              <p:spPr>
                <a:xfrm>
                  <a:off x="3006033" y="2995028"/>
                  <a:ext cx="189720" cy="155160"/>
                </a:xfrm>
                <a:prstGeom prst="rect">
                  <a:avLst/>
                </a:prstGeom>
              </p:spPr>
            </p:pic>
          </mc:Fallback>
        </mc:AlternateContent>
        <mc:AlternateContent xmlns:mc="http://schemas.openxmlformats.org/markup-compatibility/2006" xmlns:p14="http://schemas.microsoft.com/office/powerpoint/2010/main">
          <mc:Choice Requires="p14">
            <p:contentPart p14:bwMode="auto" r:id="rId30">
              <p14:nvContentPartPr>
                <p14:cNvPr id="24" name="Ink 23">
                  <a:extLst>
                    <a:ext uri="{FF2B5EF4-FFF2-40B4-BE49-F238E27FC236}">
                      <a16:creationId xmlns:a16="http://schemas.microsoft.com/office/drawing/2014/main" id="{F076C06A-07C2-4713-BDBA-03D3DE9A4DBF}"/>
                    </a:ext>
                  </a:extLst>
                </p14:cNvPr>
                <p14:cNvContentPartPr/>
                <p14:nvPr/>
              </p14:nvContentPartPr>
              <p14:xfrm>
                <a:off x="3277113" y="2939228"/>
                <a:ext cx="398160" cy="153360"/>
              </p14:xfrm>
            </p:contentPart>
          </mc:Choice>
          <mc:Fallback xmlns="">
            <p:pic>
              <p:nvPicPr>
                <p:cNvPr id="24" name="Ink 23">
                  <a:extLst>
                    <a:ext uri="{FF2B5EF4-FFF2-40B4-BE49-F238E27FC236}">
                      <a16:creationId xmlns:a16="http://schemas.microsoft.com/office/drawing/2014/main" id="{F076C06A-07C2-4713-BDBA-03D3DE9A4DBF}"/>
                    </a:ext>
                  </a:extLst>
                </p:cNvPr>
                <p:cNvPicPr/>
                <p:nvPr/>
              </p:nvPicPr>
              <p:blipFill>
                <a:blip r:embed="rId31"/>
                <a:stretch>
                  <a:fillRect/>
                </a:stretch>
              </p:blipFill>
              <p:spPr>
                <a:xfrm>
                  <a:off x="3259113" y="2921228"/>
                  <a:ext cx="433800" cy="189000"/>
                </a:xfrm>
                <a:prstGeom prst="rect">
                  <a:avLst/>
                </a:prstGeom>
              </p:spPr>
            </p:pic>
          </mc:Fallback>
        </mc:AlternateContent>
        <mc:AlternateContent xmlns:mc="http://schemas.openxmlformats.org/markup-compatibility/2006" xmlns:p14="http://schemas.microsoft.com/office/powerpoint/2010/main">
          <mc:Choice Requires="p14">
            <p:contentPart p14:bwMode="auto" r:id="rId32">
              <p14:nvContentPartPr>
                <p14:cNvPr id="25" name="Ink 24">
                  <a:extLst>
                    <a:ext uri="{FF2B5EF4-FFF2-40B4-BE49-F238E27FC236}">
                      <a16:creationId xmlns:a16="http://schemas.microsoft.com/office/drawing/2014/main" id="{207B822C-1C49-4F4E-8B2B-BD10FE96FA19}"/>
                    </a:ext>
                  </a:extLst>
                </p14:cNvPr>
                <p14:cNvContentPartPr/>
                <p14:nvPr/>
              </p14:nvContentPartPr>
              <p14:xfrm>
                <a:off x="3715233" y="3001868"/>
                <a:ext cx="138240" cy="80640"/>
              </p14:xfrm>
            </p:contentPart>
          </mc:Choice>
          <mc:Fallback xmlns="">
            <p:pic>
              <p:nvPicPr>
                <p:cNvPr id="25" name="Ink 24">
                  <a:extLst>
                    <a:ext uri="{FF2B5EF4-FFF2-40B4-BE49-F238E27FC236}">
                      <a16:creationId xmlns:a16="http://schemas.microsoft.com/office/drawing/2014/main" id="{207B822C-1C49-4F4E-8B2B-BD10FE96FA19}"/>
                    </a:ext>
                  </a:extLst>
                </p:cNvPr>
                <p:cNvPicPr/>
                <p:nvPr/>
              </p:nvPicPr>
              <p:blipFill>
                <a:blip r:embed="rId33"/>
                <a:stretch>
                  <a:fillRect/>
                </a:stretch>
              </p:blipFill>
              <p:spPr>
                <a:xfrm>
                  <a:off x="3697593" y="2983868"/>
                  <a:ext cx="173880" cy="116280"/>
                </a:xfrm>
                <a:prstGeom prst="rect">
                  <a:avLst/>
                </a:prstGeom>
              </p:spPr>
            </p:pic>
          </mc:Fallback>
        </mc:AlternateContent>
        <mc:AlternateContent xmlns:mc="http://schemas.openxmlformats.org/markup-compatibility/2006" xmlns:p14="http://schemas.microsoft.com/office/powerpoint/2010/main">
          <mc:Choice Requires="p14">
            <p:contentPart p14:bwMode="auto" r:id="rId34">
              <p14:nvContentPartPr>
                <p14:cNvPr id="26" name="Ink 25">
                  <a:extLst>
                    <a:ext uri="{FF2B5EF4-FFF2-40B4-BE49-F238E27FC236}">
                      <a16:creationId xmlns:a16="http://schemas.microsoft.com/office/drawing/2014/main" id="{0CE6DB2C-6701-4B26-8148-4B1BBD8C874F}"/>
                    </a:ext>
                  </a:extLst>
                </p14:cNvPr>
                <p14:cNvContentPartPr/>
                <p14:nvPr/>
              </p14:nvContentPartPr>
              <p14:xfrm>
                <a:off x="3871473" y="3020588"/>
                <a:ext cx="162360" cy="81360"/>
              </p14:xfrm>
            </p:contentPart>
          </mc:Choice>
          <mc:Fallback xmlns="">
            <p:pic>
              <p:nvPicPr>
                <p:cNvPr id="26" name="Ink 25">
                  <a:extLst>
                    <a:ext uri="{FF2B5EF4-FFF2-40B4-BE49-F238E27FC236}">
                      <a16:creationId xmlns:a16="http://schemas.microsoft.com/office/drawing/2014/main" id="{0CE6DB2C-6701-4B26-8148-4B1BBD8C874F}"/>
                    </a:ext>
                  </a:extLst>
                </p:cNvPr>
                <p:cNvPicPr/>
                <p:nvPr/>
              </p:nvPicPr>
              <p:blipFill>
                <a:blip r:embed="rId35"/>
                <a:stretch>
                  <a:fillRect/>
                </a:stretch>
              </p:blipFill>
              <p:spPr>
                <a:xfrm>
                  <a:off x="3853833" y="3002948"/>
                  <a:ext cx="198000" cy="117000"/>
                </a:xfrm>
                <a:prstGeom prst="rect">
                  <a:avLst/>
                </a:prstGeom>
              </p:spPr>
            </p:pic>
          </mc:Fallback>
        </mc:AlternateContent>
        <mc:AlternateContent xmlns:mc="http://schemas.openxmlformats.org/markup-compatibility/2006" xmlns:p14="http://schemas.microsoft.com/office/powerpoint/2010/main">
          <mc:Choice Requires="p14">
            <p:contentPart p14:bwMode="auto" r:id="rId36">
              <p14:nvContentPartPr>
                <p14:cNvPr id="27" name="Ink 26">
                  <a:extLst>
                    <a:ext uri="{FF2B5EF4-FFF2-40B4-BE49-F238E27FC236}">
                      <a16:creationId xmlns:a16="http://schemas.microsoft.com/office/drawing/2014/main" id="{188AC939-4977-403B-BFE5-BA74EB678294}"/>
                    </a:ext>
                  </a:extLst>
                </p14:cNvPr>
                <p14:cNvContentPartPr/>
                <p14:nvPr/>
              </p14:nvContentPartPr>
              <p14:xfrm>
                <a:off x="4074873" y="2912588"/>
                <a:ext cx="176400" cy="163440"/>
              </p14:xfrm>
            </p:contentPart>
          </mc:Choice>
          <mc:Fallback xmlns="">
            <p:pic>
              <p:nvPicPr>
                <p:cNvPr id="27" name="Ink 26">
                  <a:extLst>
                    <a:ext uri="{FF2B5EF4-FFF2-40B4-BE49-F238E27FC236}">
                      <a16:creationId xmlns:a16="http://schemas.microsoft.com/office/drawing/2014/main" id="{188AC939-4977-403B-BFE5-BA74EB678294}"/>
                    </a:ext>
                  </a:extLst>
                </p:cNvPr>
                <p:cNvPicPr/>
                <p:nvPr/>
              </p:nvPicPr>
              <p:blipFill>
                <a:blip r:embed="rId37"/>
                <a:stretch>
                  <a:fillRect/>
                </a:stretch>
              </p:blipFill>
              <p:spPr>
                <a:xfrm>
                  <a:off x="4056873" y="2894948"/>
                  <a:ext cx="212040" cy="199080"/>
                </a:xfrm>
                <a:prstGeom prst="rect">
                  <a:avLst/>
                </a:prstGeom>
              </p:spPr>
            </p:pic>
          </mc:Fallback>
        </mc:AlternateContent>
      </p:grpSp>
      <p:grpSp>
        <p:nvGrpSpPr>
          <p:cNvPr id="143" name="Group 142">
            <a:extLst>
              <a:ext uri="{FF2B5EF4-FFF2-40B4-BE49-F238E27FC236}">
                <a16:creationId xmlns:a16="http://schemas.microsoft.com/office/drawing/2014/main" id="{5C29975A-03FA-4E04-B0F5-0099ED8B65C5}"/>
              </a:ext>
            </a:extLst>
          </p:cNvPr>
          <p:cNvGrpSpPr/>
          <p:nvPr/>
        </p:nvGrpSpPr>
        <p:grpSpPr>
          <a:xfrm>
            <a:off x="2805153" y="1103228"/>
            <a:ext cx="996480" cy="209160"/>
            <a:chOff x="2805153" y="1103228"/>
            <a:chExt cx="996480" cy="209160"/>
          </a:xfrm>
        </p:grpSpPr>
        <mc:AlternateContent xmlns:mc="http://schemas.openxmlformats.org/markup-compatibility/2006" xmlns:p14="http://schemas.microsoft.com/office/powerpoint/2010/main">
          <mc:Choice Requires="p14">
            <p:contentPart p14:bwMode="auto" r:id="rId38">
              <p14:nvContentPartPr>
                <p14:cNvPr id="30" name="Ink 29">
                  <a:extLst>
                    <a:ext uri="{FF2B5EF4-FFF2-40B4-BE49-F238E27FC236}">
                      <a16:creationId xmlns:a16="http://schemas.microsoft.com/office/drawing/2014/main" id="{72D90D68-CB48-47B7-83BE-A490FF3F7837}"/>
                    </a:ext>
                  </a:extLst>
                </p14:cNvPr>
                <p14:cNvContentPartPr/>
                <p14:nvPr/>
              </p14:nvContentPartPr>
              <p14:xfrm>
                <a:off x="2805153" y="1103228"/>
                <a:ext cx="246600" cy="209160"/>
              </p14:xfrm>
            </p:contentPart>
          </mc:Choice>
          <mc:Fallback xmlns="">
            <p:pic>
              <p:nvPicPr>
                <p:cNvPr id="30" name="Ink 29">
                  <a:extLst>
                    <a:ext uri="{FF2B5EF4-FFF2-40B4-BE49-F238E27FC236}">
                      <a16:creationId xmlns:a16="http://schemas.microsoft.com/office/drawing/2014/main" id="{72D90D68-CB48-47B7-83BE-A490FF3F7837}"/>
                    </a:ext>
                  </a:extLst>
                </p:cNvPr>
                <p:cNvPicPr/>
                <p:nvPr/>
              </p:nvPicPr>
              <p:blipFill>
                <a:blip r:embed="rId39"/>
                <a:stretch>
                  <a:fillRect/>
                </a:stretch>
              </p:blipFill>
              <p:spPr>
                <a:xfrm>
                  <a:off x="2787513" y="1085588"/>
                  <a:ext cx="282240" cy="244800"/>
                </a:xfrm>
                <a:prstGeom prst="rect">
                  <a:avLst/>
                </a:prstGeom>
              </p:spPr>
            </p:pic>
          </mc:Fallback>
        </mc:AlternateContent>
        <mc:AlternateContent xmlns:mc="http://schemas.openxmlformats.org/markup-compatibility/2006" xmlns:p14="http://schemas.microsoft.com/office/powerpoint/2010/main">
          <mc:Choice Requires="p14">
            <p:contentPart p14:bwMode="auto" r:id="rId40">
              <p14:nvContentPartPr>
                <p14:cNvPr id="31" name="Ink 30">
                  <a:extLst>
                    <a:ext uri="{FF2B5EF4-FFF2-40B4-BE49-F238E27FC236}">
                      <a16:creationId xmlns:a16="http://schemas.microsoft.com/office/drawing/2014/main" id="{6E258846-27B6-48D3-9F27-2A90B9D06DA4}"/>
                    </a:ext>
                  </a:extLst>
                </p14:cNvPr>
                <p14:cNvContentPartPr/>
                <p14:nvPr/>
              </p14:nvContentPartPr>
              <p14:xfrm>
                <a:off x="3006033" y="1144988"/>
                <a:ext cx="6120" cy="13320"/>
              </p14:xfrm>
            </p:contentPart>
          </mc:Choice>
          <mc:Fallback xmlns="">
            <p:pic>
              <p:nvPicPr>
                <p:cNvPr id="31" name="Ink 30">
                  <a:extLst>
                    <a:ext uri="{FF2B5EF4-FFF2-40B4-BE49-F238E27FC236}">
                      <a16:creationId xmlns:a16="http://schemas.microsoft.com/office/drawing/2014/main" id="{6E258846-27B6-48D3-9F27-2A90B9D06DA4}"/>
                    </a:ext>
                  </a:extLst>
                </p:cNvPr>
                <p:cNvPicPr/>
                <p:nvPr/>
              </p:nvPicPr>
              <p:blipFill>
                <a:blip r:embed="rId41"/>
                <a:stretch>
                  <a:fillRect/>
                </a:stretch>
              </p:blipFill>
              <p:spPr>
                <a:xfrm>
                  <a:off x="2988393" y="1127348"/>
                  <a:ext cx="41760" cy="48960"/>
                </a:xfrm>
                <a:prstGeom prst="rect">
                  <a:avLst/>
                </a:prstGeom>
              </p:spPr>
            </p:pic>
          </mc:Fallback>
        </mc:AlternateContent>
        <mc:AlternateContent xmlns:mc="http://schemas.openxmlformats.org/markup-compatibility/2006" xmlns:p14="http://schemas.microsoft.com/office/powerpoint/2010/main">
          <mc:Choice Requires="p14">
            <p:contentPart p14:bwMode="auto" r:id="rId42">
              <p14:nvContentPartPr>
                <p14:cNvPr id="128" name="Ink 127">
                  <a:extLst>
                    <a:ext uri="{FF2B5EF4-FFF2-40B4-BE49-F238E27FC236}">
                      <a16:creationId xmlns:a16="http://schemas.microsoft.com/office/drawing/2014/main" id="{67BFDB6C-E464-4927-9F90-59CF23E9AA64}"/>
                    </a:ext>
                  </a:extLst>
                </p14:cNvPr>
                <p14:cNvContentPartPr/>
                <p14:nvPr/>
              </p14:nvContentPartPr>
              <p14:xfrm>
                <a:off x="3133833" y="1209428"/>
                <a:ext cx="160200" cy="102960"/>
              </p14:xfrm>
            </p:contentPart>
          </mc:Choice>
          <mc:Fallback xmlns="">
            <p:pic>
              <p:nvPicPr>
                <p:cNvPr id="128" name="Ink 127">
                  <a:extLst>
                    <a:ext uri="{FF2B5EF4-FFF2-40B4-BE49-F238E27FC236}">
                      <a16:creationId xmlns:a16="http://schemas.microsoft.com/office/drawing/2014/main" id="{67BFDB6C-E464-4927-9F90-59CF23E9AA64}"/>
                    </a:ext>
                  </a:extLst>
                </p:cNvPr>
                <p:cNvPicPr/>
                <p:nvPr/>
              </p:nvPicPr>
              <p:blipFill>
                <a:blip r:embed="rId43"/>
                <a:stretch>
                  <a:fillRect/>
                </a:stretch>
              </p:blipFill>
              <p:spPr>
                <a:xfrm>
                  <a:off x="3116193" y="1191428"/>
                  <a:ext cx="195840" cy="138600"/>
                </a:xfrm>
                <a:prstGeom prst="rect">
                  <a:avLst/>
                </a:prstGeom>
              </p:spPr>
            </p:pic>
          </mc:Fallback>
        </mc:AlternateContent>
        <mc:AlternateContent xmlns:mc="http://schemas.openxmlformats.org/markup-compatibility/2006" xmlns:p14="http://schemas.microsoft.com/office/powerpoint/2010/main">
          <mc:Choice Requires="p14">
            <p:contentPart p14:bwMode="auto" r:id="rId44">
              <p14:nvContentPartPr>
                <p14:cNvPr id="129" name="Ink 128">
                  <a:extLst>
                    <a:ext uri="{FF2B5EF4-FFF2-40B4-BE49-F238E27FC236}">
                      <a16:creationId xmlns:a16="http://schemas.microsoft.com/office/drawing/2014/main" id="{028419BB-DEF4-48B2-804B-63E75AEDFB64}"/>
                    </a:ext>
                  </a:extLst>
                </p14:cNvPr>
                <p14:cNvContentPartPr/>
                <p14:nvPr/>
              </p14:nvContentPartPr>
              <p14:xfrm>
                <a:off x="3322833" y="1192868"/>
                <a:ext cx="281160" cy="113040"/>
              </p14:xfrm>
            </p:contentPart>
          </mc:Choice>
          <mc:Fallback xmlns="">
            <p:pic>
              <p:nvPicPr>
                <p:cNvPr id="129" name="Ink 128">
                  <a:extLst>
                    <a:ext uri="{FF2B5EF4-FFF2-40B4-BE49-F238E27FC236}">
                      <a16:creationId xmlns:a16="http://schemas.microsoft.com/office/drawing/2014/main" id="{028419BB-DEF4-48B2-804B-63E75AEDFB64}"/>
                    </a:ext>
                  </a:extLst>
                </p:cNvPr>
                <p:cNvPicPr/>
                <p:nvPr/>
              </p:nvPicPr>
              <p:blipFill>
                <a:blip r:embed="rId45"/>
                <a:stretch>
                  <a:fillRect/>
                </a:stretch>
              </p:blipFill>
              <p:spPr>
                <a:xfrm>
                  <a:off x="3305193" y="1174868"/>
                  <a:ext cx="316800" cy="148680"/>
                </a:xfrm>
                <a:prstGeom prst="rect">
                  <a:avLst/>
                </a:prstGeom>
              </p:spPr>
            </p:pic>
          </mc:Fallback>
        </mc:AlternateContent>
        <mc:AlternateContent xmlns:mc="http://schemas.openxmlformats.org/markup-compatibility/2006" xmlns:p14="http://schemas.microsoft.com/office/powerpoint/2010/main">
          <mc:Choice Requires="p14">
            <p:contentPart p14:bwMode="auto" r:id="rId46">
              <p14:nvContentPartPr>
                <p14:cNvPr id="130" name="Ink 129">
                  <a:extLst>
                    <a:ext uri="{FF2B5EF4-FFF2-40B4-BE49-F238E27FC236}">
                      <a16:creationId xmlns:a16="http://schemas.microsoft.com/office/drawing/2014/main" id="{01FE53CC-1A07-40C8-B872-F5B60765585E}"/>
                    </a:ext>
                  </a:extLst>
                </p14:cNvPr>
                <p14:cNvContentPartPr/>
                <p14:nvPr/>
              </p14:nvContentPartPr>
              <p14:xfrm>
                <a:off x="3648993" y="1219868"/>
                <a:ext cx="152640" cy="63360"/>
              </p14:xfrm>
            </p:contentPart>
          </mc:Choice>
          <mc:Fallback xmlns="">
            <p:pic>
              <p:nvPicPr>
                <p:cNvPr id="130" name="Ink 129">
                  <a:extLst>
                    <a:ext uri="{FF2B5EF4-FFF2-40B4-BE49-F238E27FC236}">
                      <a16:creationId xmlns:a16="http://schemas.microsoft.com/office/drawing/2014/main" id="{01FE53CC-1A07-40C8-B872-F5B60765585E}"/>
                    </a:ext>
                  </a:extLst>
                </p:cNvPr>
                <p:cNvPicPr/>
                <p:nvPr/>
              </p:nvPicPr>
              <p:blipFill>
                <a:blip r:embed="rId47"/>
                <a:stretch>
                  <a:fillRect/>
                </a:stretch>
              </p:blipFill>
              <p:spPr>
                <a:xfrm>
                  <a:off x="3631353" y="1202228"/>
                  <a:ext cx="188280" cy="99000"/>
                </a:xfrm>
                <a:prstGeom prst="rect">
                  <a:avLst/>
                </a:prstGeom>
              </p:spPr>
            </p:pic>
          </mc:Fallback>
        </mc:AlternateContent>
      </p:grpSp>
      <p:grpSp>
        <p:nvGrpSpPr>
          <p:cNvPr id="142" name="Group 141">
            <a:extLst>
              <a:ext uri="{FF2B5EF4-FFF2-40B4-BE49-F238E27FC236}">
                <a16:creationId xmlns:a16="http://schemas.microsoft.com/office/drawing/2014/main" id="{3D5057A1-448B-4397-B0DC-5157112A6459}"/>
              </a:ext>
            </a:extLst>
          </p:cNvPr>
          <p:cNvGrpSpPr/>
          <p:nvPr/>
        </p:nvGrpSpPr>
        <p:grpSpPr>
          <a:xfrm>
            <a:off x="4025553" y="1143908"/>
            <a:ext cx="1888200" cy="193680"/>
            <a:chOff x="4025553" y="1143908"/>
            <a:chExt cx="1888200" cy="193680"/>
          </a:xfrm>
        </p:grpSpPr>
        <mc:AlternateContent xmlns:mc="http://schemas.openxmlformats.org/markup-compatibility/2006" xmlns:p14="http://schemas.microsoft.com/office/powerpoint/2010/main">
          <mc:Choice Requires="p14">
            <p:contentPart p14:bwMode="auto" r:id="rId48">
              <p14:nvContentPartPr>
                <p14:cNvPr id="131" name="Ink 130">
                  <a:extLst>
                    <a:ext uri="{FF2B5EF4-FFF2-40B4-BE49-F238E27FC236}">
                      <a16:creationId xmlns:a16="http://schemas.microsoft.com/office/drawing/2014/main" id="{6BA16D0D-3A05-444D-A22E-4E9FCB63FF6F}"/>
                    </a:ext>
                  </a:extLst>
                </p14:cNvPr>
                <p14:cNvContentPartPr/>
                <p14:nvPr/>
              </p14:nvContentPartPr>
              <p14:xfrm>
                <a:off x="4025553" y="1161908"/>
                <a:ext cx="209880" cy="153360"/>
              </p14:xfrm>
            </p:contentPart>
          </mc:Choice>
          <mc:Fallback xmlns="">
            <p:pic>
              <p:nvPicPr>
                <p:cNvPr id="131" name="Ink 130">
                  <a:extLst>
                    <a:ext uri="{FF2B5EF4-FFF2-40B4-BE49-F238E27FC236}">
                      <a16:creationId xmlns:a16="http://schemas.microsoft.com/office/drawing/2014/main" id="{6BA16D0D-3A05-444D-A22E-4E9FCB63FF6F}"/>
                    </a:ext>
                  </a:extLst>
                </p:cNvPr>
                <p:cNvPicPr/>
                <p:nvPr/>
              </p:nvPicPr>
              <p:blipFill>
                <a:blip r:embed="rId49"/>
                <a:stretch>
                  <a:fillRect/>
                </a:stretch>
              </p:blipFill>
              <p:spPr>
                <a:xfrm>
                  <a:off x="4007553" y="1143908"/>
                  <a:ext cx="245520" cy="189000"/>
                </a:xfrm>
                <a:prstGeom prst="rect">
                  <a:avLst/>
                </a:prstGeom>
              </p:spPr>
            </p:pic>
          </mc:Fallback>
        </mc:AlternateContent>
        <mc:AlternateContent xmlns:mc="http://schemas.openxmlformats.org/markup-compatibility/2006" xmlns:p14="http://schemas.microsoft.com/office/powerpoint/2010/main">
          <mc:Choice Requires="p14">
            <p:contentPart p14:bwMode="auto" r:id="rId50">
              <p14:nvContentPartPr>
                <p14:cNvPr id="132" name="Ink 131">
                  <a:extLst>
                    <a:ext uri="{FF2B5EF4-FFF2-40B4-BE49-F238E27FC236}">
                      <a16:creationId xmlns:a16="http://schemas.microsoft.com/office/drawing/2014/main" id="{2351AB3E-7DD2-4E69-8645-46B813D1EA9B}"/>
                    </a:ext>
                  </a:extLst>
                </p14:cNvPr>
                <p14:cNvContentPartPr/>
                <p14:nvPr/>
              </p14:nvContentPartPr>
              <p14:xfrm>
                <a:off x="4275393" y="1214108"/>
                <a:ext cx="276120" cy="95400"/>
              </p14:xfrm>
            </p:contentPart>
          </mc:Choice>
          <mc:Fallback xmlns="">
            <p:pic>
              <p:nvPicPr>
                <p:cNvPr id="132" name="Ink 131">
                  <a:extLst>
                    <a:ext uri="{FF2B5EF4-FFF2-40B4-BE49-F238E27FC236}">
                      <a16:creationId xmlns:a16="http://schemas.microsoft.com/office/drawing/2014/main" id="{2351AB3E-7DD2-4E69-8645-46B813D1EA9B}"/>
                    </a:ext>
                  </a:extLst>
                </p:cNvPr>
                <p:cNvPicPr/>
                <p:nvPr/>
              </p:nvPicPr>
              <p:blipFill>
                <a:blip r:embed="rId51"/>
                <a:stretch>
                  <a:fillRect/>
                </a:stretch>
              </p:blipFill>
              <p:spPr>
                <a:xfrm>
                  <a:off x="4257393" y="1196108"/>
                  <a:ext cx="311760" cy="131040"/>
                </a:xfrm>
                <a:prstGeom prst="rect">
                  <a:avLst/>
                </a:prstGeom>
              </p:spPr>
            </p:pic>
          </mc:Fallback>
        </mc:AlternateContent>
        <mc:AlternateContent xmlns:mc="http://schemas.openxmlformats.org/markup-compatibility/2006" xmlns:p14="http://schemas.microsoft.com/office/powerpoint/2010/main">
          <mc:Choice Requires="p14">
            <p:contentPart p14:bwMode="auto" r:id="rId52">
              <p14:nvContentPartPr>
                <p14:cNvPr id="133" name="Ink 132">
                  <a:extLst>
                    <a:ext uri="{FF2B5EF4-FFF2-40B4-BE49-F238E27FC236}">
                      <a16:creationId xmlns:a16="http://schemas.microsoft.com/office/drawing/2014/main" id="{7C607C5B-26EC-4B7C-BA5D-125B2E1590E1}"/>
                    </a:ext>
                  </a:extLst>
                </p14:cNvPr>
                <p14:cNvContentPartPr/>
                <p14:nvPr/>
              </p14:nvContentPartPr>
              <p14:xfrm>
                <a:off x="4683633" y="1143908"/>
                <a:ext cx="140040" cy="181080"/>
              </p14:xfrm>
            </p:contentPart>
          </mc:Choice>
          <mc:Fallback xmlns="">
            <p:pic>
              <p:nvPicPr>
                <p:cNvPr id="133" name="Ink 132">
                  <a:extLst>
                    <a:ext uri="{FF2B5EF4-FFF2-40B4-BE49-F238E27FC236}">
                      <a16:creationId xmlns:a16="http://schemas.microsoft.com/office/drawing/2014/main" id="{7C607C5B-26EC-4B7C-BA5D-125B2E1590E1}"/>
                    </a:ext>
                  </a:extLst>
                </p:cNvPr>
                <p:cNvPicPr/>
                <p:nvPr/>
              </p:nvPicPr>
              <p:blipFill>
                <a:blip r:embed="rId53"/>
                <a:stretch>
                  <a:fillRect/>
                </a:stretch>
              </p:blipFill>
              <p:spPr>
                <a:xfrm>
                  <a:off x="4665633" y="1126268"/>
                  <a:ext cx="175680" cy="216720"/>
                </a:xfrm>
                <a:prstGeom prst="rect">
                  <a:avLst/>
                </a:prstGeom>
              </p:spPr>
            </p:pic>
          </mc:Fallback>
        </mc:AlternateContent>
        <mc:AlternateContent xmlns:mc="http://schemas.openxmlformats.org/markup-compatibility/2006" xmlns:p14="http://schemas.microsoft.com/office/powerpoint/2010/main">
          <mc:Choice Requires="p14">
            <p:contentPart p14:bwMode="auto" r:id="rId54">
              <p14:nvContentPartPr>
                <p14:cNvPr id="134" name="Ink 133">
                  <a:extLst>
                    <a:ext uri="{FF2B5EF4-FFF2-40B4-BE49-F238E27FC236}">
                      <a16:creationId xmlns:a16="http://schemas.microsoft.com/office/drawing/2014/main" id="{57DD58AF-1B22-468A-897A-E318D8BC63B3}"/>
                    </a:ext>
                  </a:extLst>
                </p14:cNvPr>
                <p14:cNvContentPartPr/>
                <p14:nvPr/>
              </p14:nvContentPartPr>
              <p14:xfrm>
                <a:off x="4878033" y="1225988"/>
                <a:ext cx="43200" cy="74160"/>
              </p14:xfrm>
            </p:contentPart>
          </mc:Choice>
          <mc:Fallback xmlns="">
            <p:pic>
              <p:nvPicPr>
                <p:cNvPr id="134" name="Ink 133">
                  <a:extLst>
                    <a:ext uri="{FF2B5EF4-FFF2-40B4-BE49-F238E27FC236}">
                      <a16:creationId xmlns:a16="http://schemas.microsoft.com/office/drawing/2014/main" id="{57DD58AF-1B22-468A-897A-E318D8BC63B3}"/>
                    </a:ext>
                  </a:extLst>
                </p:cNvPr>
                <p:cNvPicPr/>
                <p:nvPr/>
              </p:nvPicPr>
              <p:blipFill>
                <a:blip r:embed="rId55"/>
                <a:stretch>
                  <a:fillRect/>
                </a:stretch>
              </p:blipFill>
              <p:spPr>
                <a:xfrm>
                  <a:off x="4860393" y="1208348"/>
                  <a:ext cx="78840" cy="109800"/>
                </a:xfrm>
                <a:prstGeom prst="rect">
                  <a:avLst/>
                </a:prstGeom>
              </p:spPr>
            </p:pic>
          </mc:Fallback>
        </mc:AlternateContent>
        <mc:AlternateContent xmlns:mc="http://schemas.openxmlformats.org/markup-compatibility/2006" xmlns:p14="http://schemas.microsoft.com/office/powerpoint/2010/main">
          <mc:Choice Requires="p14">
            <p:contentPart p14:bwMode="auto" r:id="rId56">
              <p14:nvContentPartPr>
                <p14:cNvPr id="135" name="Ink 134">
                  <a:extLst>
                    <a:ext uri="{FF2B5EF4-FFF2-40B4-BE49-F238E27FC236}">
                      <a16:creationId xmlns:a16="http://schemas.microsoft.com/office/drawing/2014/main" id="{C3DBC8D7-DC55-4451-9CF7-AD010321CD26}"/>
                    </a:ext>
                  </a:extLst>
                </p14:cNvPr>
                <p14:cNvContentPartPr/>
                <p14:nvPr/>
              </p14:nvContentPartPr>
              <p14:xfrm>
                <a:off x="4905753" y="1152908"/>
                <a:ext cx="502560" cy="157680"/>
              </p14:xfrm>
            </p:contentPart>
          </mc:Choice>
          <mc:Fallback xmlns="">
            <p:pic>
              <p:nvPicPr>
                <p:cNvPr id="135" name="Ink 134">
                  <a:extLst>
                    <a:ext uri="{FF2B5EF4-FFF2-40B4-BE49-F238E27FC236}">
                      <a16:creationId xmlns:a16="http://schemas.microsoft.com/office/drawing/2014/main" id="{C3DBC8D7-DC55-4451-9CF7-AD010321CD26}"/>
                    </a:ext>
                  </a:extLst>
                </p:cNvPr>
                <p:cNvPicPr/>
                <p:nvPr/>
              </p:nvPicPr>
              <p:blipFill>
                <a:blip r:embed="rId57"/>
                <a:stretch>
                  <a:fillRect/>
                </a:stretch>
              </p:blipFill>
              <p:spPr>
                <a:xfrm>
                  <a:off x="4887753" y="1134908"/>
                  <a:ext cx="538200" cy="193320"/>
                </a:xfrm>
                <a:prstGeom prst="rect">
                  <a:avLst/>
                </a:prstGeom>
              </p:spPr>
            </p:pic>
          </mc:Fallback>
        </mc:AlternateContent>
        <mc:AlternateContent xmlns:mc="http://schemas.openxmlformats.org/markup-compatibility/2006" xmlns:p14="http://schemas.microsoft.com/office/powerpoint/2010/main">
          <mc:Choice Requires="p14">
            <p:contentPart p14:bwMode="auto" r:id="rId58">
              <p14:nvContentPartPr>
                <p14:cNvPr id="136" name="Ink 135">
                  <a:extLst>
                    <a:ext uri="{FF2B5EF4-FFF2-40B4-BE49-F238E27FC236}">
                      <a16:creationId xmlns:a16="http://schemas.microsoft.com/office/drawing/2014/main" id="{AFD563BF-E4D8-43BD-8EC3-CE2196E9E10D}"/>
                    </a:ext>
                  </a:extLst>
                </p14:cNvPr>
                <p14:cNvContentPartPr/>
                <p14:nvPr/>
              </p14:nvContentPartPr>
              <p14:xfrm>
                <a:off x="5406513" y="1236428"/>
                <a:ext cx="132480" cy="93600"/>
              </p14:xfrm>
            </p:contentPart>
          </mc:Choice>
          <mc:Fallback xmlns="">
            <p:pic>
              <p:nvPicPr>
                <p:cNvPr id="136" name="Ink 135">
                  <a:extLst>
                    <a:ext uri="{FF2B5EF4-FFF2-40B4-BE49-F238E27FC236}">
                      <a16:creationId xmlns:a16="http://schemas.microsoft.com/office/drawing/2014/main" id="{AFD563BF-E4D8-43BD-8EC3-CE2196E9E10D}"/>
                    </a:ext>
                  </a:extLst>
                </p:cNvPr>
                <p:cNvPicPr/>
                <p:nvPr/>
              </p:nvPicPr>
              <p:blipFill>
                <a:blip r:embed="rId59"/>
                <a:stretch>
                  <a:fillRect/>
                </a:stretch>
              </p:blipFill>
              <p:spPr>
                <a:xfrm>
                  <a:off x="5388873" y="1218788"/>
                  <a:ext cx="168120" cy="129240"/>
                </a:xfrm>
                <a:prstGeom prst="rect">
                  <a:avLst/>
                </a:prstGeom>
              </p:spPr>
            </p:pic>
          </mc:Fallback>
        </mc:AlternateContent>
        <mc:AlternateContent xmlns:mc="http://schemas.openxmlformats.org/markup-compatibility/2006" xmlns:p14="http://schemas.microsoft.com/office/powerpoint/2010/main">
          <mc:Choice Requires="p14">
            <p:contentPart p14:bwMode="auto" r:id="rId60">
              <p14:nvContentPartPr>
                <p14:cNvPr id="137" name="Ink 136">
                  <a:extLst>
                    <a:ext uri="{FF2B5EF4-FFF2-40B4-BE49-F238E27FC236}">
                      <a16:creationId xmlns:a16="http://schemas.microsoft.com/office/drawing/2014/main" id="{EDD3A733-DC9E-4038-8654-B32F5FDC4C11}"/>
                    </a:ext>
                  </a:extLst>
                </p14:cNvPr>
                <p14:cNvContentPartPr/>
                <p14:nvPr/>
              </p14:nvContentPartPr>
              <p14:xfrm>
                <a:off x="5542593" y="1152548"/>
                <a:ext cx="31680" cy="60480"/>
              </p14:xfrm>
            </p:contentPart>
          </mc:Choice>
          <mc:Fallback xmlns="">
            <p:pic>
              <p:nvPicPr>
                <p:cNvPr id="137" name="Ink 136">
                  <a:extLst>
                    <a:ext uri="{FF2B5EF4-FFF2-40B4-BE49-F238E27FC236}">
                      <a16:creationId xmlns:a16="http://schemas.microsoft.com/office/drawing/2014/main" id="{EDD3A733-DC9E-4038-8654-B32F5FDC4C11}"/>
                    </a:ext>
                  </a:extLst>
                </p:cNvPr>
                <p:cNvPicPr/>
                <p:nvPr/>
              </p:nvPicPr>
              <p:blipFill>
                <a:blip r:embed="rId61"/>
                <a:stretch>
                  <a:fillRect/>
                </a:stretch>
              </p:blipFill>
              <p:spPr>
                <a:xfrm>
                  <a:off x="5524593" y="1134548"/>
                  <a:ext cx="67320" cy="96120"/>
                </a:xfrm>
                <a:prstGeom prst="rect">
                  <a:avLst/>
                </a:prstGeom>
              </p:spPr>
            </p:pic>
          </mc:Fallback>
        </mc:AlternateContent>
        <mc:AlternateContent xmlns:mc="http://schemas.openxmlformats.org/markup-compatibility/2006" xmlns:p14="http://schemas.microsoft.com/office/powerpoint/2010/main">
          <mc:Choice Requires="p14">
            <p:contentPart p14:bwMode="auto" r:id="rId62">
              <p14:nvContentPartPr>
                <p14:cNvPr id="141" name="Ink 140">
                  <a:extLst>
                    <a:ext uri="{FF2B5EF4-FFF2-40B4-BE49-F238E27FC236}">
                      <a16:creationId xmlns:a16="http://schemas.microsoft.com/office/drawing/2014/main" id="{ADE5392D-A6AF-400F-BFD4-1DBAC550EFDF}"/>
                    </a:ext>
                  </a:extLst>
                </p14:cNvPr>
                <p14:cNvContentPartPr/>
                <p14:nvPr/>
              </p14:nvContentPartPr>
              <p14:xfrm>
                <a:off x="5616753" y="1193588"/>
                <a:ext cx="297000" cy="144000"/>
              </p14:xfrm>
            </p:contentPart>
          </mc:Choice>
          <mc:Fallback xmlns="">
            <p:pic>
              <p:nvPicPr>
                <p:cNvPr id="141" name="Ink 140">
                  <a:extLst>
                    <a:ext uri="{FF2B5EF4-FFF2-40B4-BE49-F238E27FC236}">
                      <a16:creationId xmlns:a16="http://schemas.microsoft.com/office/drawing/2014/main" id="{ADE5392D-A6AF-400F-BFD4-1DBAC550EFDF}"/>
                    </a:ext>
                  </a:extLst>
                </p:cNvPr>
                <p:cNvPicPr/>
                <p:nvPr/>
              </p:nvPicPr>
              <p:blipFill>
                <a:blip r:embed="rId63"/>
                <a:stretch>
                  <a:fillRect/>
                </a:stretch>
              </p:blipFill>
              <p:spPr>
                <a:xfrm>
                  <a:off x="5599113" y="1175588"/>
                  <a:ext cx="332640" cy="179640"/>
                </a:xfrm>
                <a:prstGeom prst="rect">
                  <a:avLst/>
                </a:prstGeom>
              </p:spPr>
            </p:pic>
          </mc:Fallback>
        </mc:AlternateContent>
      </p:grpSp>
      <p:grpSp>
        <p:nvGrpSpPr>
          <p:cNvPr id="9" name="Group 8">
            <a:extLst>
              <a:ext uri="{FF2B5EF4-FFF2-40B4-BE49-F238E27FC236}">
                <a16:creationId xmlns:a16="http://schemas.microsoft.com/office/drawing/2014/main" id="{EFB3AC57-0433-846B-333F-2B997557F370}"/>
              </a:ext>
            </a:extLst>
          </p:cNvPr>
          <p:cNvGrpSpPr/>
          <p:nvPr/>
        </p:nvGrpSpPr>
        <p:grpSpPr>
          <a:xfrm>
            <a:off x="1390763" y="3107757"/>
            <a:ext cx="1167480" cy="1124640"/>
            <a:chOff x="1390763" y="3107757"/>
            <a:chExt cx="1167480" cy="1124640"/>
          </a:xfrm>
        </p:grpSpPr>
        <mc:AlternateContent xmlns:mc="http://schemas.openxmlformats.org/markup-compatibility/2006">
          <mc:Choice xmlns:p14="http://schemas.microsoft.com/office/powerpoint/2010/main" Requires="p14">
            <p:contentPart p14:bwMode="auto" r:id="rId64">
              <p14:nvContentPartPr>
                <p14:cNvPr id="5" name="Ink 4">
                  <a:extLst>
                    <a:ext uri="{FF2B5EF4-FFF2-40B4-BE49-F238E27FC236}">
                      <a16:creationId xmlns:a16="http://schemas.microsoft.com/office/drawing/2014/main" id="{29CB15DB-7692-B2C9-0AEF-806E7CBBB887}"/>
                    </a:ext>
                  </a:extLst>
                </p14:cNvPr>
                <p14:cNvContentPartPr/>
                <p14:nvPr/>
              </p14:nvContentPartPr>
              <p14:xfrm>
                <a:off x="1415603" y="3871317"/>
                <a:ext cx="22320" cy="361080"/>
              </p14:xfrm>
            </p:contentPart>
          </mc:Choice>
          <mc:Fallback>
            <p:pic>
              <p:nvPicPr>
                <p:cNvPr id="5" name="Ink 4">
                  <a:extLst>
                    <a:ext uri="{FF2B5EF4-FFF2-40B4-BE49-F238E27FC236}">
                      <a16:creationId xmlns:a16="http://schemas.microsoft.com/office/drawing/2014/main" id="{29CB15DB-7692-B2C9-0AEF-806E7CBBB887}"/>
                    </a:ext>
                  </a:extLst>
                </p:cNvPr>
                <p:cNvPicPr/>
                <p:nvPr/>
              </p:nvPicPr>
              <p:blipFill>
                <a:blip r:embed="rId65"/>
                <a:stretch>
                  <a:fillRect/>
                </a:stretch>
              </p:blipFill>
              <p:spPr>
                <a:xfrm>
                  <a:off x="1400483" y="3856197"/>
                  <a:ext cx="52920" cy="391320"/>
                </a:xfrm>
                <a:prstGeom prst="rect">
                  <a:avLst/>
                </a:prstGeom>
              </p:spPr>
            </p:pic>
          </mc:Fallback>
        </mc:AlternateContent>
        <mc:AlternateContent xmlns:mc="http://schemas.openxmlformats.org/markup-compatibility/2006">
          <mc:Choice xmlns:p14="http://schemas.microsoft.com/office/powerpoint/2010/main" Requires="p14">
            <p:contentPart p14:bwMode="auto" r:id="rId66">
              <p14:nvContentPartPr>
                <p14:cNvPr id="6" name="Ink 5">
                  <a:extLst>
                    <a:ext uri="{FF2B5EF4-FFF2-40B4-BE49-F238E27FC236}">
                      <a16:creationId xmlns:a16="http://schemas.microsoft.com/office/drawing/2014/main" id="{0DAF90B5-88A6-13B4-879B-767E3D972832}"/>
                    </a:ext>
                  </a:extLst>
                </p14:cNvPr>
                <p14:cNvContentPartPr/>
                <p14:nvPr/>
              </p14:nvContentPartPr>
              <p14:xfrm>
                <a:off x="1390763" y="3860517"/>
                <a:ext cx="339840" cy="343080"/>
              </p14:xfrm>
            </p:contentPart>
          </mc:Choice>
          <mc:Fallback>
            <p:pic>
              <p:nvPicPr>
                <p:cNvPr id="6" name="Ink 5">
                  <a:extLst>
                    <a:ext uri="{FF2B5EF4-FFF2-40B4-BE49-F238E27FC236}">
                      <a16:creationId xmlns:a16="http://schemas.microsoft.com/office/drawing/2014/main" id="{0DAF90B5-88A6-13B4-879B-767E3D972832}"/>
                    </a:ext>
                  </a:extLst>
                </p:cNvPr>
                <p:cNvPicPr/>
                <p:nvPr/>
              </p:nvPicPr>
              <p:blipFill>
                <a:blip r:embed="rId67"/>
                <a:stretch>
                  <a:fillRect/>
                </a:stretch>
              </p:blipFill>
              <p:spPr>
                <a:xfrm>
                  <a:off x="1375643" y="3845037"/>
                  <a:ext cx="370080" cy="373680"/>
                </a:xfrm>
                <a:prstGeom prst="rect">
                  <a:avLst/>
                </a:prstGeom>
              </p:spPr>
            </p:pic>
          </mc:Fallback>
        </mc:AlternateContent>
        <mc:AlternateContent xmlns:mc="http://schemas.openxmlformats.org/markup-compatibility/2006">
          <mc:Choice xmlns:p14="http://schemas.microsoft.com/office/powerpoint/2010/main" Requires="p14">
            <p:contentPart p14:bwMode="auto" r:id="rId68">
              <p14:nvContentPartPr>
                <p14:cNvPr id="7" name="Ink 6">
                  <a:extLst>
                    <a:ext uri="{FF2B5EF4-FFF2-40B4-BE49-F238E27FC236}">
                      <a16:creationId xmlns:a16="http://schemas.microsoft.com/office/drawing/2014/main" id="{B02F95EE-484F-1E71-5BBB-EA7AB6131E10}"/>
                    </a:ext>
                  </a:extLst>
                </p14:cNvPr>
                <p14:cNvContentPartPr/>
                <p14:nvPr/>
              </p14:nvContentPartPr>
              <p14:xfrm>
                <a:off x="1723403" y="3107757"/>
                <a:ext cx="834840" cy="784080"/>
              </p14:xfrm>
            </p:contentPart>
          </mc:Choice>
          <mc:Fallback>
            <p:pic>
              <p:nvPicPr>
                <p:cNvPr id="7" name="Ink 6">
                  <a:extLst>
                    <a:ext uri="{FF2B5EF4-FFF2-40B4-BE49-F238E27FC236}">
                      <a16:creationId xmlns:a16="http://schemas.microsoft.com/office/drawing/2014/main" id="{B02F95EE-484F-1E71-5BBB-EA7AB6131E10}"/>
                    </a:ext>
                  </a:extLst>
                </p:cNvPr>
                <p:cNvPicPr/>
                <p:nvPr/>
              </p:nvPicPr>
              <p:blipFill>
                <a:blip r:embed="rId69"/>
                <a:stretch>
                  <a:fillRect/>
                </a:stretch>
              </p:blipFill>
              <p:spPr>
                <a:xfrm>
                  <a:off x="1708283" y="3092277"/>
                  <a:ext cx="865440" cy="81468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70">
            <p14:nvContentPartPr>
              <p14:cNvPr id="11" name="Ink 10">
                <a:extLst>
                  <a:ext uri="{FF2B5EF4-FFF2-40B4-BE49-F238E27FC236}">
                    <a16:creationId xmlns:a16="http://schemas.microsoft.com/office/drawing/2014/main" id="{9A466DCC-7635-0376-1622-97F0E929E394}"/>
                  </a:ext>
                </a:extLst>
              </p14:cNvPr>
              <p14:cNvContentPartPr/>
              <p14:nvPr/>
            </p14:nvContentPartPr>
            <p14:xfrm>
              <a:off x="1019243" y="1698357"/>
              <a:ext cx="310320" cy="237600"/>
            </p14:xfrm>
          </p:contentPart>
        </mc:Choice>
        <mc:Fallback>
          <p:pic>
            <p:nvPicPr>
              <p:cNvPr id="11" name="Ink 10">
                <a:extLst>
                  <a:ext uri="{FF2B5EF4-FFF2-40B4-BE49-F238E27FC236}">
                    <a16:creationId xmlns:a16="http://schemas.microsoft.com/office/drawing/2014/main" id="{9A466DCC-7635-0376-1622-97F0E929E394}"/>
                  </a:ext>
                </a:extLst>
              </p:cNvPr>
              <p:cNvPicPr/>
              <p:nvPr/>
            </p:nvPicPr>
            <p:blipFill>
              <a:blip r:embed="rId71"/>
              <a:stretch>
                <a:fillRect/>
              </a:stretch>
            </p:blipFill>
            <p:spPr>
              <a:xfrm>
                <a:off x="1004123" y="1683237"/>
                <a:ext cx="340920" cy="267840"/>
              </a:xfrm>
              <a:prstGeom prst="rect">
                <a:avLst/>
              </a:prstGeom>
            </p:spPr>
          </p:pic>
        </mc:Fallback>
      </mc:AlternateContent>
      <p:grpSp>
        <p:nvGrpSpPr>
          <p:cNvPr id="43" name="Group 42">
            <a:extLst>
              <a:ext uri="{FF2B5EF4-FFF2-40B4-BE49-F238E27FC236}">
                <a16:creationId xmlns:a16="http://schemas.microsoft.com/office/drawing/2014/main" id="{2BEF1612-673F-8037-1D11-41D15A1E7504}"/>
              </a:ext>
            </a:extLst>
          </p:cNvPr>
          <p:cNvGrpSpPr/>
          <p:nvPr/>
        </p:nvGrpSpPr>
        <p:grpSpPr>
          <a:xfrm>
            <a:off x="992603" y="1361757"/>
            <a:ext cx="559080" cy="619200"/>
            <a:chOff x="992603" y="1361757"/>
            <a:chExt cx="559080" cy="619200"/>
          </a:xfrm>
        </p:grpSpPr>
        <mc:AlternateContent xmlns:mc="http://schemas.openxmlformats.org/markup-compatibility/2006">
          <mc:Choice xmlns:p14="http://schemas.microsoft.com/office/powerpoint/2010/main" Requires="p14">
            <p:contentPart p14:bwMode="auto" r:id="rId72">
              <p14:nvContentPartPr>
                <p14:cNvPr id="12" name="Ink 11">
                  <a:extLst>
                    <a:ext uri="{FF2B5EF4-FFF2-40B4-BE49-F238E27FC236}">
                      <a16:creationId xmlns:a16="http://schemas.microsoft.com/office/drawing/2014/main" id="{35823F20-B06D-B705-C9E8-DD8D620AB326}"/>
                    </a:ext>
                  </a:extLst>
                </p14:cNvPr>
                <p14:cNvContentPartPr/>
                <p14:nvPr/>
              </p14:nvContentPartPr>
              <p14:xfrm>
                <a:off x="1337843" y="1423677"/>
                <a:ext cx="184320" cy="302040"/>
              </p14:xfrm>
            </p:contentPart>
          </mc:Choice>
          <mc:Fallback>
            <p:pic>
              <p:nvPicPr>
                <p:cNvPr id="12" name="Ink 11">
                  <a:extLst>
                    <a:ext uri="{FF2B5EF4-FFF2-40B4-BE49-F238E27FC236}">
                      <a16:creationId xmlns:a16="http://schemas.microsoft.com/office/drawing/2014/main" id="{35823F20-B06D-B705-C9E8-DD8D620AB326}"/>
                    </a:ext>
                  </a:extLst>
                </p:cNvPr>
                <p:cNvPicPr/>
                <p:nvPr/>
              </p:nvPicPr>
              <p:blipFill>
                <a:blip r:embed="rId73"/>
                <a:stretch>
                  <a:fillRect/>
                </a:stretch>
              </p:blipFill>
              <p:spPr>
                <a:xfrm>
                  <a:off x="1322363" y="1408557"/>
                  <a:ext cx="214920" cy="332640"/>
                </a:xfrm>
                <a:prstGeom prst="rect">
                  <a:avLst/>
                </a:prstGeom>
              </p:spPr>
            </p:pic>
          </mc:Fallback>
        </mc:AlternateContent>
        <mc:AlternateContent xmlns:mc="http://schemas.openxmlformats.org/markup-compatibility/2006">
          <mc:Choice xmlns:p14="http://schemas.microsoft.com/office/powerpoint/2010/main" Requires="p14">
            <p:contentPart p14:bwMode="auto" r:id="rId74">
              <p14:nvContentPartPr>
                <p14:cNvPr id="13" name="Ink 12">
                  <a:extLst>
                    <a:ext uri="{FF2B5EF4-FFF2-40B4-BE49-F238E27FC236}">
                      <a16:creationId xmlns:a16="http://schemas.microsoft.com/office/drawing/2014/main" id="{916FCAEC-C43A-3DC1-94FB-2606BDE0FBF0}"/>
                    </a:ext>
                  </a:extLst>
                </p14:cNvPr>
                <p14:cNvContentPartPr/>
                <p14:nvPr/>
              </p14:nvContentPartPr>
              <p14:xfrm>
                <a:off x="1035083" y="1361757"/>
                <a:ext cx="495720" cy="348840"/>
              </p14:xfrm>
            </p:contentPart>
          </mc:Choice>
          <mc:Fallback>
            <p:pic>
              <p:nvPicPr>
                <p:cNvPr id="13" name="Ink 12">
                  <a:extLst>
                    <a:ext uri="{FF2B5EF4-FFF2-40B4-BE49-F238E27FC236}">
                      <a16:creationId xmlns:a16="http://schemas.microsoft.com/office/drawing/2014/main" id="{916FCAEC-C43A-3DC1-94FB-2606BDE0FBF0}"/>
                    </a:ext>
                  </a:extLst>
                </p:cNvPr>
                <p:cNvPicPr/>
                <p:nvPr/>
              </p:nvPicPr>
              <p:blipFill>
                <a:blip r:embed="rId75"/>
                <a:stretch>
                  <a:fillRect/>
                </a:stretch>
              </p:blipFill>
              <p:spPr>
                <a:xfrm>
                  <a:off x="1019963" y="1346637"/>
                  <a:ext cx="526320" cy="379440"/>
                </a:xfrm>
                <a:prstGeom prst="rect">
                  <a:avLst/>
                </a:prstGeom>
              </p:spPr>
            </p:pic>
          </mc:Fallback>
        </mc:AlternateContent>
        <mc:AlternateContent xmlns:mc="http://schemas.openxmlformats.org/markup-compatibility/2006">
          <mc:Choice xmlns:p14="http://schemas.microsoft.com/office/powerpoint/2010/main" Requires="p14">
            <p:contentPart p14:bwMode="auto" r:id="rId76">
              <p14:nvContentPartPr>
                <p14:cNvPr id="32" name="Ink 31">
                  <a:extLst>
                    <a:ext uri="{FF2B5EF4-FFF2-40B4-BE49-F238E27FC236}">
                      <a16:creationId xmlns:a16="http://schemas.microsoft.com/office/drawing/2014/main" id="{FB1EB1A2-20F1-BB40-416B-737B3DCA6805}"/>
                    </a:ext>
                  </a:extLst>
                </p14:cNvPr>
                <p14:cNvContentPartPr/>
                <p14:nvPr/>
              </p14:nvContentPartPr>
              <p14:xfrm>
                <a:off x="992603" y="1707357"/>
                <a:ext cx="64080" cy="273600"/>
              </p14:xfrm>
            </p:contentPart>
          </mc:Choice>
          <mc:Fallback>
            <p:pic>
              <p:nvPicPr>
                <p:cNvPr id="32" name="Ink 31">
                  <a:extLst>
                    <a:ext uri="{FF2B5EF4-FFF2-40B4-BE49-F238E27FC236}">
                      <a16:creationId xmlns:a16="http://schemas.microsoft.com/office/drawing/2014/main" id="{FB1EB1A2-20F1-BB40-416B-737B3DCA6805}"/>
                    </a:ext>
                  </a:extLst>
                </p:cNvPr>
                <p:cNvPicPr/>
                <p:nvPr/>
              </p:nvPicPr>
              <p:blipFill>
                <a:blip r:embed="rId77"/>
                <a:stretch>
                  <a:fillRect/>
                </a:stretch>
              </p:blipFill>
              <p:spPr>
                <a:xfrm>
                  <a:off x="977483" y="1692237"/>
                  <a:ext cx="94680" cy="303840"/>
                </a:xfrm>
                <a:prstGeom prst="rect">
                  <a:avLst/>
                </a:prstGeom>
              </p:spPr>
            </p:pic>
          </mc:Fallback>
        </mc:AlternateContent>
        <mc:AlternateContent xmlns:mc="http://schemas.openxmlformats.org/markup-compatibility/2006">
          <mc:Choice xmlns:p14="http://schemas.microsoft.com/office/powerpoint/2010/main" Requires="p14">
            <p:contentPart p14:bwMode="auto" r:id="rId78">
              <p14:nvContentPartPr>
                <p14:cNvPr id="34" name="Ink 33">
                  <a:extLst>
                    <a:ext uri="{FF2B5EF4-FFF2-40B4-BE49-F238E27FC236}">
                      <a16:creationId xmlns:a16="http://schemas.microsoft.com/office/drawing/2014/main" id="{C7A09A83-8994-FCA2-7C84-ADA3C73B0217}"/>
                    </a:ext>
                  </a:extLst>
                </p14:cNvPr>
                <p14:cNvContentPartPr/>
                <p14:nvPr/>
              </p14:nvContentPartPr>
              <p14:xfrm>
                <a:off x="1495163" y="1451757"/>
                <a:ext cx="56520" cy="194040"/>
              </p14:xfrm>
            </p:contentPart>
          </mc:Choice>
          <mc:Fallback>
            <p:pic>
              <p:nvPicPr>
                <p:cNvPr id="34" name="Ink 33">
                  <a:extLst>
                    <a:ext uri="{FF2B5EF4-FFF2-40B4-BE49-F238E27FC236}">
                      <a16:creationId xmlns:a16="http://schemas.microsoft.com/office/drawing/2014/main" id="{C7A09A83-8994-FCA2-7C84-ADA3C73B0217}"/>
                    </a:ext>
                  </a:extLst>
                </p:cNvPr>
                <p:cNvPicPr/>
                <p:nvPr/>
              </p:nvPicPr>
              <p:blipFill>
                <a:blip r:embed="rId79"/>
                <a:stretch>
                  <a:fillRect/>
                </a:stretch>
              </p:blipFill>
              <p:spPr>
                <a:xfrm>
                  <a:off x="1480043" y="1436637"/>
                  <a:ext cx="87120" cy="224640"/>
                </a:xfrm>
                <a:prstGeom prst="rect">
                  <a:avLst/>
                </a:prstGeom>
              </p:spPr>
            </p:pic>
          </mc:Fallback>
        </mc:AlternateContent>
        <mc:AlternateContent xmlns:mc="http://schemas.openxmlformats.org/markup-compatibility/2006">
          <mc:Choice xmlns:p14="http://schemas.microsoft.com/office/powerpoint/2010/main" Requires="p14">
            <p:contentPart p14:bwMode="auto" r:id="rId80">
              <p14:nvContentPartPr>
                <p14:cNvPr id="36" name="Ink 35">
                  <a:extLst>
                    <a:ext uri="{FF2B5EF4-FFF2-40B4-BE49-F238E27FC236}">
                      <a16:creationId xmlns:a16="http://schemas.microsoft.com/office/drawing/2014/main" id="{D22B43B2-C356-82D0-81C9-4D33273C6225}"/>
                    </a:ext>
                  </a:extLst>
                </p14:cNvPr>
                <p14:cNvContentPartPr/>
                <p14:nvPr/>
              </p14:nvContentPartPr>
              <p14:xfrm>
                <a:off x="1293923" y="1414317"/>
                <a:ext cx="72720" cy="191880"/>
              </p14:xfrm>
            </p:contentPart>
          </mc:Choice>
          <mc:Fallback>
            <p:pic>
              <p:nvPicPr>
                <p:cNvPr id="36" name="Ink 35">
                  <a:extLst>
                    <a:ext uri="{FF2B5EF4-FFF2-40B4-BE49-F238E27FC236}">
                      <a16:creationId xmlns:a16="http://schemas.microsoft.com/office/drawing/2014/main" id="{D22B43B2-C356-82D0-81C9-4D33273C6225}"/>
                    </a:ext>
                  </a:extLst>
                </p:cNvPr>
                <p:cNvPicPr/>
                <p:nvPr/>
              </p:nvPicPr>
              <p:blipFill>
                <a:blip r:embed="rId81"/>
                <a:stretch>
                  <a:fillRect/>
                </a:stretch>
              </p:blipFill>
              <p:spPr>
                <a:xfrm>
                  <a:off x="1278443" y="1399197"/>
                  <a:ext cx="103320" cy="222480"/>
                </a:xfrm>
                <a:prstGeom prst="rect">
                  <a:avLst/>
                </a:prstGeom>
              </p:spPr>
            </p:pic>
          </mc:Fallback>
        </mc:AlternateContent>
        <mc:AlternateContent xmlns:mc="http://schemas.openxmlformats.org/markup-compatibility/2006">
          <mc:Choice xmlns:p14="http://schemas.microsoft.com/office/powerpoint/2010/main" Requires="p14">
            <p:contentPart p14:bwMode="auto" r:id="rId82">
              <p14:nvContentPartPr>
                <p14:cNvPr id="38" name="Ink 37">
                  <a:extLst>
                    <a:ext uri="{FF2B5EF4-FFF2-40B4-BE49-F238E27FC236}">
                      <a16:creationId xmlns:a16="http://schemas.microsoft.com/office/drawing/2014/main" id="{4F1989C2-4315-84A0-4698-6C867DA37F61}"/>
                    </a:ext>
                  </a:extLst>
                </p14:cNvPr>
                <p14:cNvContentPartPr/>
                <p14:nvPr/>
              </p14:nvContentPartPr>
              <p14:xfrm>
                <a:off x="997643" y="1629597"/>
                <a:ext cx="306720" cy="328680"/>
              </p14:xfrm>
            </p:contentPart>
          </mc:Choice>
          <mc:Fallback>
            <p:pic>
              <p:nvPicPr>
                <p:cNvPr id="38" name="Ink 37">
                  <a:extLst>
                    <a:ext uri="{FF2B5EF4-FFF2-40B4-BE49-F238E27FC236}">
                      <a16:creationId xmlns:a16="http://schemas.microsoft.com/office/drawing/2014/main" id="{4F1989C2-4315-84A0-4698-6C867DA37F61}"/>
                    </a:ext>
                  </a:extLst>
                </p:cNvPr>
                <p:cNvPicPr/>
                <p:nvPr/>
              </p:nvPicPr>
              <p:blipFill>
                <a:blip r:embed="rId83"/>
                <a:stretch>
                  <a:fillRect/>
                </a:stretch>
              </p:blipFill>
              <p:spPr>
                <a:xfrm>
                  <a:off x="982163" y="1614117"/>
                  <a:ext cx="337320" cy="359280"/>
                </a:xfrm>
                <a:prstGeom prst="rect">
                  <a:avLst/>
                </a:prstGeom>
              </p:spPr>
            </p:pic>
          </mc:Fallback>
        </mc:AlternateContent>
        <mc:AlternateContent xmlns:mc="http://schemas.openxmlformats.org/markup-compatibility/2006">
          <mc:Choice xmlns:p14="http://schemas.microsoft.com/office/powerpoint/2010/main" Requires="p14">
            <p:contentPart p14:bwMode="auto" r:id="rId84">
              <p14:nvContentPartPr>
                <p14:cNvPr id="40" name="Ink 39">
                  <a:extLst>
                    <a:ext uri="{FF2B5EF4-FFF2-40B4-BE49-F238E27FC236}">
                      <a16:creationId xmlns:a16="http://schemas.microsoft.com/office/drawing/2014/main" id="{9E9A2CF1-85E7-B3BF-C5DE-B6A8494A9DC2}"/>
                    </a:ext>
                  </a:extLst>
                </p14:cNvPr>
                <p14:cNvContentPartPr/>
                <p14:nvPr/>
              </p14:nvContentPartPr>
              <p14:xfrm>
                <a:off x="1285283" y="1660557"/>
                <a:ext cx="241200" cy="293760"/>
              </p14:xfrm>
            </p:contentPart>
          </mc:Choice>
          <mc:Fallback>
            <p:pic>
              <p:nvPicPr>
                <p:cNvPr id="40" name="Ink 39">
                  <a:extLst>
                    <a:ext uri="{FF2B5EF4-FFF2-40B4-BE49-F238E27FC236}">
                      <a16:creationId xmlns:a16="http://schemas.microsoft.com/office/drawing/2014/main" id="{9E9A2CF1-85E7-B3BF-C5DE-B6A8494A9DC2}"/>
                    </a:ext>
                  </a:extLst>
                </p:cNvPr>
                <p:cNvPicPr/>
                <p:nvPr/>
              </p:nvPicPr>
              <p:blipFill>
                <a:blip r:embed="rId85"/>
                <a:stretch>
                  <a:fillRect/>
                </a:stretch>
              </p:blipFill>
              <p:spPr>
                <a:xfrm>
                  <a:off x="1269803" y="1645077"/>
                  <a:ext cx="271800" cy="324360"/>
                </a:xfrm>
                <a:prstGeom prst="rect">
                  <a:avLst/>
                </a:prstGeom>
              </p:spPr>
            </p:pic>
          </mc:Fallback>
        </mc:AlternateContent>
        <mc:AlternateContent xmlns:mc="http://schemas.openxmlformats.org/markup-compatibility/2006">
          <mc:Choice xmlns:p14="http://schemas.microsoft.com/office/powerpoint/2010/main" Requires="p14">
            <p:contentPart p14:bwMode="auto" r:id="rId86">
              <p14:nvContentPartPr>
                <p14:cNvPr id="42" name="Ink 41">
                  <a:extLst>
                    <a:ext uri="{FF2B5EF4-FFF2-40B4-BE49-F238E27FC236}">
                      <a16:creationId xmlns:a16="http://schemas.microsoft.com/office/drawing/2014/main" id="{3F8F9B64-4116-EDFF-49B5-6593427EA89B}"/>
                    </a:ext>
                  </a:extLst>
                </p14:cNvPr>
                <p14:cNvContentPartPr/>
                <p14:nvPr/>
              </p14:nvContentPartPr>
              <p14:xfrm>
                <a:off x="1275923" y="1611957"/>
                <a:ext cx="247320" cy="65880"/>
              </p14:xfrm>
            </p:contentPart>
          </mc:Choice>
          <mc:Fallback>
            <p:pic>
              <p:nvPicPr>
                <p:cNvPr id="42" name="Ink 41">
                  <a:extLst>
                    <a:ext uri="{FF2B5EF4-FFF2-40B4-BE49-F238E27FC236}">
                      <a16:creationId xmlns:a16="http://schemas.microsoft.com/office/drawing/2014/main" id="{3F8F9B64-4116-EDFF-49B5-6593427EA89B}"/>
                    </a:ext>
                  </a:extLst>
                </p:cNvPr>
                <p:cNvPicPr/>
                <p:nvPr/>
              </p:nvPicPr>
              <p:blipFill>
                <a:blip r:embed="rId87"/>
                <a:stretch>
                  <a:fillRect/>
                </a:stretch>
              </p:blipFill>
              <p:spPr>
                <a:xfrm>
                  <a:off x="1260803" y="1596837"/>
                  <a:ext cx="277920" cy="9648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88">
            <p14:nvContentPartPr>
              <p14:cNvPr id="44" name="Ink 43">
                <a:extLst>
                  <a:ext uri="{FF2B5EF4-FFF2-40B4-BE49-F238E27FC236}">
                    <a16:creationId xmlns:a16="http://schemas.microsoft.com/office/drawing/2014/main" id="{6000DEAD-2246-2234-3405-8980D2BB15F4}"/>
                  </a:ext>
                </a:extLst>
              </p14:cNvPr>
              <p14:cNvContentPartPr/>
              <p14:nvPr/>
            </p14:nvContentPartPr>
            <p14:xfrm>
              <a:off x="4245923" y="2288397"/>
              <a:ext cx="1003680" cy="542520"/>
            </p14:xfrm>
          </p:contentPart>
        </mc:Choice>
        <mc:Fallback>
          <p:pic>
            <p:nvPicPr>
              <p:cNvPr id="44" name="Ink 43">
                <a:extLst>
                  <a:ext uri="{FF2B5EF4-FFF2-40B4-BE49-F238E27FC236}">
                    <a16:creationId xmlns:a16="http://schemas.microsoft.com/office/drawing/2014/main" id="{6000DEAD-2246-2234-3405-8980D2BB15F4}"/>
                  </a:ext>
                </a:extLst>
              </p:cNvPr>
              <p:cNvPicPr/>
              <p:nvPr/>
            </p:nvPicPr>
            <p:blipFill>
              <a:blip r:embed="rId89"/>
              <a:stretch>
                <a:fillRect/>
              </a:stretch>
            </p:blipFill>
            <p:spPr>
              <a:xfrm>
                <a:off x="4230443" y="2273277"/>
                <a:ext cx="1034280" cy="573120"/>
              </a:xfrm>
              <a:prstGeom prst="rect">
                <a:avLst/>
              </a:prstGeom>
            </p:spPr>
          </p:pic>
        </mc:Fallback>
      </mc:AlternateContent>
      <p:grpSp>
        <p:nvGrpSpPr>
          <p:cNvPr id="48" name="Group 47">
            <a:extLst>
              <a:ext uri="{FF2B5EF4-FFF2-40B4-BE49-F238E27FC236}">
                <a16:creationId xmlns:a16="http://schemas.microsoft.com/office/drawing/2014/main" id="{151BF404-8156-7B03-0A65-1053089DFB5C}"/>
              </a:ext>
            </a:extLst>
          </p:cNvPr>
          <p:cNvGrpSpPr/>
          <p:nvPr/>
        </p:nvGrpSpPr>
        <p:grpSpPr>
          <a:xfrm>
            <a:off x="6927563" y="2198397"/>
            <a:ext cx="912240" cy="335160"/>
            <a:chOff x="6927563" y="2198397"/>
            <a:chExt cx="912240" cy="335160"/>
          </a:xfrm>
        </p:grpSpPr>
        <mc:AlternateContent xmlns:mc="http://schemas.openxmlformats.org/markup-compatibility/2006">
          <mc:Choice xmlns:p14="http://schemas.microsoft.com/office/powerpoint/2010/main" Requires="p14">
            <p:contentPart p14:bwMode="auto" r:id="rId90">
              <p14:nvContentPartPr>
                <p14:cNvPr id="45" name="Ink 44">
                  <a:extLst>
                    <a:ext uri="{FF2B5EF4-FFF2-40B4-BE49-F238E27FC236}">
                      <a16:creationId xmlns:a16="http://schemas.microsoft.com/office/drawing/2014/main" id="{6ACE96D3-1C47-E768-359E-3C218DA798C8}"/>
                    </a:ext>
                  </a:extLst>
                </p14:cNvPr>
                <p14:cNvContentPartPr/>
                <p14:nvPr/>
              </p14:nvContentPartPr>
              <p14:xfrm>
                <a:off x="6927563" y="2515197"/>
                <a:ext cx="269280" cy="10800"/>
              </p14:xfrm>
            </p:contentPart>
          </mc:Choice>
          <mc:Fallback>
            <p:pic>
              <p:nvPicPr>
                <p:cNvPr id="45" name="Ink 44">
                  <a:extLst>
                    <a:ext uri="{FF2B5EF4-FFF2-40B4-BE49-F238E27FC236}">
                      <a16:creationId xmlns:a16="http://schemas.microsoft.com/office/drawing/2014/main" id="{6ACE96D3-1C47-E768-359E-3C218DA798C8}"/>
                    </a:ext>
                  </a:extLst>
                </p:cNvPr>
                <p:cNvPicPr/>
                <p:nvPr/>
              </p:nvPicPr>
              <p:blipFill>
                <a:blip r:embed="rId91"/>
                <a:stretch>
                  <a:fillRect/>
                </a:stretch>
              </p:blipFill>
              <p:spPr>
                <a:xfrm>
                  <a:off x="6912083" y="2500077"/>
                  <a:ext cx="299520" cy="41400"/>
                </a:xfrm>
                <a:prstGeom prst="rect">
                  <a:avLst/>
                </a:prstGeom>
              </p:spPr>
            </p:pic>
          </mc:Fallback>
        </mc:AlternateContent>
        <mc:AlternateContent xmlns:mc="http://schemas.openxmlformats.org/markup-compatibility/2006">
          <mc:Choice xmlns:p14="http://schemas.microsoft.com/office/powerpoint/2010/main" Requires="p14">
            <p:contentPart p14:bwMode="auto" r:id="rId92">
              <p14:nvContentPartPr>
                <p14:cNvPr id="46" name="Ink 45">
                  <a:extLst>
                    <a:ext uri="{FF2B5EF4-FFF2-40B4-BE49-F238E27FC236}">
                      <a16:creationId xmlns:a16="http://schemas.microsoft.com/office/drawing/2014/main" id="{9022103C-4CD8-C520-2E1E-4895111DB821}"/>
                    </a:ext>
                  </a:extLst>
                </p14:cNvPr>
                <p14:cNvContentPartPr/>
                <p14:nvPr/>
              </p14:nvContentPartPr>
              <p14:xfrm>
                <a:off x="7398443" y="2520597"/>
                <a:ext cx="136080" cy="12960"/>
              </p14:xfrm>
            </p:contentPart>
          </mc:Choice>
          <mc:Fallback>
            <p:pic>
              <p:nvPicPr>
                <p:cNvPr id="46" name="Ink 45">
                  <a:extLst>
                    <a:ext uri="{FF2B5EF4-FFF2-40B4-BE49-F238E27FC236}">
                      <a16:creationId xmlns:a16="http://schemas.microsoft.com/office/drawing/2014/main" id="{9022103C-4CD8-C520-2E1E-4895111DB821}"/>
                    </a:ext>
                  </a:extLst>
                </p:cNvPr>
                <p:cNvPicPr/>
                <p:nvPr/>
              </p:nvPicPr>
              <p:blipFill>
                <a:blip r:embed="rId93"/>
                <a:stretch>
                  <a:fillRect/>
                </a:stretch>
              </p:blipFill>
              <p:spPr>
                <a:xfrm>
                  <a:off x="7383323" y="2505117"/>
                  <a:ext cx="166320" cy="43560"/>
                </a:xfrm>
                <a:prstGeom prst="rect">
                  <a:avLst/>
                </a:prstGeom>
              </p:spPr>
            </p:pic>
          </mc:Fallback>
        </mc:AlternateContent>
        <mc:AlternateContent xmlns:mc="http://schemas.openxmlformats.org/markup-compatibility/2006">
          <mc:Choice xmlns:p14="http://schemas.microsoft.com/office/powerpoint/2010/main" Requires="p14">
            <p:contentPart p14:bwMode="auto" r:id="rId94">
              <p14:nvContentPartPr>
                <p14:cNvPr id="47" name="Ink 46">
                  <a:extLst>
                    <a:ext uri="{FF2B5EF4-FFF2-40B4-BE49-F238E27FC236}">
                      <a16:creationId xmlns:a16="http://schemas.microsoft.com/office/drawing/2014/main" id="{A7E1F5A5-25B4-04BF-66B5-3F915DADED2F}"/>
                    </a:ext>
                  </a:extLst>
                </p14:cNvPr>
                <p14:cNvContentPartPr/>
                <p14:nvPr/>
              </p14:nvContentPartPr>
              <p14:xfrm>
                <a:off x="7580603" y="2198397"/>
                <a:ext cx="259200" cy="292680"/>
              </p14:xfrm>
            </p:contentPart>
          </mc:Choice>
          <mc:Fallback>
            <p:pic>
              <p:nvPicPr>
                <p:cNvPr id="47" name="Ink 46">
                  <a:extLst>
                    <a:ext uri="{FF2B5EF4-FFF2-40B4-BE49-F238E27FC236}">
                      <a16:creationId xmlns:a16="http://schemas.microsoft.com/office/drawing/2014/main" id="{A7E1F5A5-25B4-04BF-66B5-3F915DADED2F}"/>
                    </a:ext>
                  </a:extLst>
                </p:cNvPr>
                <p:cNvPicPr/>
                <p:nvPr/>
              </p:nvPicPr>
              <p:blipFill>
                <a:blip r:embed="rId95"/>
                <a:stretch>
                  <a:fillRect/>
                </a:stretch>
              </p:blipFill>
              <p:spPr>
                <a:xfrm>
                  <a:off x="7565483" y="2183277"/>
                  <a:ext cx="289800" cy="32328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96">
            <p14:nvContentPartPr>
              <p14:cNvPr id="49" name="Ink 48">
                <a:extLst>
                  <a:ext uri="{FF2B5EF4-FFF2-40B4-BE49-F238E27FC236}">
                    <a16:creationId xmlns:a16="http://schemas.microsoft.com/office/drawing/2014/main" id="{DCB6524B-2CB1-A1F9-E2AC-AA50D909C27C}"/>
                  </a:ext>
                </a:extLst>
              </p14:cNvPr>
              <p14:cNvContentPartPr/>
              <p14:nvPr/>
            </p14:nvContentPartPr>
            <p14:xfrm>
              <a:off x="685523" y="2255637"/>
              <a:ext cx="260280" cy="7200"/>
            </p14:xfrm>
          </p:contentPart>
        </mc:Choice>
        <mc:Fallback>
          <p:pic>
            <p:nvPicPr>
              <p:cNvPr id="49" name="Ink 48">
                <a:extLst>
                  <a:ext uri="{FF2B5EF4-FFF2-40B4-BE49-F238E27FC236}">
                    <a16:creationId xmlns:a16="http://schemas.microsoft.com/office/drawing/2014/main" id="{DCB6524B-2CB1-A1F9-E2AC-AA50D909C27C}"/>
                  </a:ext>
                </a:extLst>
              </p:cNvPr>
              <p:cNvPicPr/>
              <p:nvPr/>
            </p:nvPicPr>
            <p:blipFill>
              <a:blip r:embed="rId97"/>
              <a:stretch>
                <a:fillRect/>
              </a:stretch>
            </p:blipFill>
            <p:spPr>
              <a:xfrm>
                <a:off x="670403" y="2240517"/>
                <a:ext cx="290880" cy="37800"/>
              </a:xfrm>
              <a:prstGeom prst="rect">
                <a:avLst/>
              </a:prstGeom>
            </p:spPr>
          </p:pic>
        </mc:Fallback>
      </mc:AlternateContent>
      <mc:AlternateContent xmlns:mc="http://schemas.openxmlformats.org/markup-compatibility/2006">
        <mc:Choice xmlns:p14="http://schemas.microsoft.com/office/powerpoint/2010/main" Requires="p14">
          <p:contentPart p14:bwMode="auto" r:id="rId98">
            <p14:nvContentPartPr>
              <p14:cNvPr id="50" name="Ink 49">
                <a:extLst>
                  <a:ext uri="{FF2B5EF4-FFF2-40B4-BE49-F238E27FC236}">
                    <a16:creationId xmlns:a16="http://schemas.microsoft.com/office/drawing/2014/main" id="{D49D193E-2277-B28E-87B1-175880CE49EA}"/>
                  </a:ext>
                </a:extLst>
              </p14:cNvPr>
              <p14:cNvContentPartPr/>
              <p14:nvPr/>
            </p14:nvContentPartPr>
            <p14:xfrm>
              <a:off x="1249283" y="2850357"/>
              <a:ext cx="338760" cy="20520"/>
            </p14:xfrm>
          </p:contentPart>
        </mc:Choice>
        <mc:Fallback>
          <p:pic>
            <p:nvPicPr>
              <p:cNvPr id="50" name="Ink 49">
                <a:extLst>
                  <a:ext uri="{FF2B5EF4-FFF2-40B4-BE49-F238E27FC236}">
                    <a16:creationId xmlns:a16="http://schemas.microsoft.com/office/drawing/2014/main" id="{D49D193E-2277-B28E-87B1-175880CE49EA}"/>
                  </a:ext>
                </a:extLst>
              </p:cNvPr>
              <p:cNvPicPr/>
              <p:nvPr/>
            </p:nvPicPr>
            <p:blipFill>
              <a:blip r:embed="rId99"/>
              <a:stretch>
                <a:fillRect/>
              </a:stretch>
            </p:blipFill>
            <p:spPr>
              <a:xfrm>
                <a:off x="1234163" y="2835237"/>
                <a:ext cx="369360" cy="51120"/>
              </a:xfrm>
              <a:prstGeom prst="rect">
                <a:avLst/>
              </a:prstGeom>
            </p:spPr>
          </p:pic>
        </mc:Fallback>
      </mc:AlternateContent>
      <p:grpSp>
        <p:nvGrpSpPr>
          <p:cNvPr id="53" name="Group 52">
            <a:extLst>
              <a:ext uri="{FF2B5EF4-FFF2-40B4-BE49-F238E27FC236}">
                <a16:creationId xmlns:a16="http://schemas.microsoft.com/office/drawing/2014/main" id="{56D9469B-2BC6-CE4F-42DA-7BBB6B3F99F9}"/>
              </a:ext>
            </a:extLst>
          </p:cNvPr>
          <p:cNvGrpSpPr/>
          <p:nvPr/>
        </p:nvGrpSpPr>
        <p:grpSpPr>
          <a:xfrm>
            <a:off x="6930803" y="2528517"/>
            <a:ext cx="573480" cy="55440"/>
            <a:chOff x="6930803" y="2528517"/>
            <a:chExt cx="573480" cy="55440"/>
          </a:xfrm>
        </p:grpSpPr>
        <mc:AlternateContent xmlns:mc="http://schemas.openxmlformats.org/markup-compatibility/2006">
          <mc:Choice xmlns:p14="http://schemas.microsoft.com/office/powerpoint/2010/main" Requires="p14">
            <p:contentPart p14:bwMode="auto" r:id="rId100">
              <p14:nvContentPartPr>
                <p14:cNvPr id="51" name="Ink 50">
                  <a:extLst>
                    <a:ext uri="{FF2B5EF4-FFF2-40B4-BE49-F238E27FC236}">
                      <a16:creationId xmlns:a16="http://schemas.microsoft.com/office/drawing/2014/main" id="{2D6F1E9B-1CAB-A62C-96A9-1F18CD63B478}"/>
                    </a:ext>
                  </a:extLst>
                </p14:cNvPr>
                <p14:cNvContentPartPr/>
                <p14:nvPr/>
              </p14:nvContentPartPr>
              <p14:xfrm>
                <a:off x="6930803" y="2528517"/>
                <a:ext cx="269280" cy="55440"/>
              </p14:xfrm>
            </p:contentPart>
          </mc:Choice>
          <mc:Fallback>
            <p:pic>
              <p:nvPicPr>
                <p:cNvPr id="51" name="Ink 50">
                  <a:extLst>
                    <a:ext uri="{FF2B5EF4-FFF2-40B4-BE49-F238E27FC236}">
                      <a16:creationId xmlns:a16="http://schemas.microsoft.com/office/drawing/2014/main" id="{2D6F1E9B-1CAB-A62C-96A9-1F18CD63B478}"/>
                    </a:ext>
                  </a:extLst>
                </p:cNvPr>
                <p:cNvPicPr/>
                <p:nvPr/>
              </p:nvPicPr>
              <p:blipFill>
                <a:blip r:embed="rId101"/>
                <a:stretch>
                  <a:fillRect/>
                </a:stretch>
              </p:blipFill>
              <p:spPr>
                <a:xfrm>
                  <a:off x="6915683" y="2513037"/>
                  <a:ext cx="299880" cy="86040"/>
                </a:xfrm>
                <a:prstGeom prst="rect">
                  <a:avLst/>
                </a:prstGeom>
              </p:spPr>
            </p:pic>
          </mc:Fallback>
        </mc:AlternateContent>
        <mc:AlternateContent xmlns:mc="http://schemas.openxmlformats.org/markup-compatibility/2006">
          <mc:Choice xmlns:p14="http://schemas.microsoft.com/office/powerpoint/2010/main" Requires="p14">
            <p:contentPart p14:bwMode="auto" r:id="rId102">
              <p14:nvContentPartPr>
                <p14:cNvPr id="52" name="Ink 51">
                  <a:extLst>
                    <a:ext uri="{FF2B5EF4-FFF2-40B4-BE49-F238E27FC236}">
                      <a16:creationId xmlns:a16="http://schemas.microsoft.com/office/drawing/2014/main" id="{61DC32F1-4F68-C5C9-123B-D0F8E8AC3A03}"/>
                    </a:ext>
                  </a:extLst>
                </p14:cNvPr>
                <p14:cNvContentPartPr/>
                <p14:nvPr/>
              </p14:nvContentPartPr>
              <p14:xfrm>
                <a:off x="7384403" y="2565597"/>
                <a:ext cx="119880" cy="5400"/>
              </p14:xfrm>
            </p:contentPart>
          </mc:Choice>
          <mc:Fallback>
            <p:pic>
              <p:nvPicPr>
                <p:cNvPr id="52" name="Ink 51">
                  <a:extLst>
                    <a:ext uri="{FF2B5EF4-FFF2-40B4-BE49-F238E27FC236}">
                      <a16:creationId xmlns:a16="http://schemas.microsoft.com/office/drawing/2014/main" id="{61DC32F1-4F68-C5C9-123B-D0F8E8AC3A03}"/>
                    </a:ext>
                  </a:extLst>
                </p:cNvPr>
                <p:cNvPicPr/>
                <p:nvPr/>
              </p:nvPicPr>
              <p:blipFill>
                <a:blip r:embed="rId103"/>
                <a:stretch>
                  <a:fillRect/>
                </a:stretch>
              </p:blipFill>
              <p:spPr>
                <a:xfrm>
                  <a:off x="7369283" y="2550477"/>
                  <a:ext cx="150120" cy="36000"/>
                </a:xfrm>
                <a:prstGeom prst="rect">
                  <a:avLst/>
                </a:prstGeom>
              </p:spPr>
            </p:pic>
          </mc:Fallback>
        </mc:AlternateContent>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44"/>
        <p:cNvGrpSpPr/>
        <p:nvPr/>
      </p:nvGrpSpPr>
      <p:grpSpPr>
        <a:xfrm>
          <a:off x="0" y="0"/>
          <a:ext cx="0" cy="0"/>
          <a:chOff x="0" y="0"/>
          <a:chExt cx="0" cy="0"/>
        </a:xfrm>
      </p:grpSpPr>
      <p:sp>
        <p:nvSpPr>
          <p:cNvPr id="145" name="Google Shape;145;p14"/>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2800"/>
              <a:buNone/>
            </a:pPr>
            <a:r>
              <a:rPr lang="en"/>
              <a:t>Step 1</a:t>
            </a:r>
            <a:endParaRPr/>
          </a:p>
        </p:txBody>
      </p:sp>
      <p:pic>
        <p:nvPicPr>
          <p:cNvPr id="147" name="Google Shape;147;p14"/>
          <p:cNvPicPr preferRelativeResize="0"/>
          <p:nvPr/>
        </p:nvPicPr>
        <p:blipFill rotWithShape="1">
          <a:blip r:embed="rId3">
            <a:alphaModFix/>
          </a:blip>
          <a:srcRect/>
          <a:stretch/>
        </p:blipFill>
        <p:spPr>
          <a:xfrm>
            <a:off x="311700" y="1152475"/>
            <a:ext cx="8520603" cy="2738545"/>
          </a:xfrm>
          <a:prstGeom prst="rect">
            <a:avLst/>
          </a:prstGeom>
          <a:noFill/>
          <a:ln>
            <a:noFill/>
          </a:ln>
        </p:spPr>
      </p:pic>
      <mc:AlternateContent xmlns:mc="http://schemas.openxmlformats.org/markup-compatibility/2006">
        <mc:Choice xmlns:p14="http://schemas.microsoft.com/office/powerpoint/2010/main" Requires="p14">
          <p:contentPart p14:bwMode="auto" r:id="rId4">
            <p14:nvContentPartPr>
              <p14:cNvPr id="4" name="Ink 3">
                <a:extLst>
                  <a:ext uri="{FF2B5EF4-FFF2-40B4-BE49-F238E27FC236}">
                    <a16:creationId xmlns:a16="http://schemas.microsoft.com/office/drawing/2014/main" id="{C065C9C6-397B-7F9F-D599-215F5DBDBFB5}"/>
                  </a:ext>
                </a:extLst>
              </p14:cNvPr>
              <p14:cNvContentPartPr/>
              <p14:nvPr/>
            </p14:nvContentPartPr>
            <p14:xfrm>
              <a:off x="2602163" y="1211997"/>
              <a:ext cx="417960" cy="468360"/>
            </p14:xfrm>
          </p:contentPart>
        </mc:Choice>
        <mc:Fallback>
          <p:pic>
            <p:nvPicPr>
              <p:cNvPr id="4" name="Ink 3">
                <a:extLst>
                  <a:ext uri="{FF2B5EF4-FFF2-40B4-BE49-F238E27FC236}">
                    <a16:creationId xmlns:a16="http://schemas.microsoft.com/office/drawing/2014/main" id="{C065C9C6-397B-7F9F-D599-215F5DBDBFB5}"/>
                  </a:ext>
                </a:extLst>
              </p:cNvPr>
              <p:cNvPicPr/>
              <p:nvPr/>
            </p:nvPicPr>
            <p:blipFill>
              <a:blip r:embed="rId5"/>
              <a:stretch>
                <a:fillRect/>
              </a:stretch>
            </p:blipFill>
            <p:spPr>
              <a:xfrm>
                <a:off x="2587043" y="1196517"/>
                <a:ext cx="448200" cy="49896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5" name="Ink 4">
                <a:extLst>
                  <a:ext uri="{FF2B5EF4-FFF2-40B4-BE49-F238E27FC236}">
                    <a16:creationId xmlns:a16="http://schemas.microsoft.com/office/drawing/2014/main" id="{79896968-D86E-E01B-AA9D-2F5D052C2AF0}"/>
                  </a:ext>
                </a:extLst>
              </p14:cNvPr>
              <p14:cNvContentPartPr/>
              <p14:nvPr/>
            </p14:nvContentPartPr>
            <p14:xfrm>
              <a:off x="4761443" y="1390917"/>
              <a:ext cx="151920" cy="20160"/>
            </p14:xfrm>
          </p:contentPart>
        </mc:Choice>
        <mc:Fallback>
          <p:pic>
            <p:nvPicPr>
              <p:cNvPr id="5" name="Ink 4">
                <a:extLst>
                  <a:ext uri="{FF2B5EF4-FFF2-40B4-BE49-F238E27FC236}">
                    <a16:creationId xmlns:a16="http://schemas.microsoft.com/office/drawing/2014/main" id="{79896968-D86E-E01B-AA9D-2F5D052C2AF0}"/>
                  </a:ext>
                </a:extLst>
              </p:cNvPr>
              <p:cNvPicPr/>
              <p:nvPr/>
            </p:nvPicPr>
            <p:blipFill>
              <a:blip r:embed="rId7"/>
              <a:stretch>
                <a:fillRect/>
              </a:stretch>
            </p:blipFill>
            <p:spPr>
              <a:xfrm>
                <a:off x="4746323" y="1375797"/>
                <a:ext cx="182520" cy="5040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6" name="Ink 5">
                <a:extLst>
                  <a:ext uri="{FF2B5EF4-FFF2-40B4-BE49-F238E27FC236}">
                    <a16:creationId xmlns:a16="http://schemas.microsoft.com/office/drawing/2014/main" id="{C5157BA9-3005-8235-2C84-713515E91052}"/>
                  </a:ext>
                </a:extLst>
              </p14:cNvPr>
              <p14:cNvContentPartPr/>
              <p14:nvPr/>
            </p14:nvContentPartPr>
            <p14:xfrm>
              <a:off x="5432483" y="2483877"/>
              <a:ext cx="162360" cy="164880"/>
            </p14:xfrm>
          </p:contentPart>
        </mc:Choice>
        <mc:Fallback>
          <p:pic>
            <p:nvPicPr>
              <p:cNvPr id="6" name="Ink 5">
                <a:extLst>
                  <a:ext uri="{FF2B5EF4-FFF2-40B4-BE49-F238E27FC236}">
                    <a16:creationId xmlns:a16="http://schemas.microsoft.com/office/drawing/2014/main" id="{C5157BA9-3005-8235-2C84-713515E91052}"/>
                  </a:ext>
                </a:extLst>
              </p:cNvPr>
              <p:cNvPicPr/>
              <p:nvPr/>
            </p:nvPicPr>
            <p:blipFill>
              <a:blip r:embed="rId9"/>
              <a:stretch>
                <a:fillRect/>
              </a:stretch>
            </p:blipFill>
            <p:spPr>
              <a:xfrm>
                <a:off x="5417363" y="2468757"/>
                <a:ext cx="192960" cy="195480"/>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130" name="Ink 129">
                <a:extLst>
                  <a:ext uri="{FF2B5EF4-FFF2-40B4-BE49-F238E27FC236}">
                    <a16:creationId xmlns:a16="http://schemas.microsoft.com/office/drawing/2014/main" id="{029F9385-5124-7B1F-8755-66AAE56FFD88}"/>
                  </a:ext>
                </a:extLst>
              </p14:cNvPr>
              <p14:cNvContentPartPr/>
              <p14:nvPr/>
            </p14:nvContentPartPr>
            <p14:xfrm>
              <a:off x="923483" y="2603037"/>
              <a:ext cx="730800" cy="38520"/>
            </p14:xfrm>
          </p:contentPart>
        </mc:Choice>
        <mc:Fallback>
          <p:pic>
            <p:nvPicPr>
              <p:cNvPr id="130" name="Ink 129">
                <a:extLst>
                  <a:ext uri="{FF2B5EF4-FFF2-40B4-BE49-F238E27FC236}">
                    <a16:creationId xmlns:a16="http://schemas.microsoft.com/office/drawing/2014/main" id="{029F9385-5124-7B1F-8755-66AAE56FFD88}"/>
                  </a:ext>
                </a:extLst>
              </p:cNvPr>
              <p:cNvPicPr/>
              <p:nvPr/>
            </p:nvPicPr>
            <p:blipFill>
              <a:blip r:embed="rId11"/>
              <a:stretch>
                <a:fillRect/>
              </a:stretch>
            </p:blipFill>
            <p:spPr>
              <a:xfrm>
                <a:off x="908363" y="2587557"/>
                <a:ext cx="761400" cy="6912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176" name="Ink 175">
                <a:extLst>
                  <a:ext uri="{FF2B5EF4-FFF2-40B4-BE49-F238E27FC236}">
                    <a16:creationId xmlns:a16="http://schemas.microsoft.com/office/drawing/2014/main" id="{B448C888-54F7-A5B5-4EC7-0E7A2A5A4003}"/>
                  </a:ext>
                </a:extLst>
              </p14:cNvPr>
              <p14:cNvContentPartPr/>
              <p14:nvPr/>
            </p14:nvContentPartPr>
            <p14:xfrm>
              <a:off x="2542403" y="1125237"/>
              <a:ext cx="80640" cy="52560"/>
            </p14:xfrm>
          </p:contentPart>
        </mc:Choice>
        <mc:Fallback>
          <p:pic>
            <p:nvPicPr>
              <p:cNvPr id="176" name="Ink 175">
                <a:extLst>
                  <a:ext uri="{FF2B5EF4-FFF2-40B4-BE49-F238E27FC236}">
                    <a16:creationId xmlns:a16="http://schemas.microsoft.com/office/drawing/2014/main" id="{B448C888-54F7-A5B5-4EC7-0E7A2A5A4003}"/>
                  </a:ext>
                </a:extLst>
              </p:cNvPr>
              <p:cNvPicPr/>
              <p:nvPr/>
            </p:nvPicPr>
            <p:blipFill>
              <a:blip r:embed="rId13"/>
              <a:stretch>
                <a:fillRect/>
              </a:stretch>
            </p:blipFill>
            <p:spPr>
              <a:xfrm>
                <a:off x="2527283" y="1109757"/>
                <a:ext cx="111240" cy="83160"/>
              </a:xfrm>
              <a:prstGeom prst="rect">
                <a:avLst/>
              </a:prstGeom>
            </p:spPr>
          </p:pic>
        </mc:Fallback>
      </mc:AlternateContent>
      <mc:AlternateContent xmlns:mc="http://schemas.openxmlformats.org/markup-compatibility/2006">
        <mc:Choice xmlns:p14="http://schemas.microsoft.com/office/powerpoint/2010/main" Requires="p14">
          <p:contentPart p14:bwMode="auto" r:id="rId14">
            <p14:nvContentPartPr>
              <p14:cNvPr id="182" name="Ink 181">
                <a:extLst>
                  <a:ext uri="{FF2B5EF4-FFF2-40B4-BE49-F238E27FC236}">
                    <a16:creationId xmlns:a16="http://schemas.microsoft.com/office/drawing/2014/main" id="{9E0ED92B-31C2-CE60-B28D-5970BA1CDD74}"/>
                  </a:ext>
                </a:extLst>
              </p14:cNvPr>
              <p14:cNvContentPartPr/>
              <p14:nvPr/>
            </p14:nvContentPartPr>
            <p14:xfrm>
              <a:off x="246323" y="1289037"/>
              <a:ext cx="243720" cy="844560"/>
            </p14:xfrm>
          </p:contentPart>
        </mc:Choice>
        <mc:Fallback>
          <p:pic>
            <p:nvPicPr>
              <p:cNvPr id="182" name="Ink 181">
                <a:extLst>
                  <a:ext uri="{FF2B5EF4-FFF2-40B4-BE49-F238E27FC236}">
                    <a16:creationId xmlns:a16="http://schemas.microsoft.com/office/drawing/2014/main" id="{9E0ED92B-31C2-CE60-B28D-5970BA1CDD74}"/>
                  </a:ext>
                </a:extLst>
              </p:cNvPr>
              <p:cNvPicPr/>
              <p:nvPr/>
            </p:nvPicPr>
            <p:blipFill>
              <a:blip r:embed="rId15"/>
              <a:stretch>
                <a:fillRect/>
              </a:stretch>
            </p:blipFill>
            <p:spPr>
              <a:xfrm>
                <a:off x="231203" y="1273557"/>
                <a:ext cx="273960" cy="875160"/>
              </a:xfrm>
              <a:prstGeom prst="rect">
                <a:avLst/>
              </a:prstGeom>
            </p:spPr>
          </p:pic>
        </mc:Fallback>
      </mc:AlternateContent>
      <p:grpSp>
        <p:nvGrpSpPr>
          <p:cNvPr id="192" name="Group 191">
            <a:extLst>
              <a:ext uri="{FF2B5EF4-FFF2-40B4-BE49-F238E27FC236}">
                <a16:creationId xmlns:a16="http://schemas.microsoft.com/office/drawing/2014/main" id="{3C6ECA68-2ECA-A8BF-1CC0-0A077941C4D6}"/>
              </a:ext>
            </a:extLst>
          </p:cNvPr>
          <p:cNvGrpSpPr/>
          <p:nvPr/>
        </p:nvGrpSpPr>
        <p:grpSpPr>
          <a:xfrm>
            <a:off x="6234923" y="1957917"/>
            <a:ext cx="282960" cy="77400"/>
            <a:chOff x="6234923" y="1957917"/>
            <a:chExt cx="282960" cy="77400"/>
          </a:xfrm>
        </p:grpSpPr>
        <mc:AlternateContent xmlns:mc="http://schemas.openxmlformats.org/markup-compatibility/2006">
          <mc:Choice xmlns:p14="http://schemas.microsoft.com/office/powerpoint/2010/main" Requires="p14">
            <p:contentPart p14:bwMode="auto" r:id="rId16">
              <p14:nvContentPartPr>
                <p14:cNvPr id="2" name="Ink 1">
                  <a:extLst>
                    <a:ext uri="{FF2B5EF4-FFF2-40B4-BE49-F238E27FC236}">
                      <a16:creationId xmlns:a16="http://schemas.microsoft.com/office/drawing/2014/main" id="{E2A6567A-9ABE-7D42-A6F0-777F90C4D999}"/>
                    </a:ext>
                  </a:extLst>
                </p14:cNvPr>
                <p14:cNvContentPartPr/>
                <p14:nvPr/>
              </p14:nvContentPartPr>
              <p14:xfrm>
                <a:off x="6392603" y="1957917"/>
                <a:ext cx="1800" cy="9000"/>
              </p14:xfrm>
            </p:contentPart>
          </mc:Choice>
          <mc:Fallback>
            <p:pic>
              <p:nvPicPr>
                <p:cNvPr id="2" name="Ink 1">
                  <a:extLst>
                    <a:ext uri="{FF2B5EF4-FFF2-40B4-BE49-F238E27FC236}">
                      <a16:creationId xmlns:a16="http://schemas.microsoft.com/office/drawing/2014/main" id="{E2A6567A-9ABE-7D42-A6F0-777F90C4D999}"/>
                    </a:ext>
                  </a:extLst>
                </p:cNvPr>
                <p:cNvPicPr/>
                <p:nvPr/>
              </p:nvPicPr>
              <p:blipFill>
                <a:blip r:embed="rId17"/>
                <a:stretch>
                  <a:fillRect/>
                </a:stretch>
              </p:blipFill>
              <p:spPr>
                <a:xfrm>
                  <a:off x="6377483" y="1942797"/>
                  <a:ext cx="32040" cy="39600"/>
                </a:xfrm>
                <a:prstGeom prst="rect">
                  <a:avLst/>
                </a:prstGeom>
              </p:spPr>
            </p:pic>
          </mc:Fallback>
        </mc:AlternateContent>
        <mc:AlternateContent xmlns:mc="http://schemas.openxmlformats.org/markup-compatibility/2006">
          <mc:Choice xmlns:p14="http://schemas.microsoft.com/office/powerpoint/2010/main" Requires="p14">
            <p:contentPart p14:bwMode="auto" r:id="rId18">
              <p14:nvContentPartPr>
                <p14:cNvPr id="3" name="Ink 2">
                  <a:extLst>
                    <a:ext uri="{FF2B5EF4-FFF2-40B4-BE49-F238E27FC236}">
                      <a16:creationId xmlns:a16="http://schemas.microsoft.com/office/drawing/2014/main" id="{867BBEE1-F8BB-4B04-986D-9729E99E5FA4}"/>
                    </a:ext>
                  </a:extLst>
                </p14:cNvPr>
                <p14:cNvContentPartPr/>
                <p14:nvPr/>
              </p14:nvContentPartPr>
              <p14:xfrm>
                <a:off x="6349403" y="2009037"/>
                <a:ext cx="168480" cy="26280"/>
              </p14:xfrm>
            </p:contentPart>
          </mc:Choice>
          <mc:Fallback>
            <p:pic>
              <p:nvPicPr>
                <p:cNvPr id="3" name="Ink 2">
                  <a:extLst>
                    <a:ext uri="{FF2B5EF4-FFF2-40B4-BE49-F238E27FC236}">
                      <a16:creationId xmlns:a16="http://schemas.microsoft.com/office/drawing/2014/main" id="{867BBEE1-F8BB-4B04-986D-9729E99E5FA4}"/>
                    </a:ext>
                  </a:extLst>
                </p:cNvPr>
                <p:cNvPicPr/>
                <p:nvPr/>
              </p:nvPicPr>
              <p:blipFill>
                <a:blip r:embed="rId19"/>
                <a:stretch>
                  <a:fillRect/>
                </a:stretch>
              </p:blipFill>
              <p:spPr>
                <a:xfrm>
                  <a:off x="6333923" y="1993917"/>
                  <a:ext cx="199080" cy="56880"/>
                </a:xfrm>
                <a:prstGeom prst="rect">
                  <a:avLst/>
                </a:prstGeom>
              </p:spPr>
            </p:pic>
          </mc:Fallback>
        </mc:AlternateContent>
        <mc:AlternateContent xmlns:mc="http://schemas.openxmlformats.org/markup-compatibility/2006">
          <mc:Choice xmlns:p14="http://schemas.microsoft.com/office/powerpoint/2010/main" Requires="p14">
            <p:contentPart p14:bwMode="auto" r:id="rId20">
              <p14:nvContentPartPr>
                <p14:cNvPr id="191" name="Ink 190">
                  <a:extLst>
                    <a:ext uri="{FF2B5EF4-FFF2-40B4-BE49-F238E27FC236}">
                      <a16:creationId xmlns:a16="http://schemas.microsoft.com/office/drawing/2014/main" id="{09EE81B2-BAF2-93BB-D59D-68BD33D5D7FC}"/>
                    </a:ext>
                  </a:extLst>
                </p14:cNvPr>
                <p14:cNvContentPartPr/>
                <p14:nvPr/>
              </p14:nvContentPartPr>
              <p14:xfrm>
                <a:off x="6234923" y="1997157"/>
                <a:ext cx="259560" cy="19440"/>
              </p14:xfrm>
            </p:contentPart>
          </mc:Choice>
          <mc:Fallback>
            <p:pic>
              <p:nvPicPr>
                <p:cNvPr id="191" name="Ink 190">
                  <a:extLst>
                    <a:ext uri="{FF2B5EF4-FFF2-40B4-BE49-F238E27FC236}">
                      <a16:creationId xmlns:a16="http://schemas.microsoft.com/office/drawing/2014/main" id="{09EE81B2-BAF2-93BB-D59D-68BD33D5D7FC}"/>
                    </a:ext>
                  </a:extLst>
                </p:cNvPr>
                <p:cNvPicPr/>
                <p:nvPr/>
              </p:nvPicPr>
              <p:blipFill>
                <a:blip r:embed="rId21"/>
                <a:stretch>
                  <a:fillRect/>
                </a:stretch>
              </p:blipFill>
              <p:spPr>
                <a:xfrm>
                  <a:off x="6219443" y="1982037"/>
                  <a:ext cx="290160" cy="5004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22">
            <p14:nvContentPartPr>
              <p14:cNvPr id="193" name="Ink 192">
                <a:extLst>
                  <a:ext uri="{FF2B5EF4-FFF2-40B4-BE49-F238E27FC236}">
                    <a16:creationId xmlns:a16="http://schemas.microsoft.com/office/drawing/2014/main" id="{F34C17F0-8A3E-457F-4FD8-4639313340B1}"/>
                  </a:ext>
                </a:extLst>
              </p14:cNvPr>
              <p14:cNvContentPartPr/>
              <p14:nvPr/>
            </p14:nvContentPartPr>
            <p14:xfrm>
              <a:off x="308243" y="1313877"/>
              <a:ext cx="148320" cy="1175400"/>
            </p14:xfrm>
          </p:contentPart>
        </mc:Choice>
        <mc:Fallback>
          <p:pic>
            <p:nvPicPr>
              <p:cNvPr id="193" name="Ink 192">
                <a:extLst>
                  <a:ext uri="{FF2B5EF4-FFF2-40B4-BE49-F238E27FC236}">
                    <a16:creationId xmlns:a16="http://schemas.microsoft.com/office/drawing/2014/main" id="{F34C17F0-8A3E-457F-4FD8-4639313340B1}"/>
                  </a:ext>
                </a:extLst>
              </p:cNvPr>
              <p:cNvPicPr/>
              <p:nvPr/>
            </p:nvPicPr>
            <p:blipFill>
              <a:blip r:embed="rId23"/>
              <a:stretch>
                <a:fillRect/>
              </a:stretch>
            </p:blipFill>
            <p:spPr>
              <a:xfrm>
                <a:off x="293123" y="1298757"/>
                <a:ext cx="178920" cy="1206000"/>
              </a:xfrm>
              <a:prstGeom prst="rect">
                <a:avLst/>
              </a:prstGeom>
            </p:spPr>
          </p:pic>
        </mc:Fallback>
      </mc:AlternateContent>
      <mc:AlternateContent xmlns:mc="http://schemas.openxmlformats.org/markup-compatibility/2006">
        <mc:Choice xmlns:p14="http://schemas.microsoft.com/office/powerpoint/2010/main" Requires="p14">
          <p:contentPart p14:bwMode="auto" r:id="rId24">
            <p14:nvContentPartPr>
              <p14:cNvPr id="194" name="Ink 193">
                <a:extLst>
                  <a:ext uri="{FF2B5EF4-FFF2-40B4-BE49-F238E27FC236}">
                    <a16:creationId xmlns:a16="http://schemas.microsoft.com/office/drawing/2014/main" id="{BA6E92EA-FDC7-9217-6B9A-3DB673767EA9}"/>
                  </a:ext>
                </a:extLst>
              </p14:cNvPr>
              <p14:cNvContentPartPr/>
              <p14:nvPr/>
            </p14:nvContentPartPr>
            <p14:xfrm>
              <a:off x="1733123" y="957477"/>
              <a:ext cx="45000" cy="11520"/>
            </p14:xfrm>
          </p:contentPart>
        </mc:Choice>
        <mc:Fallback>
          <p:pic>
            <p:nvPicPr>
              <p:cNvPr id="194" name="Ink 193">
                <a:extLst>
                  <a:ext uri="{FF2B5EF4-FFF2-40B4-BE49-F238E27FC236}">
                    <a16:creationId xmlns:a16="http://schemas.microsoft.com/office/drawing/2014/main" id="{BA6E92EA-FDC7-9217-6B9A-3DB673767EA9}"/>
                  </a:ext>
                </a:extLst>
              </p:cNvPr>
              <p:cNvPicPr/>
              <p:nvPr/>
            </p:nvPicPr>
            <p:blipFill>
              <a:blip r:embed="rId25"/>
              <a:stretch>
                <a:fillRect/>
              </a:stretch>
            </p:blipFill>
            <p:spPr>
              <a:xfrm>
                <a:off x="1718003" y="942357"/>
                <a:ext cx="75600" cy="42120"/>
              </a:xfrm>
              <a:prstGeom prst="rect">
                <a:avLst/>
              </a:prstGeom>
            </p:spPr>
          </p:pic>
        </mc:Fallback>
      </mc:AlternateContent>
      <p:grpSp>
        <p:nvGrpSpPr>
          <p:cNvPr id="216" name="Group 215">
            <a:extLst>
              <a:ext uri="{FF2B5EF4-FFF2-40B4-BE49-F238E27FC236}">
                <a16:creationId xmlns:a16="http://schemas.microsoft.com/office/drawing/2014/main" id="{42E984F8-7D86-E44C-0744-4042B0908759}"/>
              </a:ext>
            </a:extLst>
          </p:cNvPr>
          <p:cNvGrpSpPr/>
          <p:nvPr/>
        </p:nvGrpSpPr>
        <p:grpSpPr>
          <a:xfrm>
            <a:off x="1981523" y="606477"/>
            <a:ext cx="2890440" cy="337320"/>
            <a:chOff x="1981523" y="606477"/>
            <a:chExt cx="2890440" cy="337320"/>
          </a:xfrm>
        </p:grpSpPr>
        <mc:AlternateContent xmlns:mc="http://schemas.openxmlformats.org/markup-compatibility/2006">
          <mc:Choice xmlns:p14="http://schemas.microsoft.com/office/powerpoint/2010/main" Requires="p14">
            <p:contentPart p14:bwMode="auto" r:id="rId26">
              <p14:nvContentPartPr>
                <p14:cNvPr id="195" name="Ink 194">
                  <a:extLst>
                    <a:ext uri="{FF2B5EF4-FFF2-40B4-BE49-F238E27FC236}">
                      <a16:creationId xmlns:a16="http://schemas.microsoft.com/office/drawing/2014/main" id="{D8B61484-9821-1EE1-11A5-B0B2099A0C9C}"/>
                    </a:ext>
                  </a:extLst>
                </p14:cNvPr>
                <p14:cNvContentPartPr/>
                <p14:nvPr/>
              </p14:nvContentPartPr>
              <p14:xfrm>
                <a:off x="1981523" y="668397"/>
                <a:ext cx="47160" cy="190440"/>
              </p14:xfrm>
            </p:contentPart>
          </mc:Choice>
          <mc:Fallback>
            <p:pic>
              <p:nvPicPr>
                <p:cNvPr id="195" name="Ink 194">
                  <a:extLst>
                    <a:ext uri="{FF2B5EF4-FFF2-40B4-BE49-F238E27FC236}">
                      <a16:creationId xmlns:a16="http://schemas.microsoft.com/office/drawing/2014/main" id="{D8B61484-9821-1EE1-11A5-B0B2099A0C9C}"/>
                    </a:ext>
                  </a:extLst>
                </p:cNvPr>
                <p:cNvPicPr/>
                <p:nvPr/>
              </p:nvPicPr>
              <p:blipFill>
                <a:blip r:embed="rId27"/>
                <a:stretch>
                  <a:fillRect/>
                </a:stretch>
              </p:blipFill>
              <p:spPr>
                <a:xfrm>
                  <a:off x="1966043" y="652917"/>
                  <a:ext cx="77760" cy="221040"/>
                </a:xfrm>
                <a:prstGeom prst="rect">
                  <a:avLst/>
                </a:prstGeom>
              </p:spPr>
            </p:pic>
          </mc:Fallback>
        </mc:AlternateContent>
        <mc:AlternateContent xmlns:mc="http://schemas.openxmlformats.org/markup-compatibility/2006">
          <mc:Choice xmlns:p14="http://schemas.microsoft.com/office/powerpoint/2010/main" Requires="p14">
            <p:contentPart p14:bwMode="auto" r:id="rId28">
              <p14:nvContentPartPr>
                <p14:cNvPr id="196" name="Ink 195">
                  <a:extLst>
                    <a:ext uri="{FF2B5EF4-FFF2-40B4-BE49-F238E27FC236}">
                      <a16:creationId xmlns:a16="http://schemas.microsoft.com/office/drawing/2014/main" id="{65CA09BE-33D4-D0D0-66BA-0AF0BD329078}"/>
                    </a:ext>
                  </a:extLst>
                </p14:cNvPr>
                <p14:cNvContentPartPr/>
                <p14:nvPr/>
              </p14:nvContentPartPr>
              <p14:xfrm>
                <a:off x="2009963" y="681717"/>
                <a:ext cx="155520" cy="160200"/>
              </p14:xfrm>
            </p:contentPart>
          </mc:Choice>
          <mc:Fallback>
            <p:pic>
              <p:nvPicPr>
                <p:cNvPr id="196" name="Ink 195">
                  <a:extLst>
                    <a:ext uri="{FF2B5EF4-FFF2-40B4-BE49-F238E27FC236}">
                      <a16:creationId xmlns:a16="http://schemas.microsoft.com/office/drawing/2014/main" id="{65CA09BE-33D4-D0D0-66BA-0AF0BD329078}"/>
                    </a:ext>
                  </a:extLst>
                </p:cNvPr>
                <p:cNvPicPr/>
                <p:nvPr/>
              </p:nvPicPr>
              <p:blipFill>
                <a:blip r:embed="rId29"/>
                <a:stretch>
                  <a:fillRect/>
                </a:stretch>
              </p:blipFill>
              <p:spPr>
                <a:xfrm>
                  <a:off x="1994483" y="666237"/>
                  <a:ext cx="186120" cy="190800"/>
                </a:xfrm>
                <a:prstGeom prst="rect">
                  <a:avLst/>
                </a:prstGeom>
              </p:spPr>
            </p:pic>
          </mc:Fallback>
        </mc:AlternateContent>
        <mc:AlternateContent xmlns:mc="http://schemas.openxmlformats.org/markup-compatibility/2006">
          <mc:Choice xmlns:p14="http://schemas.microsoft.com/office/powerpoint/2010/main" Requires="p14">
            <p:contentPart p14:bwMode="auto" r:id="rId30">
              <p14:nvContentPartPr>
                <p14:cNvPr id="197" name="Ink 196">
                  <a:extLst>
                    <a:ext uri="{FF2B5EF4-FFF2-40B4-BE49-F238E27FC236}">
                      <a16:creationId xmlns:a16="http://schemas.microsoft.com/office/drawing/2014/main" id="{E5AD2AA3-DF5D-2D03-BC2B-040C36DD75AE}"/>
                    </a:ext>
                  </a:extLst>
                </p14:cNvPr>
                <p14:cNvContentPartPr/>
                <p14:nvPr/>
              </p14:nvContentPartPr>
              <p14:xfrm>
                <a:off x="2245403" y="719877"/>
                <a:ext cx="81000" cy="99360"/>
              </p14:xfrm>
            </p:contentPart>
          </mc:Choice>
          <mc:Fallback>
            <p:pic>
              <p:nvPicPr>
                <p:cNvPr id="197" name="Ink 196">
                  <a:extLst>
                    <a:ext uri="{FF2B5EF4-FFF2-40B4-BE49-F238E27FC236}">
                      <a16:creationId xmlns:a16="http://schemas.microsoft.com/office/drawing/2014/main" id="{E5AD2AA3-DF5D-2D03-BC2B-040C36DD75AE}"/>
                    </a:ext>
                  </a:extLst>
                </p:cNvPr>
                <p:cNvPicPr/>
                <p:nvPr/>
              </p:nvPicPr>
              <p:blipFill>
                <a:blip r:embed="rId31"/>
                <a:stretch>
                  <a:fillRect/>
                </a:stretch>
              </p:blipFill>
              <p:spPr>
                <a:xfrm>
                  <a:off x="2229923" y="704757"/>
                  <a:ext cx="111600" cy="129600"/>
                </a:xfrm>
                <a:prstGeom prst="rect">
                  <a:avLst/>
                </a:prstGeom>
              </p:spPr>
            </p:pic>
          </mc:Fallback>
        </mc:AlternateContent>
        <mc:AlternateContent xmlns:mc="http://schemas.openxmlformats.org/markup-compatibility/2006">
          <mc:Choice xmlns:p14="http://schemas.microsoft.com/office/powerpoint/2010/main" Requires="p14">
            <p:contentPart p14:bwMode="auto" r:id="rId32">
              <p14:nvContentPartPr>
                <p14:cNvPr id="198" name="Ink 197">
                  <a:extLst>
                    <a:ext uri="{FF2B5EF4-FFF2-40B4-BE49-F238E27FC236}">
                      <a16:creationId xmlns:a16="http://schemas.microsoft.com/office/drawing/2014/main" id="{BFBFDF53-3586-4891-BAB6-976116BC76CC}"/>
                    </a:ext>
                  </a:extLst>
                </p14:cNvPr>
                <p14:cNvContentPartPr/>
                <p14:nvPr/>
              </p14:nvContentPartPr>
              <p14:xfrm>
                <a:off x="2426483" y="747957"/>
                <a:ext cx="3600" cy="1800"/>
              </p14:xfrm>
            </p:contentPart>
          </mc:Choice>
          <mc:Fallback>
            <p:pic>
              <p:nvPicPr>
                <p:cNvPr id="198" name="Ink 197">
                  <a:extLst>
                    <a:ext uri="{FF2B5EF4-FFF2-40B4-BE49-F238E27FC236}">
                      <a16:creationId xmlns:a16="http://schemas.microsoft.com/office/drawing/2014/main" id="{BFBFDF53-3586-4891-BAB6-976116BC76CC}"/>
                    </a:ext>
                  </a:extLst>
                </p:cNvPr>
                <p:cNvPicPr/>
                <p:nvPr/>
              </p:nvPicPr>
              <p:blipFill>
                <a:blip r:embed="rId33"/>
                <a:stretch>
                  <a:fillRect/>
                </a:stretch>
              </p:blipFill>
              <p:spPr>
                <a:xfrm>
                  <a:off x="2411003" y="732837"/>
                  <a:ext cx="34200" cy="32400"/>
                </a:xfrm>
                <a:prstGeom prst="rect">
                  <a:avLst/>
                </a:prstGeom>
              </p:spPr>
            </p:pic>
          </mc:Fallback>
        </mc:AlternateContent>
        <mc:AlternateContent xmlns:mc="http://schemas.openxmlformats.org/markup-compatibility/2006">
          <mc:Choice xmlns:p14="http://schemas.microsoft.com/office/powerpoint/2010/main" Requires="p14">
            <p:contentPart p14:bwMode="auto" r:id="rId34">
              <p14:nvContentPartPr>
                <p14:cNvPr id="199" name="Ink 198">
                  <a:extLst>
                    <a:ext uri="{FF2B5EF4-FFF2-40B4-BE49-F238E27FC236}">
                      <a16:creationId xmlns:a16="http://schemas.microsoft.com/office/drawing/2014/main" id="{7D26AE42-9A2A-03CA-B369-CDAE8117FBAF}"/>
                    </a:ext>
                  </a:extLst>
                </p14:cNvPr>
                <p14:cNvContentPartPr/>
                <p14:nvPr/>
              </p14:nvContentPartPr>
              <p14:xfrm>
                <a:off x="2534483" y="697557"/>
                <a:ext cx="60120" cy="135360"/>
              </p14:xfrm>
            </p:contentPart>
          </mc:Choice>
          <mc:Fallback>
            <p:pic>
              <p:nvPicPr>
                <p:cNvPr id="199" name="Ink 198">
                  <a:extLst>
                    <a:ext uri="{FF2B5EF4-FFF2-40B4-BE49-F238E27FC236}">
                      <a16:creationId xmlns:a16="http://schemas.microsoft.com/office/drawing/2014/main" id="{7D26AE42-9A2A-03CA-B369-CDAE8117FBAF}"/>
                    </a:ext>
                  </a:extLst>
                </p:cNvPr>
                <p:cNvPicPr/>
                <p:nvPr/>
              </p:nvPicPr>
              <p:blipFill>
                <a:blip r:embed="rId35"/>
                <a:stretch>
                  <a:fillRect/>
                </a:stretch>
              </p:blipFill>
              <p:spPr>
                <a:xfrm>
                  <a:off x="2519363" y="682077"/>
                  <a:ext cx="90720" cy="165960"/>
                </a:xfrm>
                <a:prstGeom prst="rect">
                  <a:avLst/>
                </a:prstGeom>
              </p:spPr>
            </p:pic>
          </mc:Fallback>
        </mc:AlternateContent>
        <mc:AlternateContent xmlns:mc="http://schemas.openxmlformats.org/markup-compatibility/2006">
          <mc:Choice xmlns:p14="http://schemas.microsoft.com/office/powerpoint/2010/main" Requires="p14">
            <p:contentPart p14:bwMode="auto" r:id="rId36">
              <p14:nvContentPartPr>
                <p14:cNvPr id="200" name="Ink 199">
                  <a:extLst>
                    <a:ext uri="{FF2B5EF4-FFF2-40B4-BE49-F238E27FC236}">
                      <a16:creationId xmlns:a16="http://schemas.microsoft.com/office/drawing/2014/main" id="{B339935B-24F3-E72E-D8AF-C9F6C45C0D98}"/>
                    </a:ext>
                  </a:extLst>
                </p14:cNvPr>
                <p14:cNvContentPartPr/>
                <p14:nvPr/>
              </p14:nvContentPartPr>
              <p14:xfrm>
                <a:off x="2674883" y="606477"/>
                <a:ext cx="69840" cy="209880"/>
              </p14:xfrm>
            </p:contentPart>
          </mc:Choice>
          <mc:Fallback>
            <p:pic>
              <p:nvPicPr>
                <p:cNvPr id="200" name="Ink 199">
                  <a:extLst>
                    <a:ext uri="{FF2B5EF4-FFF2-40B4-BE49-F238E27FC236}">
                      <a16:creationId xmlns:a16="http://schemas.microsoft.com/office/drawing/2014/main" id="{B339935B-24F3-E72E-D8AF-C9F6C45C0D98}"/>
                    </a:ext>
                  </a:extLst>
                </p:cNvPr>
                <p:cNvPicPr/>
                <p:nvPr/>
              </p:nvPicPr>
              <p:blipFill>
                <a:blip r:embed="rId37"/>
                <a:stretch>
                  <a:fillRect/>
                </a:stretch>
              </p:blipFill>
              <p:spPr>
                <a:xfrm>
                  <a:off x="2659763" y="590997"/>
                  <a:ext cx="100080" cy="240120"/>
                </a:xfrm>
                <a:prstGeom prst="rect">
                  <a:avLst/>
                </a:prstGeom>
              </p:spPr>
            </p:pic>
          </mc:Fallback>
        </mc:AlternateContent>
        <mc:AlternateContent xmlns:mc="http://schemas.openxmlformats.org/markup-compatibility/2006">
          <mc:Choice xmlns:p14="http://schemas.microsoft.com/office/powerpoint/2010/main" Requires="p14">
            <p:contentPart p14:bwMode="auto" r:id="rId38">
              <p14:nvContentPartPr>
                <p14:cNvPr id="201" name="Ink 200">
                  <a:extLst>
                    <a:ext uri="{FF2B5EF4-FFF2-40B4-BE49-F238E27FC236}">
                      <a16:creationId xmlns:a16="http://schemas.microsoft.com/office/drawing/2014/main" id="{0D3EEA65-8216-9868-231F-6E9B6D89EFB2}"/>
                    </a:ext>
                  </a:extLst>
                </p14:cNvPr>
                <p14:cNvContentPartPr/>
                <p14:nvPr/>
              </p14:nvContentPartPr>
              <p14:xfrm>
                <a:off x="2700803" y="712317"/>
                <a:ext cx="82440" cy="10440"/>
              </p14:xfrm>
            </p:contentPart>
          </mc:Choice>
          <mc:Fallback>
            <p:pic>
              <p:nvPicPr>
                <p:cNvPr id="201" name="Ink 200">
                  <a:extLst>
                    <a:ext uri="{FF2B5EF4-FFF2-40B4-BE49-F238E27FC236}">
                      <a16:creationId xmlns:a16="http://schemas.microsoft.com/office/drawing/2014/main" id="{0D3EEA65-8216-9868-231F-6E9B6D89EFB2}"/>
                    </a:ext>
                  </a:extLst>
                </p:cNvPr>
                <p:cNvPicPr/>
                <p:nvPr/>
              </p:nvPicPr>
              <p:blipFill>
                <a:blip r:embed="rId39"/>
                <a:stretch>
                  <a:fillRect/>
                </a:stretch>
              </p:blipFill>
              <p:spPr>
                <a:xfrm>
                  <a:off x="2685323" y="697197"/>
                  <a:ext cx="112680" cy="41040"/>
                </a:xfrm>
                <a:prstGeom prst="rect">
                  <a:avLst/>
                </a:prstGeom>
              </p:spPr>
            </p:pic>
          </mc:Fallback>
        </mc:AlternateContent>
        <mc:AlternateContent xmlns:mc="http://schemas.openxmlformats.org/markup-compatibility/2006">
          <mc:Choice xmlns:p14="http://schemas.microsoft.com/office/powerpoint/2010/main" Requires="p14">
            <p:contentPart p14:bwMode="auto" r:id="rId40">
              <p14:nvContentPartPr>
                <p14:cNvPr id="202" name="Ink 201">
                  <a:extLst>
                    <a:ext uri="{FF2B5EF4-FFF2-40B4-BE49-F238E27FC236}">
                      <a16:creationId xmlns:a16="http://schemas.microsoft.com/office/drawing/2014/main" id="{D3D0569B-2F2F-340F-8B3F-855ABF68C096}"/>
                    </a:ext>
                  </a:extLst>
                </p14:cNvPr>
                <p14:cNvContentPartPr/>
                <p14:nvPr/>
              </p14:nvContentPartPr>
              <p14:xfrm>
                <a:off x="2941643" y="655437"/>
                <a:ext cx="224280" cy="237240"/>
              </p14:xfrm>
            </p:contentPart>
          </mc:Choice>
          <mc:Fallback>
            <p:pic>
              <p:nvPicPr>
                <p:cNvPr id="202" name="Ink 201">
                  <a:extLst>
                    <a:ext uri="{FF2B5EF4-FFF2-40B4-BE49-F238E27FC236}">
                      <a16:creationId xmlns:a16="http://schemas.microsoft.com/office/drawing/2014/main" id="{D3D0569B-2F2F-340F-8B3F-855ABF68C096}"/>
                    </a:ext>
                  </a:extLst>
                </p:cNvPr>
                <p:cNvPicPr/>
                <p:nvPr/>
              </p:nvPicPr>
              <p:blipFill>
                <a:blip r:embed="rId41"/>
                <a:stretch>
                  <a:fillRect/>
                </a:stretch>
              </p:blipFill>
              <p:spPr>
                <a:xfrm>
                  <a:off x="2926523" y="640317"/>
                  <a:ext cx="254520" cy="267840"/>
                </a:xfrm>
                <a:prstGeom prst="rect">
                  <a:avLst/>
                </a:prstGeom>
              </p:spPr>
            </p:pic>
          </mc:Fallback>
        </mc:AlternateContent>
        <mc:AlternateContent xmlns:mc="http://schemas.openxmlformats.org/markup-compatibility/2006">
          <mc:Choice xmlns:p14="http://schemas.microsoft.com/office/powerpoint/2010/main" Requires="p14">
            <p:contentPart p14:bwMode="auto" r:id="rId42">
              <p14:nvContentPartPr>
                <p14:cNvPr id="203" name="Ink 202">
                  <a:extLst>
                    <a:ext uri="{FF2B5EF4-FFF2-40B4-BE49-F238E27FC236}">
                      <a16:creationId xmlns:a16="http://schemas.microsoft.com/office/drawing/2014/main" id="{312B224F-0583-CE9A-5060-94EE7D38ADAC}"/>
                    </a:ext>
                  </a:extLst>
                </p14:cNvPr>
                <p14:cNvContentPartPr/>
                <p14:nvPr/>
              </p14:nvContentPartPr>
              <p14:xfrm>
                <a:off x="3241523" y="639957"/>
                <a:ext cx="449280" cy="270000"/>
              </p14:xfrm>
            </p:contentPart>
          </mc:Choice>
          <mc:Fallback>
            <p:pic>
              <p:nvPicPr>
                <p:cNvPr id="203" name="Ink 202">
                  <a:extLst>
                    <a:ext uri="{FF2B5EF4-FFF2-40B4-BE49-F238E27FC236}">
                      <a16:creationId xmlns:a16="http://schemas.microsoft.com/office/drawing/2014/main" id="{312B224F-0583-CE9A-5060-94EE7D38ADAC}"/>
                    </a:ext>
                  </a:extLst>
                </p:cNvPr>
                <p:cNvPicPr/>
                <p:nvPr/>
              </p:nvPicPr>
              <p:blipFill>
                <a:blip r:embed="rId43"/>
                <a:stretch>
                  <a:fillRect/>
                </a:stretch>
              </p:blipFill>
              <p:spPr>
                <a:xfrm>
                  <a:off x="3226043" y="624837"/>
                  <a:ext cx="479880" cy="300600"/>
                </a:xfrm>
                <a:prstGeom prst="rect">
                  <a:avLst/>
                </a:prstGeom>
              </p:spPr>
            </p:pic>
          </mc:Fallback>
        </mc:AlternateContent>
        <mc:AlternateContent xmlns:mc="http://schemas.openxmlformats.org/markup-compatibility/2006">
          <mc:Choice xmlns:p14="http://schemas.microsoft.com/office/powerpoint/2010/main" Requires="p14">
            <p:contentPart p14:bwMode="auto" r:id="rId44">
              <p14:nvContentPartPr>
                <p14:cNvPr id="204" name="Ink 203">
                  <a:extLst>
                    <a:ext uri="{FF2B5EF4-FFF2-40B4-BE49-F238E27FC236}">
                      <a16:creationId xmlns:a16="http://schemas.microsoft.com/office/drawing/2014/main" id="{B8E2111E-9EF1-C28F-7C42-E38DF3B9A23E}"/>
                    </a:ext>
                  </a:extLst>
                </p14:cNvPr>
                <p14:cNvContentPartPr/>
                <p14:nvPr/>
              </p14:nvContentPartPr>
              <p14:xfrm>
                <a:off x="3680723" y="785037"/>
                <a:ext cx="123840" cy="84240"/>
              </p14:xfrm>
            </p:contentPart>
          </mc:Choice>
          <mc:Fallback>
            <p:pic>
              <p:nvPicPr>
                <p:cNvPr id="204" name="Ink 203">
                  <a:extLst>
                    <a:ext uri="{FF2B5EF4-FFF2-40B4-BE49-F238E27FC236}">
                      <a16:creationId xmlns:a16="http://schemas.microsoft.com/office/drawing/2014/main" id="{B8E2111E-9EF1-C28F-7C42-E38DF3B9A23E}"/>
                    </a:ext>
                  </a:extLst>
                </p:cNvPr>
                <p:cNvPicPr/>
                <p:nvPr/>
              </p:nvPicPr>
              <p:blipFill>
                <a:blip r:embed="rId45"/>
                <a:stretch>
                  <a:fillRect/>
                </a:stretch>
              </p:blipFill>
              <p:spPr>
                <a:xfrm>
                  <a:off x="3665603" y="769557"/>
                  <a:ext cx="154440" cy="114480"/>
                </a:xfrm>
                <a:prstGeom prst="rect">
                  <a:avLst/>
                </a:prstGeom>
              </p:spPr>
            </p:pic>
          </mc:Fallback>
        </mc:AlternateContent>
        <mc:AlternateContent xmlns:mc="http://schemas.openxmlformats.org/markup-compatibility/2006">
          <mc:Choice xmlns:p14="http://schemas.microsoft.com/office/powerpoint/2010/main" Requires="p14">
            <p:contentPart p14:bwMode="auto" r:id="rId46">
              <p14:nvContentPartPr>
                <p14:cNvPr id="205" name="Ink 204">
                  <a:extLst>
                    <a:ext uri="{FF2B5EF4-FFF2-40B4-BE49-F238E27FC236}">
                      <a16:creationId xmlns:a16="http://schemas.microsoft.com/office/drawing/2014/main" id="{740019F0-B039-CCA4-9854-8C1640C300BD}"/>
                    </a:ext>
                  </a:extLst>
                </p14:cNvPr>
                <p14:cNvContentPartPr/>
                <p14:nvPr/>
              </p14:nvContentPartPr>
              <p14:xfrm>
                <a:off x="3798443" y="745077"/>
                <a:ext cx="9000" cy="50040"/>
              </p14:xfrm>
            </p:contentPart>
          </mc:Choice>
          <mc:Fallback>
            <p:pic>
              <p:nvPicPr>
                <p:cNvPr id="205" name="Ink 204">
                  <a:extLst>
                    <a:ext uri="{FF2B5EF4-FFF2-40B4-BE49-F238E27FC236}">
                      <a16:creationId xmlns:a16="http://schemas.microsoft.com/office/drawing/2014/main" id="{740019F0-B039-CCA4-9854-8C1640C300BD}"/>
                    </a:ext>
                  </a:extLst>
                </p:cNvPr>
                <p:cNvPicPr/>
                <p:nvPr/>
              </p:nvPicPr>
              <p:blipFill>
                <a:blip r:embed="rId47"/>
                <a:stretch>
                  <a:fillRect/>
                </a:stretch>
              </p:blipFill>
              <p:spPr>
                <a:xfrm>
                  <a:off x="3783323" y="729957"/>
                  <a:ext cx="39240" cy="80640"/>
                </a:xfrm>
                <a:prstGeom prst="rect">
                  <a:avLst/>
                </a:prstGeom>
              </p:spPr>
            </p:pic>
          </mc:Fallback>
        </mc:AlternateContent>
        <mc:AlternateContent xmlns:mc="http://schemas.openxmlformats.org/markup-compatibility/2006">
          <mc:Choice xmlns:p14="http://schemas.microsoft.com/office/powerpoint/2010/main" Requires="p14">
            <p:contentPart p14:bwMode="auto" r:id="rId48">
              <p14:nvContentPartPr>
                <p14:cNvPr id="206" name="Ink 205">
                  <a:extLst>
                    <a:ext uri="{FF2B5EF4-FFF2-40B4-BE49-F238E27FC236}">
                      <a16:creationId xmlns:a16="http://schemas.microsoft.com/office/drawing/2014/main" id="{09DA3B53-1101-AF75-077A-97D67185B97D}"/>
                    </a:ext>
                  </a:extLst>
                </p14:cNvPr>
                <p14:cNvContentPartPr/>
                <p14:nvPr/>
              </p14:nvContentPartPr>
              <p14:xfrm>
                <a:off x="3889163" y="724917"/>
                <a:ext cx="96480" cy="218880"/>
              </p14:xfrm>
            </p:contentPart>
          </mc:Choice>
          <mc:Fallback>
            <p:pic>
              <p:nvPicPr>
                <p:cNvPr id="206" name="Ink 205">
                  <a:extLst>
                    <a:ext uri="{FF2B5EF4-FFF2-40B4-BE49-F238E27FC236}">
                      <a16:creationId xmlns:a16="http://schemas.microsoft.com/office/drawing/2014/main" id="{09DA3B53-1101-AF75-077A-97D67185B97D}"/>
                    </a:ext>
                  </a:extLst>
                </p:cNvPr>
                <p:cNvPicPr/>
                <p:nvPr/>
              </p:nvPicPr>
              <p:blipFill>
                <a:blip r:embed="rId49"/>
                <a:stretch>
                  <a:fillRect/>
                </a:stretch>
              </p:blipFill>
              <p:spPr>
                <a:xfrm>
                  <a:off x="3873683" y="709437"/>
                  <a:ext cx="126720" cy="249120"/>
                </a:xfrm>
                <a:prstGeom prst="rect">
                  <a:avLst/>
                </a:prstGeom>
              </p:spPr>
            </p:pic>
          </mc:Fallback>
        </mc:AlternateContent>
        <mc:AlternateContent xmlns:mc="http://schemas.openxmlformats.org/markup-compatibility/2006">
          <mc:Choice xmlns:p14="http://schemas.microsoft.com/office/powerpoint/2010/main" Requires="p14">
            <p:contentPart p14:bwMode="auto" r:id="rId50">
              <p14:nvContentPartPr>
                <p14:cNvPr id="207" name="Ink 206">
                  <a:extLst>
                    <a:ext uri="{FF2B5EF4-FFF2-40B4-BE49-F238E27FC236}">
                      <a16:creationId xmlns:a16="http://schemas.microsoft.com/office/drawing/2014/main" id="{81E0D231-5C61-D9FF-F5DE-6503A965EB5E}"/>
                    </a:ext>
                  </a:extLst>
                </p14:cNvPr>
                <p14:cNvContentPartPr/>
                <p14:nvPr/>
              </p14:nvContentPartPr>
              <p14:xfrm>
                <a:off x="4018403" y="689277"/>
                <a:ext cx="15840" cy="171720"/>
              </p14:xfrm>
            </p:contentPart>
          </mc:Choice>
          <mc:Fallback>
            <p:pic>
              <p:nvPicPr>
                <p:cNvPr id="207" name="Ink 206">
                  <a:extLst>
                    <a:ext uri="{FF2B5EF4-FFF2-40B4-BE49-F238E27FC236}">
                      <a16:creationId xmlns:a16="http://schemas.microsoft.com/office/drawing/2014/main" id="{81E0D231-5C61-D9FF-F5DE-6503A965EB5E}"/>
                    </a:ext>
                  </a:extLst>
                </p:cNvPr>
                <p:cNvPicPr/>
                <p:nvPr/>
              </p:nvPicPr>
              <p:blipFill>
                <a:blip r:embed="rId51"/>
                <a:stretch>
                  <a:fillRect/>
                </a:stretch>
              </p:blipFill>
              <p:spPr>
                <a:xfrm>
                  <a:off x="4003283" y="674157"/>
                  <a:ext cx="46440" cy="202320"/>
                </a:xfrm>
                <a:prstGeom prst="rect">
                  <a:avLst/>
                </a:prstGeom>
              </p:spPr>
            </p:pic>
          </mc:Fallback>
        </mc:AlternateContent>
        <mc:AlternateContent xmlns:mc="http://schemas.openxmlformats.org/markup-compatibility/2006">
          <mc:Choice xmlns:p14="http://schemas.microsoft.com/office/powerpoint/2010/main" Requires="p14">
            <p:contentPart p14:bwMode="auto" r:id="rId52">
              <p14:nvContentPartPr>
                <p14:cNvPr id="208" name="Ink 207">
                  <a:extLst>
                    <a:ext uri="{FF2B5EF4-FFF2-40B4-BE49-F238E27FC236}">
                      <a16:creationId xmlns:a16="http://schemas.microsoft.com/office/drawing/2014/main" id="{1E278BDD-0047-18E8-0917-CCA28B051A4C}"/>
                    </a:ext>
                  </a:extLst>
                </p14:cNvPr>
                <p14:cNvContentPartPr/>
                <p14:nvPr/>
              </p14:nvContentPartPr>
              <p14:xfrm>
                <a:off x="4102283" y="783237"/>
                <a:ext cx="9360" cy="88200"/>
              </p14:xfrm>
            </p:contentPart>
          </mc:Choice>
          <mc:Fallback>
            <p:pic>
              <p:nvPicPr>
                <p:cNvPr id="208" name="Ink 207">
                  <a:extLst>
                    <a:ext uri="{FF2B5EF4-FFF2-40B4-BE49-F238E27FC236}">
                      <a16:creationId xmlns:a16="http://schemas.microsoft.com/office/drawing/2014/main" id="{1E278BDD-0047-18E8-0917-CCA28B051A4C}"/>
                    </a:ext>
                  </a:extLst>
                </p:cNvPr>
                <p:cNvPicPr/>
                <p:nvPr/>
              </p:nvPicPr>
              <p:blipFill>
                <a:blip r:embed="rId53"/>
                <a:stretch>
                  <a:fillRect/>
                </a:stretch>
              </p:blipFill>
              <p:spPr>
                <a:xfrm>
                  <a:off x="4087163" y="768117"/>
                  <a:ext cx="39960" cy="118800"/>
                </a:xfrm>
                <a:prstGeom prst="rect">
                  <a:avLst/>
                </a:prstGeom>
              </p:spPr>
            </p:pic>
          </mc:Fallback>
        </mc:AlternateContent>
        <mc:AlternateContent xmlns:mc="http://schemas.openxmlformats.org/markup-compatibility/2006">
          <mc:Choice xmlns:p14="http://schemas.microsoft.com/office/powerpoint/2010/main" Requires="p14">
            <p:contentPart p14:bwMode="auto" r:id="rId54">
              <p14:nvContentPartPr>
                <p14:cNvPr id="209" name="Ink 208">
                  <a:extLst>
                    <a:ext uri="{FF2B5EF4-FFF2-40B4-BE49-F238E27FC236}">
                      <a16:creationId xmlns:a16="http://schemas.microsoft.com/office/drawing/2014/main" id="{856FD039-62BD-73EA-D315-6591CE484454}"/>
                    </a:ext>
                  </a:extLst>
                </p14:cNvPr>
                <p14:cNvContentPartPr/>
                <p14:nvPr/>
              </p14:nvContentPartPr>
              <p14:xfrm>
                <a:off x="4109483" y="705117"/>
                <a:ext cx="6120" cy="32040"/>
              </p14:xfrm>
            </p:contentPart>
          </mc:Choice>
          <mc:Fallback>
            <p:pic>
              <p:nvPicPr>
                <p:cNvPr id="209" name="Ink 208">
                  <a:extLst>
                    <a:ext uri="{FF2B5EF4-FFF2-40B4-BE49-F238E27FC236}">
                      <a16:creationId xmlns:a16="http://schemas.microsoft.com/office/drawing/2014/main" id="{856FD039-62BD-73EA-D315-6591CE484454}"/>
                    </a:ext>
                  </a:extLst>
                </p:cNvPr>
                <p:cNvPicPr/>
                <p:nvPr/>
              </p:nvPicPr>
              <p:blipFill>
                <a:blip r:embed="rId55"/>
                <a:stretch>
                  <a:fillRect/>
                </a:stretch>
              </p:blipFill>
              <p:spPr>
                <a:xfrm>
                  <a:off x="4094363" y="689997"/>
                  <a:ext cx="36720" cy="62280"/>
                </a:xfrm>
                <a:prstGeom prst="rect">
                  <a:avLst/>
                </a:prstGeom>
              </p:spPr>
            </p:pic>
          </mc:Fallback>
        </mc:AlternateContent>
        <mc:AlternateContent xmlns:mc="http://schemas.openxmlformats.org/markup-compatibility/2006">
          <mc:Choice xmlns:p14="http://schemas.microsoft.com/office/powerpoint/2010/main" Requires="p14">
            <p:contentPart p14:bwMode="auto" r:id="rId56">
              <p14:nvContentPartPr>
                <p14:cNvPr id="210" name="Ink 209">
                  <a:extLst>
                    <a:ext uri="{FF2B5EF4-FFF2-40B4-BE49-F238E27FC236}">
                      <a16:creationId xmlns:a16="http://schemas.microsoft.com/office/drawing/2014/main" id="{6ECCA844-546E-4169-5C96-562F54C6C779}"/>
                    </a:ext>
                  </a:extLst>
                </p14:cNvPr>
                <p14:cNvContentPartPr/>
                <p14:nvPr/>
              </p14:nvContentPartPr>
              <p14:xfrm>
                <a:off x="4193363" y="680637"/>
                <a:ext cx="286560" cy="222120"/>
              </p14:xfrm>
            </p:contentPart>
          </mc:Choice>
          <mc:Fallback>
            <p:pic>
              <p:nvPicPr>
                <p:cNvPr id="210" name="Ink 209">
                  <a:extLst>
                    <a:ext uri="{FF2B5EF4-FFF2-40B4-BE49-F238E27FC236}">
                      <a16:creationId xmlns:a16="http://schemas.microsoft.com/office/drawing/2014/main" id="{6ECCA844-546E-4169-5C96-562F54C6C779}"/>
                    </a:ext>
                  </a:extLst>
                </p:cNvPr>
                <p:cNvPicPr/>
                <p:nvPr/>
              </p:nvPicPr>
              <p:blipFill>
                <a:blip r:embed="rId57"/>
                <a:stretch>
                  <a:fillRect/>
                </a:stretch>
              </p:blipFill>
              <p:spPr>
                <a:xfrm>
                  <a:off x="4177883" y="665517"/>
                  <a:ext cx="317160" cy="252720"/>
                </a:xfrm>
                <a:prstGeom prst="rect">
                  <a:avLst/>
                </a:prstGeom>
              </p:spPr>
            </p:pic>
          </mc:Fallback>
        </mc:AlternateContent>
        <mc:AlternateContent xmlns:mc="http://schemas.openxmlformats.org/markup-compatibility/2006">
          <mc:Choice xmlns:p14="http://schemas.microsoft.com/office/powerpoint/2010/main" Requires="p14">
            <p:contentPart p14:bwMode="auto" r:id="rId58">
              <p14:nvContentPartPr>
                <p14:cNvPr id="211" name="Ink 210">
                  <a:extLst>
                    <a:ext uri="{FF2B5EF4-FFF2-40B4-BE49-F238E27FC236}">
                      <a16:creationId xmlns:a16="http://schemas.microsoft.com/office/drawing/2014/main" id="{24BB04BF-9F50-FD62-9678-C2AC38C48B45}"/>
                    </a:ext>
                  </a:extLst>
                </p14:cNvPr>
                <p14:cNvContentPartPr/>
                <p14:nvPr/>
              </p14:nvContentPartPr>
              <p14:xfrm>
                <a:off x="4487483" y="779637"/>
                <a:ext cx="85680" cy="79560"/>
              </p14:xfrm>
            </p:contentPart>
          </mc:Choice>
          <mc:Fallback>
            <p:pic>
              <p:nvPicPr>
                <p:cNvPr id="211" name="Ink 210">
                  <a:extLst>
                    <a:ext uri="{FF2B5EF4-FFF2-40B4-BE49-F238E27FC236}">
                      <a16:creationId xmlns:a16="http://schemas.microsoft.com/office/drawing/2014/main" id="{24BB04BF-9F50-FD62-9678-C2AC38C48B45}"/>
                    </a:ext>
                  </a:extLst>
                </p:cNvPr>
                <p:cNvPicPr/>
                <p:nvPr/>
              </p:nvPicPr>
              <p:blipFill>
                <a:blip r:embed="rId59"/>
                <a:stretch>
                  <a:fillRect/>
                </a:stretch>
              </p:blipFill>
              <p:spPr>
                <a:xfrm>
                  <a:off x="4472003" y="764517"/>
                  <a:ext cx="116280" cy="110160"/>
                </a:xfrm>
                <a:prstGeom prst="rect">
                  <a:avLst/>
                </a:prstGeom>
              </p:spPr>
            </p:pic>
          </mc:Fallback>
        </mc:AlternateContent>
        <mc:AlternateContent xmlns:mc="http://schemas.openxmlformats.org/markup-compatibility/2006">
          <mc:Choice xmlns:p14="http://schemas.microsoft.com/office/powerpoint/2010/main" Requires="p14">
            <p:contentPart p14:bwMode="auto" r:id="rId60">
              <p14:nvContentPartPr>
                <p14:cNvPr id="212" name="Ink 211">
                  <a:extLst>
                    <a:ext uri="{FF2B5EF4-FFF2-40B4-BE49-F238E27FC236}">
                      <a16:creationId xmlns:a16="http://schemas.microsoft.com/office/drawing/2014/main" id="{BBBEE03C-ED13-62BF-CEF1-A8DBF17D2471}"/>
                    </a:ext>
                  </a:extLst>
                </p14:cNvPr>
                <p14:cNvContentPartPr/>
                <p14:nvPr/>
              </p14:nvContentPartPr>
              <p14:xfrm>
                <a:off x="4576403" y="726357"/>
                <a:ext cx="6480" cy="39240"/>
              </p14:xfrm>
            </p:contentPart>
          </mc:Choice>
          <mc:Fallback>
            <p:pic>
              <p:nvPicPr>
                <p:cNvPr id="212" name="Ink 211">
                  <a:extLst>
                    <a:ext uri="{FF2B5EF4-FFF2-40B4-BE49-F238E27FC236}">
                      <a16:creationId xmlns:a16="http://schemas.microsoft.com/office/drawing/2014/main" id="{BBBEE03C-ED13-62BF-CEF1-A8DBF17D2471}"/>
                    </a:ext>
                  </a:extLst>
                </p:cNvPr>
                <p:cNvPicPr/>
                <p:nvPr/>
              </p:nvPicPr>
              <p:blipFill>
                <a:blip r:embed="rId61"/>
                <a:stretch>
                  <a:fillRect/>
                </a:stretch>
              </p:blipFill>
              <p:spPr>
                <a:xfrm>
                  <a:off x="4560923" y="711237"/>
                  <a:ext cx="37080" cy="69840"/>
                </a:xfrm>
                <a:prstGeom prst="rect">
                  <a:avLst/>
                </a:prstGeom>
              </p:spPr>
            </p:pic>
          </mc:Fallback>
        </mc:AlternateContent>
        <mc:AlternateContent xmlns:mc="http://schemas.openxmlformats.org/markup-compatibility/2006">
          <mc:Choice xmlns:p14="http://schemas.microsoft.com/office/powerpoint/2010/main" Requires="p14">
            <p:contentPart p14:bwMode="auto" r:id="rId62">
              <p14:nvContentPartPr>
                <p14:cNvPr id="213" name="Ink 212">
                  <a:extLst>
                    <a:ext uri="{FF2B5EF4-FFF2-40B4-BE49-F238E27FC236}">
                      <a16:creationId xmlns:a16="http://schemas.microsoft.com/office/drawing/2014/main" id="{EB9E5941-5F35-015A-CD12-9201AFA2AF94}"/>
                    </a:ext>
                  </a:extLst>
                </p14:cNvPr>
                <p14:cNvContentPartPr/>
                <p14:nvPr/>
              </p14:nvContentPartPr>
              <p14:xfrm>
                <a:off x="4635443" y="785397"/>
                <a:ext cx="37440" cy="89280"/>
              </p14:xfrm>
            </p:contentPart>
          </mc:Choice>
          <mc:Fallback>
            <p:pic>
              <p:nvPicPr>
                <p:cNvPr id="213" name="Ink 212">
                  <a:extLst>
                    <a:ext uri="{FF2B5EF4-FFF2-40B4-BE49-F238E27FC236}">
                      <a16:creationId xmlns:a16="http://schemas.microsoft.com/office/drawing/2014/main" id="{EB9E5941-5F35-015A-CD12-9201AFA2AF94}"/>
                    </a:ext>
                  </a:extLst>
                </p:cNvPr>
                <p:cNvPicPr/>
                <p:nvPr/>
              </p:nvPicPr>
              <p:blipFill>
                <a:blip r:embed="rId63"/>
                <a:stretch>
                  <a:fillRect/>
                </a:stretch>
              </p:blipFill>
              <p:spPr>
                <a:xfrm>
                  <a:off x="4620323" y="769917"/>
                  <a:ext cx="68040" cy="119520"/>
                </a:xfrm>
                <a:prstGeom prst="rect">
                  <a:avLst/>
                </a:prstGeom>
              </p:spPr>
            </p:pic>
          </mc:Fallback>
        </mc:AlternateContent>
        <mc:AlternateContent xmlns:mc="http://schemas.openxmlformats.org/markup-compatibility/2006">
          <mc:Choice xmlns:p14="http://schemas.microsoft.com/office/powerpoint/2010/main" Requires="p14">
            <p:contentPart p14:bwMode="auto" r:id="rId64">
              <p14:nvContentPartPr>
                <p14:cNvPr id="214" name="Ink 213">
                  <a:extLst>
                    <a:ext uri="{FF2B5EF4-FFF2-40B4-BE49-F238E27FC236}">
                      <a16:creationId xmlns:a16="http://schemas.microsoft.com/office/drawing/2014/main" id="{4D305FB4-8243-FAE9-3AE5-F8FB3A96D420}"/>
                    </a:ext>
                  </a:extLst>
                </p14:cNvPr>
                <p14:cNvContentPartPr/>
                <p14:nvPr/>
              </p14:nvContentPartPr>
              <p14:xfrm>
                <a:off x="4720763" y="796197"/>
                <a:ext cx="151200" cy="143280"/>
              </p14:xfrm>
            </p:contentPart>
          </mc:Choice>
          <mc:Fallback>
            <p:pic>
              <p:nvPicPr>
                <p:cNvPr id="214" name="Ink 213">
                  <a:extLst>
                    <a:ext uri="{FF2B5EF4-FFF2-40B4-BE49-F238E27FC236}">
                      <a16:creationId xmlns:a16="http://schemas.microsoft.com/office/drawing/2014/main" id="{4D305FB4-8243-FAE9-3AE5-F8FB3A96D420}"/>
                    </a:ext>
                  </a:extLst>
                </p:cNvPr>
                <p:cNvPicPr/>
                <p:nvPr/>
              </p:nvPicPr>
              <p:blipFill>
                <a:blip r:embed="rId65"/>
                <a:stretch>
                  <a:fillRect/>
                </a:stretch>
              </p:blipFill>
              <p:spPr>
                <a:xfrm>
                  <a:off x="4705283" y="781077"/>
                  <a:ext cx="181800" cy="173880"/>
                </a:xfrm>
                <a:prstGeom prst="rect">
                  <a:avLst/>
                </a:prstGeom>
              </p:spPr>
            </p:pic>
          </mc:Fallback>
        </mc:AlternateContent>
        <mc:AlternateContent xmlns:mc="http://schemas.openxmlformats.org/markup-compatibility/2006">
          <mc:Choice xmlns:p14="http://schemas.microsoft.com/office/powerpoint/2010/main" Requires="p14">
            <p:contentPart p14:bwMode="auto" r:id="rId66">
              <p14:nvContentPartPr>
                <p14:cNvPr id="215" name="Ink 214">
                  <a:extLst>
                    <a:ext uri="{FF2B5EF4-FFF2-40B4-BE49-F238E27FC236}">
                      <a16:creationId xmlns:a16="http://schemas.microsoft.com/office/drawing/2014/main" id="{FD2479E3-840F-CA7B-BC69-FA8048BFB31D}"/>
                    </a:ext>
                  </a:extLst>
                </p14:cNvPr>
                <p14:cNvContentPartPr/>
                <p14:nvPr/>
              </p14:nvContentPartPr>
              <p14:xfrm>
                <a:off x="4283003" y="826077"/>
                <a:ext cx="78480" cy="61560"/>
              </p14:xfrm>
            </p:contentPart>
          </mc:Choice>
          <mc:Fallback>
            <p:pic>
              <p:nvPicPr>
                <p:cNvPr id="215" name="Ink 214">
                  <a:extLst>
                    <a:ext uri="{FF2B5EF4-FFF2-40B4-BE49-F238E27FC236}">
                      <a16:creationId xmlns:a16="http://schemas.microsoft.com/office/drawing/2014/main" id="{FD2479E3-840F-CA7B-BC69-FA8048BFB31D}"/>
                    </a:ext>
                  </a:extLst>
                </p:cNvPr>
                <p:cNvPicPr/>
                <p:nvPr/>
              </p:nvPicPr>
              <p:blipFill>
                <a:blip r:embed="rId67"/>
                <a:stretch>
                  <a:fillRect/>
                </a:stretch>
              </p:blipFill>
              <p:spPr>
                <a:xfrm>
                  <a:off x="4267883" y="810957"/>
                  <a:ext cx="109080" cy="9180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68">
            <p14:nvContentPartPr>
              <p14:cNvPr id="217" name="Ink 216">
                <a:extLst>
                  <a:ext uri="{FF2B5EF4-FFF2-40B4-BE49-F238E27FC236}">
                    <a16:creationId xmlns:a16="http://schemas.microsoft.com/office/drawing/2014/main" id="{91A67BCA-1FEA-E27B-9F7A-BC2A325DB1DC}"/>
                  </a:ext>
                </a:extLst>
              </p14:cNvPr>
              <p14:cNvContentPartPr/>
              <p14:nvPr/>
            </p14:nvContentPartPr>
            <p14:xfrm>
              <a:off x="5762603" y="1606557"/>
              <a:ext cx="252360" cy="200880"/>
            </p14:xfrm>
          </p:contentPart>
        </mc:Choice>
        <mc:Fallback>
          <p:pic>
            <p:nvPicPr>
              <p:cNvPr id="217" name="Ink 216">
                <a:extLst>
                  <a:ext uri="{FF2B5EF4-FFF2-40B4-BE49-F238E27FC236}">
                    <a16:creationId xmlns:a16="http://schemas.microsoft.com/office/drawing/2014/main" id="{91A67BCA-1FEA-E27B-9F7A-BC2A325DB1DC}"/>
                  </a:ext>
                </a:extLst>
              </p:cNvPr>
              <p:cNvPicPr/>
              <p:nvPr/>
            </p:nvPicPr>
            <p:blipFill>
              <a:blip r:embed="rId69"/>
              <a:stretch>
                <a:fillRect/>
              </a:stretch>
            </p:blipFill>
            <p:spPr>
              <a:xfrm>
                <a:off x="5747483" y="1591077"/>
                <a:ext cx="282600" cy="231480"/>
              </a:xfrm>
              <a:prstGeom prst="rect">
                <a:avLst/>
              </a:prstGeom>
            </p:spPr>
          </p:pic>
        </mc:Fallback>
      </mc:AlternateContent>
      <mc:AlternateContent xmlns:mc="http://schemas.openxmlformats.org/markup-compatibility/2006">
        <mc:Choice xmlns:p14="http://schemas.microsoft.com/office/powerpoint/2010/main" Requires="p14">
          <p:contentPart p14:bwMode="auto" r:id="rId70">
            <p14:nvContentPartPr>
              <p14:cNvPr id="218" name="Ink 217">
                <a:extLst>
                  <a:ext uri="{FF2B5EF4-FFF2-40B4-BE49-F238E27FC236}">
                    <a16:creationId xmlns:a16="http://schemas.microsoft.com/office/drawing/2014/main" id="{1C5A40FA-C164-2DC6-63B7-61B36D2359EF}"/>
                  </a:ext>
                </a:extLst>
              </p14:cNvPr>
              <p14:cNvContentPartPr/>
              <p14:nvPr/>
            </p14:nvContentPartPr>
            <p14:xfrm>
              <a:off x="5431043" y="2477037"/>
              <a:ext cx="106200" cy="95760"/>
            </p14:xfrm>
          </p:contentPart>
        </mc:Choice>
        <mc:Fallback>
          <p:pic>
            <p:nvPicPr>
              <p:cNvPr id="218" name="Ink 217">
                <a:extLst>
                  <a:ext uri="{FF2B5EF4-FFF2-40B4-BE49-F238E27FC236}">
                    <a16:creationId xmlns:a16="http://schemas.microsoft.com/office/drawing/2014/main" id="{1C5A40FA-C164-2DC6-63B7-61B36D2359EF}"/>
                  </a:ext>
                </a:extLst>
              </p:cNvPr>
              <p:cNvPicPr/>
              <p:nvPr/>
            </p:nvPicPr>
            <p:blipFill>
              <a:blip r:embed="rId71"/>
              <a:stretch>
                <a:fillRect/>
              </a:stretch>
            </p:blipFill>
            <p:spPr>
              <a:xfrm>
                <a:off x="5415923" y="2461917"/>
                <a:ext cx="136800" cy="126360"/>
              </a:xfrm>
              <a:prstGeom prst="rect">
                <a:avLst/>
              </a:prstGeom>
            </p:spPr>
          </p:pic>
        </mc:Fallback>
      </mc:AlternateContent>
      <mc:AlternateContent xmlns:mc="http://schemas.openxmlformats.org/markup-compatibility/2006">
        <mc:Choice xmlns:p14="http://schemas.microsoft.com/office/powerpoint/2010/main" Requires="p14">
          <p:contentPart p14:bwMode="auto" r:id="rId72">
            <p14:nvContentPartPr>
              <p14:cNvPr id="219" name="Ink 218">
                <a:extLst>
                  <a:ext uri="{FF2B5EF4-FFF2-40B4-BE49-F238E27FC236}">
                    <a16:creationId xmlns:a16="http://schemas.microsoft.com/office/drawing/2014/main" id="{1D3257CF-92F7-1275-57FA-2B9098227FB8}"/>
                  </a:ext>
                </a:extLst>
              </p14:cNvPr>
              <p14:cNvContentPartPr/>
              <p14:nvPr/>
            </p14:nvContentPartPr>
            <p14:xfrm>
              <a:off x="2513963" y="1671717"/>
              <a:ext cx="330480" cy="71640"/>
            </p14:xfrm>
          </p:contentPart>
        </mc:Choice>
        <mc:Fallback>
          <p:pic>
            <p:nvPicPr>
              <p:cNvPr id="219" name="Ink 218">
                <a:extLst>
                  <a:ext uri="{FF2B5EF4-FFF2-40B4-BE49-F238E27FC236}">
                    <a16:creationId xmlns:a16="http://schemas.microsoft.com/office/drawing/2014/main" id="{1D3257CF-92F7-1275-57FA-2B9098227FB8}"/>
                  </a:ext>
                </a:extLst>
              </p:cNvPr>
              <p:cNvPicPr/>
              <p:nvPr/>
            </p:nvPicPr>
            <p:blipFill>
              <a:blip r:embed="rId73"/>
              <a:stretch>
                <a:fillRect/>
              </a:stretch>
            </p:blipFill>
            <p:spPr>
              <a:xfrm>
                <a:off x="2498483" y="1656597"/>
                <a:ext cx="360720" cy="102240"/>
              </a:xfrm>
              <a:prstGeom prst="rect">
                <a:avLst/>
              </a:prstGeom>
            </p:spPr>
          </p:pic>
        </mc:Fallback>
      </mc:AlternateContent>
      <p:grpSp>
        <p:nvGrpSpPr>
          <p:cNvPr id="221" name="Group 220">
            <a:extLst>
              <a:ext uri="{FF2B5EF4-FFF2-40B4-BE49-F238E27FC236}">
                <a16:creationId xmlns:a16="http://schemas.microsoft.com/office/drawing/2014/main" id="{996EC630-6697-60B2-5783-C636D2DD94AE}"/>
              </a:ext>
            </a:extLst>
          </p:cNvPr>
          <p:cNvGrpSpPr/>
          <p:nvPr/>
        </p:nvGrpSpPr>
        <p:grpSpPr>
          <a:xfrm>
            <a:off x="3084563" y="1254117"/>
            <a:ext cx="701640" cy="405000"/>
            <a:chOff x="3084563" y="1254117"/>
            <a:chExt cx="701640" cy="405000"/>
          </a:xfrm>
        </p:grpSpPr>
        <mc:AlternateContent xmlns:mc="http://schemas.openxmlformats.org/markup-compatibility/2006">
          <mc:Choice xmlns:p14="http://schemas.microsoft.com/office/powerpoint/2010/main" Requires="p14">
            <p:contentPart p14:bwMode="auto" r:id="rId74">
              <p14:nvContentPartPr>
                <p14:cNvPr id="25" name="Ink 24">
                  <a:extLst>
                    <a:ext uri="{FF2B5EF4-FFF2-40B4-BE49-F238E27FC236}">
                      <a16:creationId xmlns:a16="http://schemas.microsoft.com/office/drawing/2014/main" id="{7E70D5E0-C98F-35D4-4D15-6E55BA4D246C}"/>
                    </a:ext>
                  </a:extLst>
                </p14:cNvPr>
                <p14:cNvContentPartPr/>
                <p14:nvPr/>
              </p14:nvContentPartPr>
              <p14:xfrm>
                <a:off x="3095723" y="1384797"/>
                <a:ext cx="98640" cy="182880"/>
              </p14:xfrm>
            </p:contentPart>
          </mc:Choice>
          <mc:Fallback>
            <p:pic>
              <p:nvPicPr>
                <p:cNvPr id="25" name="Ink 24">
                  <a:extLst>
                    <a:ext uri="{FF2B5EF4-FFF2-40B4-BE49-F238E27FC236}">
                      <a16:creationId xmlns:a16="http://schemas.microsoft.com/office/drawing/2014/main" id="{7E70D5E0-C98F-35D4-4D15-6E55BA4D246C}"/>
                    </a:ext>
                  </a:extLst>
                </p:cNvPr>
                <p:cNvPicPr/>
                <p:nvPr/>
              </p:nvPicPr>
              <p:blipFill>
                <a:blip r:embed="rId75"/>
                <a:stretch>
                  <a:fillRect/>
                </a:stretch>
              </p:blipFill>
              <p:spPr>
                <a:xfrm>
                  <a:off x="3080603" y="1369317"/>
                  <a:ext cx="129240" cy="213120"/>
                </a:xfrm>
                <a:prstGeom prst="rect">
                  <a:avLst/>
                </a:prstGeom>
              </p:spPr>
            </p:pic>
          </mc:Fallback>
        </mc:AlternateContent>
        <mc:AlternateContent xmlns:mc="http://schemas.openxmlformats.org/markup-compatibility/2006">
          <mc:Choice xmlns:p14="http://schemas.microsoft.com/office/powerpoint/2010/main" Requires="p14">
            <p:contentPart p14:bwMode="auto" r:id="rId76">
              <p14:nvContentPartPr>
                <p14:cNvPr id="26" name="Ink 25">
                  <a:extLst>
                    <a:ext uri="{FF2B5EF4-FFF2-40B4-BE49-F238E27FC236}">
                      <a16:creationId xmlns:a16="http://schemas.microsoft.com/office/drawing/2014/main" id="{074D882F-454D-037D-8977-1A4C005CD075}"/>
                    </a:ext>
                  </a:extLst>
                </p14:cNvPr>
                <p14:cNvContentPartPr/>
                <p14:nvPr/>
              </p14:nvContentPartPr>
              <p14:xfrm>
                <a:off x="3084563" y="1407837"/>
                <a:ext cx="110520" cy="162360"/>
              </p14:xfrm>
            </p:contentPart>
          </mc:Choice>
          <mc:Fallback>
            <p:pic>
              <p:nvPicPr>
                <p:cNvPr id="26" name="Ink 25">
                  <a:extLst>
                    <a:ext uri="{FF2B5EF4-FFF2-40B4-BE49-F238E27FC236}">
                      <a16:creationId xmlns:a16="http://schemas.microsoft.com/office/drawing/2014/main" id="{074D882F-454D-037D-8977-1A4C005CD075}"/>
                    </a:ext>
                  </a:extLst>
                </p:cNvPr>
                <p:cNvPicPr/>
                <p:nvPr/>
              </p:nvPicPr>
              <p:blipFill>
                <a:blip r:embed="rId77"/>
                <a:stretch>
                  <a:fillRect/>
                </a:stretch>
              </p:blipFill>
              <p:spPr>
                <a:xfrm>
                  <a:off x="3069443" y="1392717"/>
                  <a:ext cx="140760" cy="192600"/>
                </a:xfrm>
                <a:prstGeom prst="rect">
                  <a:avLst/>
                </a:prstGeom>
              </p:spPr>
            </p:pic>
          </mc:Fallback>
        </mc:AlternateContent>
        <mc:AlternateContent xmlns:mc="http://schemas.openxmlformats.org/markup-compatibility/2006">
          <mc:Choice xmlns:p14="http://schemas.microsoft.com/office/powerpoint/2010/main" Requires="p14">
            <p:contentPart p14:bwMode="auto" r:id="rId78">
              <p14:nvContentPartPr>
                <p14:cNvPr id="27" name="Ink 26">
                  <a:extLst>
                    <a:ext uri="{FF2B5EF4-FFF2-40B4-BE49-F238E27FC236}">
                      <a16:creationId xmlns:a16="http://schemas.microsoft.com/office/drawing/2014/main" id="{25F87B5E-B0C6-2AF6-B08C-48A12DE60CA4}"/>
                    </a:ext>
                  </a:extLst>
                </p14:cNvPr>
                <p14:cNvContentPartPr/>
                <p14:nvPr/>
              </p14:nvContentPartPr>
              <p14:xfrm>
                <a:off x="3345203" y="1357437"/>
                <a:ext cx="174240" cy="154440"/>
              </p14:xfrm>
            </p:contentPart>
          </mc:Choice>
          <mc:Fallback>
            <p:pic>
              <p:nvPicPr>
                <p:cNvPr id="27" name="Ink 26">
                  <a:extLst>
                    <a:ext uri="{FF2B5EF4-FFF2-40B4-BE49-F238E27FC236}">
                      <a16:creationId xmlns:a16="http://schemas.microsoft.com/office/drawing/2014/main" id="{25F87B5E-B0C6-2AF6-B08C-48A12DE60CA4}"/>
                    </a:ext>
                  </a:extLst>
                </p:cNvPr>
                <p:cNvPicPr/>
                <p:nvPr/>
              </p:nvPicPr>
              <p:blipFill>
                <a:blip r:embed="rId79"/>
                <a:stretch>
                  <a:fillRect/>
                </a:stretch>
              </p:blipFill>
              <p:spPr>
                <a:xfrm>
                  <a:off x="3330083" y="1341957"/>
                  <a:ext cx="204840" cy="185040"/>
                </a:xfrm>
                <a:prstGeom prst="rect">
                  <a:avLst/>
                </a:prstGeom>
              </p:spPr>
            </p:pic>
          </mc:Fallback>
        </mc:AlternateContent>
        <mc:AlternateContent xmlns:mc="http://schemas.openxmlformats.org/markup-compatibility/2006">
          <mc:Choice xmlns:p14="http://schemas.microsoft.com/office/powerpoint/2010/main" Requires="p14">
            <p:contentPart p14:bwMode="auto" r:id="rId80">
              <p14:nvContentPartPr>
                <p14:cNvPr id="28" name="Ink 27">
                  <a:extLst>
                    <a:ext uri="{FF2B5EF4-FFF2-40B4-BE49-F238E27FC236}">
                      <a16:creationId xmlns:a16="http://schemas.microsoft.com/office/drawing/2014/main" id="{ABF387FB-FB4A-7F36-9969-79F5869DC097}"/>
                    </a:ext>
                  </a:extLst>
                </p14:cNvPr>
                <p14:cNvContentPartPr/>
                <p14:nvPr/>
              </p14:nvContentPartPr>
              <p14:xfrm>
                <a:off x="3637883" y="1422597"/>
                <a:ext cx="49680" cy="12240"/>
              </p14:xfrm>
            </p:contentPart>
          </mc:Choice>
          <mc:Fallback>
            <p:pic>
              <p:nvPicPr>
                <p:cNvPr id="28" name="Ink 27">
                  <a:extLst>
                    <a:ext uri="{FF2B5EF4-FFF2-40B4-BE49-F238E27FC236}">
                      <a16:creationId xmlns:a16="http://schemas.microsoft.com/office/drawing/2014/main" id="{ABF387FB-FB4A-7F36-9969-79F5869DC097}"/>
                    </a:ext>
                  </a:extLst>
                </p:cNvPr>
                <p:cNvPicPr/>
                <p:nvPr/>
              </p:nvPicPr>
              <p:blipFill>
                <a:blip r:embed="rId81"/>
                <a:stretch>
                  <a:fillRect/>
                </a:stretch>
              </p:blipFill>
              <p:spPr>
                <a:xfrm>
                  <a:off x="3622763" y="1407477"/>
                  <a:ext cx="80280" cy="42840"/>
                </a:xfrm>
                <a:prstGeom prst="rect">
                  <a:avLst/>
                </a:prstGeom>
              </p:spPr>
            </p:pic>
          </mc:Fallback>
        </mc:AlternateContent>
        <mc:AlternateContent xmlns:mc="http://schemas.openxmlformats.org/markup-compatibility/2006">
          <mc:Choice xmlns:p14="http://schemas.microsoft.com/office/powerpoint/2010/main" Requires="p14">
            <p:contentPart p14:bwMode="auto" r:id="rId82">
              <p14:nvContentPartPr>
                <p14:cNvPr id="29" name="Ink 28">
                  <a:extLst>
                    <a:ext uri="{FF2B5EF4-FFF2-40B4-BE49-F238E27FC236}">
                      <a16:creationId xmlns:a16="http://schemas.microsoft.com/office/drawing/2014/main" id="{BDCA67C1-0C9A-B68B-FF6B-C99C0331DE8D}"/>
                    </a:ext>
                  </a:extLst>
                </p14:cNvPr>
                <p14:cNvContentPartPr/>
                <p14:nvPr/>
              </p14:nvContentPartPr>
              <p14:xfrm>
                <a:off x="3638603" y="1429437"/>
                <a:ext cx="147600" cy="92160"/>
              </p14:xfrm>
            </p:contentPart>
          </mc:Choice>
          <mc:Fallback>
            <p:pic>
              <p:nvPicPr>
                <p:cNvPr id="29" name="Ink 28">
                  <a:extLst>
                    <a:ext uri="{FF2B5EF4-FFF2-40B4-BE49-F238E27FC236}">
                      <a16:creationId xmlns:a16="http://schemas.microsoft.com/office/drawing/2014/main" id="{BDCA67C1-0C9A-B68B-FF6B-C99C0331DE8D}"/>
                    </a:ext>
                  </a:extLst>
                </p:cNvPr>
                <p:cNvPicPr/>
                <p:nvPr/>
              </p:nvPicPr>
              <p:blipFill>
                <a:blip r:embed="rId83"/>
                <a:stretch>
                  <a:fillRect/>
                </a:stretch>
              </p:blipFill>
              <p:spPr>
                <a:xfrm>
                  <a:off x="3623483" y="1414317"/>
                  <a:ext cx="178200" cy="122760"/>
                </a:xfrm>
                <a:prstGeom prst="rect">
                  <a:avLst/>
                </a:prstGeom>
              </p:spPr>
            </p:pic>
          </mc:Fallback>
        </mc:AlternateContent>
        <mc:AlternateContent xmlns:mc="http://schemas.openxmlformats.org/markup-compatibility/2006">
          <mc:Choice xmlns:p14="http://schemas.microsoft.com/office/powerpoint/2010/main" Requires="p14">
            <p:contentPart p14:bwMode="auto" r:id="rId84">
              <p14:nvContentPartPr>
                <p14:cNvPr id="220" name="Ink 219">
                  <a:extLst>
                    <a:ext uri="{FF2B5EF4-FFF2-40B4-BE49-F238E27FC236}">
                      <a16:creationId xmlns:a16="http://schemas.microsoft.com/office/drawing/2014/main" id="{C96FB7B0-50BA-18C8-F72D-94E59A13080B}"/>
                    </a:ext>
                  </a:extLst>
                </p14:cNvPr>
                <p14:cNvContentPartPr/>
                <p14:nvPr/>
              </p14:nvContentPartPr>
              <p14:xfrm>
                <a:off x="3261683" y="1254117"/>
                <a:ext cx="351000" cy="405000"/>
              </p14:xfrm>
            </p:contentPart>
          </mc:Choice>
          <mc:Fallback>
            <p:pic>
              <p:nvPicPr>
                <p:cNvPr id="220" name="Ink 219">
                  <a:extLst>
                    <a:ext uri="{FF2B5EF4-FFF2-40B4-BE49-F238E27FC236}">
                      <a16:creationId xmlns:a16="http://schemas.microsoft.com/office/drawing/2014/main" id="{C96FB7B0-50BA-18C8-F72D-94E59A13080B}"/>
                    </a:ext>
                  </a:extLst>
                </p:cNvPr>
                <p:cNvPicPr/>
                <p:nvPr/>
              </p:nvPicPr>
              <p:blipFill>
                <a:blip r:embed="rId85"/>
                <a:stretch>
                  <a:fillRect/>
                </a:stretch>
              </p:blipFill>
              <p:spPr>
                <a:xfrm>
                  <a:off x="3246563" y="1238637"/>
                  <a:ext cx="381600" cy="43560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86">
            <p14:nvContentPartPr>
              <p14:cNvPr id="245" name="Ink 244">
                <a:extLst>
                  <a:ext uri="{FF2B5EF4-FFF2-40B4-BE49-F238E27FC236}">
                    <a16:creationId xmlns:a16="http://schemas.microsoft.com/office/drawing/2014/main" id="{81BE14B9-18EE-72C0-F32B-BD498B72AB8D}"/>
                  </a:ext>
                </a:extLst>
              </p14:cNvPr>
              <p14:cNvContentPartPr/>
              <p14:nvPr/>
            </p14:nvContentPartPr>
            <p14:xfrm>
              <a:off x="4480283" y="1633917"/>
              <a:ext cx="197640" cy="28080"/>
            </p14:xfrm>
          </p:contentPart>
        </mc:Choice>
        <mc:Fallback>
          <p:pic>
            <p:nvPicPr>
              <p:cNvPr id="245" name="Ink 244">
                <a:extLst>
                  <a:ext uri="{FF2B5EF4-FFF2-40B4-BE49-F238E27FC236}">
                    <a16:creationId xmlns:a16="http://schemas.microsoft.com/office/drawing/2014/main" id="{81BE14B9-18EE-72C0-F32B-BD498B72AB8D}"/>
                  </a:ext>
                </a:extLst>
              </p:cNvPr>
              <p:cNvPicPr/>
              <p:nvPr/>
            </p:nvPicPr>
            <p:blipFill>
              <a:blip r:embed="rId87"/>
              <a:stretch>
                <a:fillRect/>
              </a:stretch>
            </p:blipFill>
            <p:spPr>
              <a:xfrm>
                <a:off x="4465163" y="1618437"/>
                <a:ext cx="228240" cy="58680"/>
              </a:xfrm>
              <a:prstGeom prst="rect">
                <a:avLst/>
              </a:prstGeom>
            </p:spPr>
          </p:pic>
        </mc:Fallback>
      </mc:AlternateContent>
      <p:grpSp>
        <p:nvGrpSpPr>
          <p:cNvPr id="248" name="Group 247">
            <a:extLst>
              <a:ext uri="{FF2B5EF4-FFF2-40B4-BE49-F238E27FC236}">
                <a16:creationId xmlns:a16="http://schemas.microsoft.com/office/drawing/2014/main" id="{05CD9DB2-2AD6-19B6-F706-5BFC57C0AD8C}"/>
              </a:ext>
            </a:extLst>
          </p:cNvPr>
          <p:cNvGrpSpPr/>
          <p:nvPr/>
        </p:nvGrpSpPr>
        <p:grpSpPr>
          <a:xfrm>
            <a:off x="4051523" y="1186797"/>
            <a:ext cx="565200" cy="343800"/>
            <a:chOff x="4051523" y="1186797"/>
            <a:chExt cx="565200" cy="343800"/>
          </a:xfrm>
        </p:grpSpPr>
        <mc:AlternateContent xmlns:mc="http://schemas.openxmlformats.org/markup-compatibility/2006">
          <mc:Choice xmlns:p14="http://schemas.microsoft.com/office/powerpoint/2010/main" Requires="p14">
            <p:contentPart p14:bwMode="auto" r:id="rId88">
              <p14:nvContentPartPr>
                <p14:cNvPr id="238" name="Ink 237">
                  <a:extLst>
                    <a:ext uri="{FF2B5EF4-FFF2-40B4-BE49-F238E27FC236}">
                      <a16:creationId xmlns:a16="http://schemas.microsoft.com/office/drawing/2014/main" id="{8462E0A1-4A83-9323-A599-ECACA0922341}"/>
                    </a:ext>
                  </a:extLst>
                </p14:cNvPr>
                <p14:cNvContentPartPr/>
                <p14:nvPr/>
              </p14:nvContentPartPr>
              <p14:xfrm>
                <a:off x="4051523" y="1374357"/>
                <a:ext cx="114120" cy="149040"/>
              </p14:xfrm>
            </p:contentPart>
          </mc:Choice>
          <mc:Fallback>
            <p:pic>
              <p:nvPicPr>
                <p:cNvPr id="238" name="Ink 237">
                  <a:extLst>
                    <a:ext uri="{FF2B5EF4-FFF2-40B4-BE49-F238E27FC236}">
                      <a16:creationId xmlns:a16="http://schemas.microsoft.com/office/drawing/2014/main" id="{8462E0A1-4A83-9323-A599-ECACA0922341}"/>
                    </a:ext>
                  </a:extLst>
                </p:cNvPr>
                <p:cNvPicPr/>
                <p:nvPr/>
              </p:nvPicPr>
              <p:blipFill>
                <a:blip r:embed="rId89"/>
                <a:stretch>
                  <a:fillRect/>
                </a:stretch>
              </p:blipFill>
              <p:spPr>
                <a:xfrm>
                  <a:off x="4036403" y="1358877"/>
                  <a:ext cx="144720" cy="179640"/>
                </a:xfrm>
                <a:prstGeom prst="rect">
                  <a:avLst/>
                </a:prstGeom>
              </p:spPr>
            </p:pic>
          </mc:Fallback>
        </mc:AlternateContent>
        <mc:AlternateContent xmlns:mc="http://schemas.openxmlformats.org/markup-compatibility/2006">
          <mc:Choice xmlns:p14="http://schemas.microsoft.com/office/powerpoint/2010/main" Requires="p14">
            <p:contentPart p14:bwMode="auto" r:id="rId90">
              <p14:nvContentPartPr>
                <p14:cNvPr id="239" name="Ink 238">
                  <a:extLst>
                    <a:ext uri="{FF2B5EF4-FFF2-40B4-BE49-F238E27FC236}">
                      <a16:creationId xmlns:a16="http://schemas.microsoft.com/office/drawing/2014/main" id="{AF23B7BB-F864-171C-8269-CD55725D3818}"/>
                    </a:ext>
                  </a:extLst>
                </p14:cNvPr>
                <p14:cNvContentPartPr/>
                <p14:nvPr/>
              </p14:nvContentPartPr>
              <p14:xfrm>
                <a:off x="4155563" y="1345917"/>
                <a:ext cx="114480" cy="83880"/>
              </p14:xfrm>
            </p:contentPart>
          </mc:Choice>
          <mc:Fallback>
            <p:pic>
              <p:nvPicPr>
                <p:cNvPr id="239" name="Ink 238">
                  <a:extLst>
                    <a:ext uri="{FF2B5EF4-FFF2-40B4-BE49-F238E27FC236}">
                      <a16:creationId xmlns:a16="http://schemas.microsoft.com/office/drawing/2014/main" id="{AF23B7BB-F864-171C-8269-CD55725D3818}"/>
                    </a:ext>
                  </a:extLst>
                </p:cNvPr>
                <p:cNvPicPr/>
                <p:nvPr/>
              </p:nvPicPr>
              <p:blipFill>
                <a:blip r:embed="rId91"/>
                <a:stretch>
                  <a:fillRect/>
                </a:stretch>
              </p:blipFill>
              <p:spPr>
                <a:xfrm>
                  <a:off x="4140443" y="1330437"/>
                  <a:ext cx="145080" cy="114480"/>
                </a:xfrm>
                <a:prstGeom prst="rect">
                  <a:avLst/>
                </a:prstGeom>
              </p:spPr>
            </p:pic>
          </mc:Fallback>
        </mc:AlternateContent>
        <mc:AlternateContent xmlns:mc="http://schemas.openxmlformats.org/markup-compatibility/2006">
          <mc:Choice xmlns:p14="http://schemas.microsoft.com/office/powerpoint/2010/main" Requires="p14">
            <p:contentPart p14:bwMode="auto" r:id="rId92">
              <p14:nvContentPartPr>
                <p14:cNvPr id="240" name="Ink 239">
                  <a:extLst>
                    <a:ext uri="{FF2B5EF4-FFF2-40B4-BE49-F238E27FC236}">
                      <a16:creationId xmlns:a16="http://schemas.microsoft.com/office/drawing/2014/main" id="{43AF2060-8091-AAEB-40E6-55F3C8739942}"/>
                    </a:ext>
                  </a:extLst>
                </p14:cNvPr>
                <p14:cNvContentPartPr/>
                <p14:nvPr/>
              </p14:nvContentPartPr>
              <p14:xfrm>
                <a:off x="4293443" y="1371837"/>
                <a:ext cx="12600" cy="123120"/>
              </p14:xfrm>
            </p:contentPart>
          </mc:Choice>
          <mc:Fallback>
            <p:pic>
              <p:nvPicPr>
                <p:cNvPr id="240" name="Ink 239">
                  <a:extLst>
                    <a:ext uri="{FF2B5EF4-FFF2-40B4-BE49-F238E27FC236}">
                      <a16:creationId xmlns:a16="http://schemas.microsoft.com/office/drawing/2014/main" id="{43AF2060-8091-AAEB-40E6-55F3C8739942}"/>
                    </a:ext>
                  </a:extLst>
                </p:cNvPr>
                <p:cNvPicPr/>
                <p:nvPr/>
              </p:nvPicPr>
              <p:blipFill>
                <a:blip r:embed="rId93"/>
                <a:stretch>
                  <a:fillRect/>
                </a:stretch>
              </p:blipFill>
              <p:spPr>
                <a:xfrm>
                  <a:off x="4278323" y="1356717"/>
                  <a:ext cx="43200" cy="153720"/>
                </a:xfrm>
                <a:prstGeom prst="rect">
                  <a:avLst/>
                </a:prstGeom>
              </p:spPr>
            </p:pic>
          </mc:Fallback>
        </mc:AlternateContent>
        <mc:AlternateContent xmlns:mc="http://schemas.openxmlformats.org/markup-compatibility/2006">
          <mc:Choice xmlns:p14="http://schemas.microsoft.com/office/powerpoint/2010/main" Requires="p14">
            <p:contentPart p14:bwMode="auto" r:id="rId94">
              <p14:nvContentPartPr>
                <p14:cNvPr id="241" name="Ink 240">
                  <a:extLst>
                    <a:ext uri="{FF2B5EF4-FFF2-40B4-BE49-F238E27FC236}">
                      <a16:creationId xmlns:a16="http://schemas.microsoft.com/office/drawing/2014/main" id="{CE2017B7-6703-3574-5A90-F2B621134F6A}"/>
                    </a:ext>
                  </a:extLst>
                </p14:cNvPr>
                <p14:cNvContentPartPr/>
                <p14:nvPr/>
              </p14:nvContentPartPr>
              <p14:xfrm>
                <a:off x="4321163" y="1428357"/>
                <a:ext cx="66240" cy="70920"/>
              </p14:xfrm>
            </p:contentPart>
          </mc:Choice>
          <mc:Fallback>
            <p:pic>
              <p:nvPicPr>
                <p:cNvPr id="241" name="Ink 240">
                  <a:extLst>
                    <a:ext uri="{FF2B5EF4-FFF2-40B4-BE49-F238E27FC236}">
                      <a16:creationId xmlns:a16="http://schemas.microsoft.com/office/drawing/2014/main" id="{CE2017B7-6703-3574-5A90-F2B621134F6A}"/>
                    </a:ext>
                  </a:extLst>
                </p:cNvPr>
                <p:cNvPicPr/>
                <p:nvPr/>
              </p:nvPicPr>
              <p:blipFill>
                <a:blip r:embed="rId95"/>
                <a:stretch>
                  <a:fillRect/>
                </a:stretch>
              </p:blipFill>
              <p:spPr>
                <a:xfrm>
                  <a:off x="4305683" y="1413237"/>
                  <a:ext cx="96840" cy="101160"/>
                </a:xfrm>
                <a:prstGeom prst="rect">
                  <a:avLst/>
                </a:prstGeom>
              </p:spPr>
            </p:pic>
          </mc:Fallback>
        </mc:AlternateContent>
        <mc:AlternateContent xmlns:mc="http://schemas.openxmlformats.org/markup-compatibility/2006">
          <mc:Choice xmlns:p14="http://schemas.microsoft.com/office/powerpoint/2010/main" Requires="p14">
            <p:contentPart p14:bwMode="auto" r:id="rId96">
              <p14:nvContentPartPr>
                <p14:cNvPr id="242" name="Ink 241">
                  <a:extLst>
                    <a:ext uri="{FF2B5EF4-FFF2-40B4-BE49-F238E27FC236}">
                      <a16:creationId xmlns:a16="http://schemas.microsoft.com/office/drawing/2014/main" id="{D593AB4B-B372-0760-76ED-751E4CCC8CB9}"/>
                    </a:ext>
                  </a:extLst>
                </p14:cNvPr>
                <p14:cNvContentPartPr/>
                <p14:nvPr/>
              </p14:nvContentPartPr>
              <p14:xfrm>
                <a:off x="4478843" y="1387317"/>
                <a:ext cx="24120" cy="97920"/>
              </p14:xfrm>
            </p:contentPart>
          </mc:Choice>
          <mc:Fallback>
            <p:pic>
              <p:nvPicPr>
                <p:cNvPr id="242" name="Ink 241">
                  <a:extLst>
                    <a:ext uri="{FF2B5EF4-FFF2-40B4-BE49-F238E27FC236}">
                      <a16:creationId xmlns:a16="http://schemas.microsoft.com/office/drawing/2014/main" id="{D593AB4B-B372-0760-76ED-751E4CCC8CB9}"/>
                    </a:ext>
                  </a:extLst>
                </p:cNvPr>
                <p:cNvPicPr/>
                <p:nvPr/>
              </p:nvPicPr>
              <p:blipFill>
                <a:blip r:embed="rId97"/>
                <a:stretch>
                  <a:fillRect/>
                </a:stretch>
              </p:blipFill>
              <p:spPr>
                <a:xfrm>
                  <a:off x="4463723" y="1372197"/>
                  <a:ext cx="54720" cy="128520"/>
                </a:xfrm>
                <a:prstGeom prst="rect">
                  <a:avLst/>
                </a:prstGeom>
              </p:spPr>
            </p:pic>
          </mc:Fallback>
        </mc:AlternateContent>
        <mc:AlternateContent xmlns:mc="http://schemas.openxmlformats.org/markup-compatibility/2006">
          <mc:Choice xmlns:p14="http://schemas.microsoft.com/office/powerpoint/2010/main" Requires="p14">
            <p:contentPart p14:bwMode="auto" r:id="rId98">
              <p14:nvContentPartPr>
                <p14:cNvPr id="243" name="Ink 242">
                  <a:extLst>
                    <a:ext uri="{FF2B5EF4-FFF2-40B4-BE49-F238E27FC236}">
                      <a16:creationId xmlns:a16="http://schemas.microsoft.com/office/drawing/2014/main" id="{22085E2F-36D8-C374-D46A-D257B321B429}"/>
                    </a:ext>
                  </a:extLst>
                </p14:cNvPr>
                <p14:cNvContentPartPr/>
                <p14:nvPr/>
              </p14:nvContentPartPr>
              <p14:xfrm>
                <a:off x="4451483" y="1415397"/>
                <a:ext cx="76680" cy="64440"/>
              </p14:xfrm>
            </p:contentPart>
          </mc:Choice>
          <mc:Fallback>
            <p:pic>
              <p:nvPicPr>
                <p:cNvPr id="243" name="Ink 242">
                  <a:extLst>
                    <a:ext uri="{FF2B5EF4-FFF2-40B4-BE49-F238E27FC236}">
                      <a16:creationId xmlns:a16="http://schemas.microsoft.com/office/drawing/2014/main" id="{22085E2F-36D8-C374-D46A-D257B321B429}"/>
                    </a:ext>
                  </a:extLst>
                </p:cNvPr>
                <p:cNvPicPr/>
                <p:nvPr/>
              </p:nvPicPr>
              <p:blipFill>
                <a:blip r:embed="rId99"/>
                <a:stretch>
                  <a:fillRect/>
                </a:stretch>
              </p:blipFill>
              <p:spPr>
                <a:xfrm>
                  <a:off x="4436003" y="1400277"/>
                  <a:ext cx="107280" cy="95040"/>
                </a:xfrm>
                <a:prstGeom prst="rect">
                  <a:avLst/>
                </a:prstGeom>
              </p:spPr>
            </p:pic>
          </mc:Fallback>
        </mc:AlternateContent>
        <mc:AlternateContent xmlns:mc="http://schemas.openxmlformats.org/markup-compatibility/2006">
          <mc:Choice xmlns:p14="http://schemas.microsoft.com/office/powerpoint/2010/main" Requires="p14">
            <p:contentPart p14:bwMode="auto" r:id="rId100">
              <p14:nvContentPartPr>
                <p14:cNvPr id="244" name="Ink 243">
                  <a:extLst>
                    <a:ext uri="{FF2B5EF4-FFF2-40B4-BE49-F238E27FC236}">
                      <a16:creationId xmlns:a16="http://schemas.microsoft.com/office/drawing/2014/main" id="{40F346BB-9502-D2F3-4A95-2BF10E3C2F7E}"/>
                    </a:ext>
                  </a:extLst>
                </p14:cNvPr>
                <p14:cNvContentPartPr/>
                <p14:nvPr/>
              </p14:nvContentPartPr>
              <p14:xfrm>
                <a:off x="4582883" y="1417917"/>
                <a:ext cx="33840" cy="112680"/>
              </p14:xfrm>
            </p:contentPart>
          </mc:Choice>
          <mc:Fallback>
            <p:pic>
              <p:nvPicPr>
                <p:cNvPr id="244" name="Ink 243">
                  <a:extLst>
                    <a:ext uri="{FF2B5EF4-FFF2-40B4-BE49-F238E27FC236}">
                      <a16:creationId xmlns:a16="http://schemas.microsoft.com/office/drawing/2014/main" id="{40F346BB-9502-D2F3-4A95-2BF10E3C2F7E}"/>
                    </a:ext>
                  </a:extLst>
                </p:cNvPr>
                <p:cNvPicPr/>
                <p:nvPr/>
              </p:nvPicPr>
              <p:blipFill>
                <a:blip r:embed="rId101"/>
                <a:stretch>
                  <a:fillRect/>
                </a:stretch>
              </p:blipFill>
              <p:spPr>
                <a:xfrm>
                  <a:off x="4567763" y="1402437"/>
                  <a:ext cx="64080" cy="142920"/>
                </a:xfrm>
                <a:prstGeom prst="rect">
                  <a:avLst/>
                </a:prstGeom>
              </p:spPr>
            </p:pic>
          </mc:Fallback>
        </mc:AlternateContent>
        <mc:AlternateContent xmlns:mc="http://schemas.openxmlformats.org/markup-compatibility/2006">
          <mc:Choice xmlns:p14="http://schemas.microsoft.com/office/powerpoint/2010/main" Requires="p14">
            <p:contentPart p14:bwMode="auto" r:id="rId102">
              <p14:nvContentPartPr>
                <p14:cNvPr id="247" name="Ink 246">
                  <a:extLst>
                    <a:ext uri="{FF2B5EF4-FFF2-40B4-BE49-F238E27FC236}">
                      <a16:creationId xmlns:a16="http://schemas.microsoft.com/office/drawing/2014/main" id="{3F359DF2-C3F6-5ED9-0EC4-B88E26149BEA}"/>
                    </a:ext>
                  </a:extLst>
                </p14:cNvPr>
                <p14:cNvContentPartPr/>
                <p14:nvPr/>
              </p14:nvContentPartPr>
              <p14:xfrm>
                <a:off x="4087163" y="1186797"/>
                <a:ext cx="204480" cy="111240"/>
              </p14:xfrm>
            </p:contentPart>
          </mc:Choice>
          <mc:Fallback>
            <p:pic>
              <p:nvPicPr>
                <p:cNvPr id="247" name="Ink 246">
                  <a:extLst>
                    <a:ext uri="{FF2B5EF4-FFF2-40B4-BE49-F238E27FC236}">
                      <a16:creationId xmlns:a16="http://schemas.microsoft.com/office/drawing/2014/main" id="{3F359DF2-C3F6-5ED9-0EC4-B88E26149BEA}"/>
                    </a:ext>
                  </a:extLst>
                </p:cNvPr>
                <p:cNvPicPr/>
                <p:nvPr/>
              </p:nvPicPr>
              <p:blipFill>
                <a:blip r:embed="rId103"/>
                <a:stretch>
                  <a:fillRect/>
                </a:stretch>
              </p:blipFill>
              <p:spPr>
                <a:xfrm>
                  <a:off x="4072043" y="1171677"/>
                  <a:ext cx="234720" cy="14184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104">
            <p14:nvContentPartPr>
              <p14:cNvPr id="268" name="Ink 267">
                <a:extLst>
                  <a:ext uri="{FF2B5EF4-FFF2-40B4-BE49-F238E27FC236}">
                    <a16:creationId xmlns:a16="http://schemas.microsoft.com/office/drawing/2014/main" id="{4C519080-C0ED-D51B-85AC-98E99D3280B5}"/>
                  </a:ext>
                </a:extLst>
              </p14:cNvPr>
              <p14:cNvContentPartPr/>
              <p14:nvPr/>
            </p14:nvContentPartPr>
            <p14:xfrm>
              <a:off x="3527723" y="2127117"/>
              <a:ext cx="487080" cy="36360"/>
            </p14:xfrm>
          </p:contentPart>
        </mc:Choice>
        <mc:Fallback>
          <p:pic>
            <p:nvPicPr>
              <p:cNvPr id="268" name="Ink 267">
                <a:extLst>
                  <a:ext uri="{FF2B5EF4-FFF2-40B4-BE49-F238E27FC236}">
                    <a16:creationId xmlns:a16="http://schemas.microsoft.com/office/drawing/2014/main" id="{4C519080-C0ED-D51B-85AC-98E99D3280B5}"/>
                  </a:ext>
                </a:extLst>
              </p:cNvPr>
              <p:cNvPicPr/>
              <p:nvPr/>
            </p:nvPicPr>
            <p:blipFill>
              <a:blip r:embed="rId105"/>
              <a:stretch>
                <a:fillRect/>
              </a:stretch>
            </p:blipFill>
            <p:spPr>
              <a:xfrm>
                <a:off x="3512243" y="2111997"/>
                <a:ext cx="517320" cy="66960"/>
              </a:xfrm>
              <a:prstGeom prst="rect">
                <a:avLst/>
              </a:prstGeom>
            </p:spPr>
          </p:pic>
        </mc:Fallback>
      </mc:AlternateContent>
      <mc:AlternateContent xmlns:mc="http://schemas.openxmlformats.org/markup-compatibility/2006">
        <mc:Choice xmlns:p14="http://schemas.microsoft.com/office/powerpoint/2010/main" Requires="p14">
          <p:contentPart p14:bwMode="auto" r:id="rId106">
            <p14:nvContentPartPr>
              <p14:cNvPr id="269" name="Ink 268">
                <a:extLst>
                  <a:ext uri="{FF2B5EF4-FFF2-40B4-BE49-F238E27FC236}">
                    <a16:creationId xmlns:a16="http://schemas.microsoft.com/office/drawing/2014/main" id="{D58F1BB5-5928-39BB-8079-EEB32192E46A}"/>
                  </a:ext>
                </a:extLst>
              </p14:cNvPr>
              <p14:cNvContentPartPr/>
              <p14:nvPr/>
            </p14:nvContentPartPr>
            <p14:xfrm>
              <a:off x="2565443" y="2240877"/>
              <a:ext cx="392400" cy="411480"/>
            </p14:xfrm>
          </p:contentPart>
        </mc:Choice>
        <mc:Fallback>
          <p:pic>
            <p:nvPicPr>
              <p:cNvPr id="269" name="Ink 268">
                <a:extLst>
                  <a:ext uri="{FF2B5EF4-FFF2-40B4-BE49-F238E27FC236}">
                    <a16:creationId xmlns:a16="http://schemas.microsoft.com/office/drawing/2014/main" id="{D58F1BB5-5928-39BB-8079-EEB32192E46A}"/>
                  </a:ext>
                </a:extLst>
              </p:cNvPr>
              <p:cNvPicPr/>
              <p:nvPr/>
            </p:nvPicPr>
            <p:blipFill>
              <a:blip r:embed="rId107"/>
              <a:stretch>
                <a:fillRect/>
              </a:stretch>
            </p:blipFill>
            <p:spPr>
              <a:xfrm>
                <a:off x="2549963" y="2225397"/>
                <a:ext cx="423000" cy="442080"/>
              </a:xfrm>
              <a:prstGeom prst="rect">
                <a:avLst/>
              </a:prstGeom>
            </p:spPr>
          </p:pic>
        </mc:Fallback>
      </mc:AlternateContent>
      <p:grpSp>
        <p:nvGrpSpPr>
          <p:cNvPr id="275" name="Group 274">
            <a:extLst>
              <a:ext uri="{FF2B5EF4-FFF2-40B4-BE49-F238E27FC236}">
                <a16:creationId xmlns:a16="http://schemas.microsoft.com/office/drawing/2014/main" id="{72D80547-03B6-B56D-9606-E3B61C06BB28}"/>
              </a:ext>
            </a:extLst>
          </p:cNvPr>
          <p:cNvGrpSpPr/>
          <p:nvPr/>
        </p:nvGrpSpPr>
        <p:grpSpPr>
          <a:xfrm>
            <a:off x="6542363" y="2325837"/>
            <a:ext cx="299520" cy="88560"/>
            <a:chOff x="6542363" y="2325837"/>
            <a:chExt cx="299520" cy="88560"/>
          </a:xfrm>
        </p:grpSpPr>
        <mc:AlternateContent xmlns:mc="http://schemas.openxmlformats.org/markup-compatibility/2006">
          <mc:Choice xmlns:p14="http://schemas.microsoft.com/office/powerpoint/2010/main" Requires="p14">
            <p:contentPart p14:bwMode="auto" r:id="rId108">
              <p14:nvContentPartPr>
                <p14:cNvPr id="271" name="Ink 270">
                  <a:extLst>
                    <a:ext uri="{FF2B5EF4-FFF2-40B4-BE49-F238E27FC236}">
                      <a16:creationId xmlns:a16="http://schemas.microsoft.com/office/drawing/2014/main" id="{E3D1E487-AE98-7F7A-A0B2-041205AA3892}"/>
                    </a:ext>
                  </a:extLst>
                </p14:cNvPr>
                <p14:cNvContentPartPr/>
                <p14:nvPr/>
              </p14:nvContentPartPr>
              <p14:xfrm>
                <a:off x="6647123" y="2325837"/>
                <a:ext cx="194760" cy="37800"/>
              </p14:xfrm>
            </p:contentPart>
          </mc:Choice>
          <mc:Fallback>
            <p:pic>
              <p:nvPicPr>
                <p:cNvPr id="271" name="Ink 270">
                  <a:extLst>
                    <a:ext uri="{FF2B5EF4-FFF2-40B4-BE49-F238E27FC236}">
                      <a16:creationId xmlns:a16="http://schemas.microsoft.com/office/drawing/2014/main" id="{E3D1E487-AE98-7F7A-A0B2-041205AA3892}"/>
                    </a:ext>
                  </a:extLst>
                </p:cNvPr>
                <p:cNvPicPr/>
                <p:nvPr/>
              </p:nvPicPr>
              <p:blipFill>
                <a:blip r:embed="rId109"/>
                <a:stretch>
                  <a:fillRect/>
                </a:stretch>
              </p:blipFill>
              <p:spPr>
                <a:xfrm>
                  <a:off x="6632003" y="2310717"/>
                  <a:ext cx="225000" cy="68400"/>
                </a:xfrm>
                <a:prstGeom prst="rect">
                  <a:avLst/>
                </a:prstGeom>
              </p:spPr>
            </p:pic>
          </mc:Fallback>
        </mc:AlternateContent>
        <mc:AlternateContent xmlns:mc="http://schemas.openxmlformats.org/markup-compatibility/2006">
          <mc:Choice xmlns:p14="http://schemas.microsoft.com/office/powerpoint/2010/main" Requires="p14">
            <p:contentPart p14:bwMode="auto" r:id="rId110">
              <p14:nvContentPartPr>
                <p14:cNvPr id="272" name="Ink 271">
                  <a:extLst>
                    <a:ext uri="{FF2B5EF4-FFF2-40B4-BE49-F238E27FC236}">
                      <a16:creationId xmlns:a16="http://schemas.microsoft.com/office/drawing/2014/main" id="{F34C30BD-8A47-8E45-B664-F6049F9DC545}"/>
                    </a:ext>
                  </a:extLst>
                </p14:cNvPr>
                <p14:cNvContentPartPr/>
                <p14:nvPr/>
              </p14:nvContentPartPr>
              <p14:xfrm>
                <a:off x="6542363" y="2351037"/>
                <a:ext cx="266760" cy="63360"/>
              </p14:xfrm>
            </p:contentPart>
          </mc:Choice>
          <mc:Fallback>
            <p:pic>
              <p:nvPicPr>
                <p:cNvPr id="272" name="Ink 271">
                  <a:extLst>
                    <a:ext uri="{FF2B5EF4-FFF2-40B4-BE49-F238E27FC236}">
                      <a16:creationId xmlns:a16="http://schemas.microsoft.com/office/drawing/2014/main" id="{F34C30BD-8A47-8E45-B664-F6049F9DC545}"/>
                    </a:ext>
                  </a:extLst>
                </p:cNvPr>
                <p:cNvPicPr/>
                <p:nvPr/>
              </p:nvPicPr>
              <p:blipFill>
                <a:blip r:embed="rId111"/>
                <a:stretch>
                  <a:fillRect/>
                </a:stretch>
              </p:blipFill>
              <p:spPr>
                <a:xfrm>
                  <a:off x="6527243" y="2335557"/>
                  <a:ext cx="297360" cy="9396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112">
            <p14:nvContentPartPr>
              <p14:cNvPr id="273" name="Ink 272">
                <a:extLst>
                  <a:ext uri="{FF2B5EF4-FFF2-40B4-BE49-F238E27FC236}">
                    <a16:creationId xmlns:a16="http://schemas.microsoft.com/office/drawing/2014/main" id="{3632F679-9F23-0DF2-6B57-C3FF81C45554}"/>
                  </a:ext>
                </a:extLst>
              </p14:cNvPr>
              <p14:cNvContentPartPr/>
              <p14:nvPr/>
            </p14:nvContentPartPr>
            <p14:xfrm>
              <a:off x="2378603" y="2144397"/>
              <a:ext cx="2041920" cy="656280"/>
            </p14:xfrm>
          </p:contentPart>
        </mc:Choice>
        <mc:Fallback>
          <p:pic>
            <p:nvPicPr>
              <p:cNvPr id="273" name="Ink 272">
                <a:extLst>
                  <a:ext uri="{FF2B5EF4-FFF2-40B4-BE49-F238E27FC236}">
                    <a16:creationId xmlns:a16="http://schemas.microsoft.com/office/drawing/2014/main" id="{3632F679-9F23-0DF2-6B57-C3FF81C45554}"/>
                  </a:ext>
                </a:extLst>
              </p:cNvPr>
              <p:cNvPicPr/>
              <p:nvPr/>
            </p:nvPicPr>
            <p:blipFill>
              <a:blip r:embed="rId113"/>
              <a:stretch>
                <a:fillRect/>
              </a:stretch>
            </p:blipFill>
            <p:spPr>
              <a:xfrm>
                <a:off x="2363483" y="2129277"/>
                <a:ext cx="2072520" cy="686880"/>
              </a:xfrm>
              <a:prstGeom prst="rect">
                <a:avLst/>
              </a:prstGeom>
            </p:spPr>
          </p:pic>
        </mc:Fallback>
      </mc:AlternateContent>
      <p:grpSp>
        <p:nvGrpSpPr>
          <p:cNvPr id="306" name="Group 305">
            <a:extLst>
              <a:ext uri="{FF2B5EF4-FFF2-40B4-BE49-F238E27FC236}">
                <a16:creationId xmlns:a16="http://schemas.microsoft.com/office/drawing/2014/main" id="{5646BBA4-D5C1-7F2B-1FE6-BC72E9C19ACE}"/>
              </a:ext>
            </a:extLst>
          </p:cNvPr>
          <p:cNvGrpSpPr/>
          <p:nvPr/>
        </p:nvGrpSpPr>
        <p:grpSpPr>
          <a:xfrm>
            <a:off x="2153603" y="1879077"/>
            <a:ext cx="2724480" cy="957240"/>
            <a:chOff x="2153603" y="1879077"/>
            <a:chExt cx="2724480" cy="957240"/>
          </a:xfrm>
        </p:grpSpPr>
        <mc:AlternateContent xmlns:mc="http://schemas.openxmlformats.org/markup-compatibility/2006">
          <mc:Choice xmlns:p14="http://schemas.microsoft.com/office/powerpoint/2010/main" Requires="p14">
            <p:contentPart p14:bwMode="auto" r:id="rId114">
              <p14:nvContentPartPr>
                <p14:cNvPr id="57" name="Ink 56">
                  <a:extLst>
                    <a:ext uri="{FF2B5EF4-FFF2-40B4-BE49-F238E27FC236}">
                      <a16:creationId xmlns:a16="http://schemas.microsoft.com/office/drawing/2014/main" id="{403DB0E2-58EA-8DD2-41F1-A95533985F00}"/>
                    </a:ext>
                  </a:extLst>
                </p14:cNvPr>
                <p14:cNvContentPartPr/>
                <p14:nvPr/>
              </p14:nvContentPartPr>
              <p14:xfrm>
                <a:off x="4368683" y="1879077"/>
                <a:ext cx="96840" cy="156600"/>
              </p14:xfrm>
            </p:contentPart>
          </mc:Choice>
          <mc:Fallback>
            <p:pic>
              <p:nvPicPr>
                <p:cNvPr id="57" name="Ink 56">
                  <a:extLst>
                    <a:ext uri="{FF2B5EF4-FFF2-40B4-BE49-F238E27FC236}">
                      <a16:creationId xmlns:a16="http://schemas.microsoft.com/office/drawing/2014/main" id="{403DB0E2-58EA-8DD2-41F1-A95533985F00}"/>
                    </a:ext>
                  </a:extLst>
                </p:cNvPr>
                <p:cNvPicPr/>
                <p:nvPr/>
              </p:nvPicPr>
              <p:blipFill>
                <a:blip r:embed="rId115"/>
                <a:stretch>
                  <a:fillRect/>
                </a:stretch>
              </p:blipFill>
              <p:spPr>
                <a:xfrm>
                  <a:off x="4353203" y="1863957"/>
                  <a:ext cx="127440" cy="187200"/>
                </a:xfrm>
                <a:prstGeom prst="rect">
                  <a:avLst/>
                </a:prstGeom>
              </p:spPr>
            </p:pic>
          </mc:Fallback>
        </mc:AlternateContent>
        <mc:AlternateContent xmlns:mc="http://schemas.openxmlformats.org/markup-compatibility/2006">
          <mc:Choice xmlns:p14="http://schemas.microsoft.com/office/powerpoint/2010/main" Requires="p14">
            <p:contentPart p14:bwMode="auto" r:id="rId116">
              <p14:nvContentPartPr>
                <p14:cNvPr id="58" name="Ink 57">
                  <a:extLst>
                    <a:ext uri="{FF2B5EF4-FFF2-40B4-BE49-F238E27FC236}">
                      <a16:creationId xmlns:a16="http://schemas.microsoft.com/office/drawing/2014/main" id="{6441561B-33AD-EED0-B565-5CC465983283}"/>
                    </a:ext>
                  </a:extLst>
                </p14:cNvPr>
                <p14:cNvContentPartPr/>
                <p14:nvPr/>
              </p14:nvContentPartPr>
              <p14:xfrm>
                <a:off x="4369043" y="1898877"/>
                <a:ext cx="113400" cy="170280"/>
              </p14:xfrm>
            </p:contentPart>
          </mc:Choice>
          <mc:Fallback>
            <p:pic>
              <p:nvPicPr>
                <p:cNvPr id="58" name="Ink 57">
                  <a:extLst>
                    <a:ext uri="{FF2B5EF4-FFF2-40B4-BE49-F238E27FC236}">
                      <a16:creationId xmlns:a16="http://schemas.microsoft.com/office/drawing/2014/main" id="{6441561B-33AD-EED0-B565-5CC465983283}"/>
                    </a:ext>
                  </a:extLst>
                </p:cNvPr>
                <p:cNvPicPr/>
                <p:nvPr/>
              </p:nvPicPr>
              <p:blipFill>
                <a:blip r:embed="rId117"/>
                <a:stretch>
                  <a:fillRect/>
                </a:stretch>
              </p:blipFill>
              <p:spPr>
                <a:xfrm>
                  <a:off x="4353923" y="1883397"/>
                  <a:ext cx="143640" cy="200880"/>
                </a:xfrm>
                <a:prstGeom prst="rect">
                  <a:avLst/>
                </a:prstGeom>
              </p:spPr>
            </p:pic>
          </mc:Fallback>
        </mc:AlternateContent>
        <mc:AlternateContent xmlns:mc="http://schemas.openxmlformats.org/markup-compatibility/2006">
          <mc:Choice xmlns:p14="http://schemas.microsoft.com/office/powerpoint/2010/main" Requires="p14">
            <p:contentPart p14:bwMode="auto" r:id="rId118">
              <p14:nvContentPartPr>
                <p14:cNvPr id="59" name="Ink 58">
                  <a:extLst>
                    <a:ext uri="{FF2B5EF4-FFF2-40B4-BE49-F238E27FC236}">
                      <a16:creationId xmlns:a16="http://schemas.microsoft.com/office/drawing/2014/main" id="{42E9D47D-4FBA-5159-EAFD-18A63D19D1F4}"/>
                    </a:ext>
                  </a:extLst>
                </p14:cNvPr>
                <p14:cNvContentPartPr/>
                <p14:nvPr/>
              </p14:nvContentPartPr>
              <p14:xfrm>
                <a:off x="4534643" y="1958277"/>
                <a:ext cx="161280" cy="95760"/>
              </p14:xfrm>
            </p:contentPart>
          </mc:Choice>
          <mc:Fallback>
            <p:pic>
              <p:nvPicPr>
                <p:cNvPr id="59" name="Ink 58">
                  <a:extLst>
                    <a:ext uri="{FF2B5EF4-FFF2-40B4-BE49-F238E27FC236}">
                      <a16:creationId xmlns:a16="http://schemas.microsoft.com/office/drawing/2014/main" id="{42E9D47D-4FBA-5159-EAFD-18A63D19D1F4}"/>
                    </a:ext>
                  </a:extLst>
                </p:cNvPr>
                <p:cNvPicPr/>
                <p:nvPr/>
              </p:nvPicPr>
              <p:blipFill>
                <a:blip r:embed="rId119"/>
                <a:stretch>
                  <a:fillRect/>
                </a:stretch>
              </p:blipFill>
              <p:spPr>
                <a:xfrm>
                  <a:off x="4519163" y="1943157"/>
                  <a:ext cx="191880" cy="126360"/>
                </a:xfrm>
                <a:prstGeom prst="rect">
                  <a:avLst/>
                </a:prstGeom>
              </p:spPr>
            </p:pic>
          </mc:Fallback>
        </mc:AlternateContent>
        <mc:AlternateContent xmlns:mc="http://schemas.openxmlformats.org/markup-compatibility/2006">
          <mc:Choice xmlns:p14="http://schemas.microsoft.com/office/powerpoint/2010/main" Requires="p14">
            <p:contentPart p14:bwMode="auto" r:id="rId120">
              <p14:nvContentPartPr>
                <p14:cNvPr id="60" name="Ink 59">
                  <a:extLst>
                    <a:ext uri="{FF2B5EF4-FFF2-40B4-BE49-F238E27FC236}">
                      <a16:creationId xmlns:a16="http://schemas.microsoft.com/office/drawing/2014/main" id="{6A762BF2-D9C0-8218-2017-E1298FEA512C}"/>
                    </a:ext>
                  </a:extLst>
                </p14:cNvPr>
                <p14:cNvContentPartPr/>
                <p14:nvPr/>
              </p14:nvContentPartPr>
              <p14:xfrm>
                <a:off x="4769363" y="1930197"/>
                <a:ext cx="29880" cy="13320"/>
              </p14:xfrm>
            </p:contentPart>
          </mc:Choice>
          <mc:Fallback>
            <p:pic>
              <p:nvPicPr>
                <p:cNvPr id="60" name="Ink 59">
                  <a:extLst>
                    <a:ext uri="{FF2B5EF4-FFF2-40B4-BE49-F238E27FC236}">
                      <a16:creationId xmlns:a16="http://schemas.microsoft.com/office/drawing/2014/main" id="{6A762BF2-D9C0-8218-2017-E1298FEA512C}"/>
                    </a:ext>
                  </a:extLst>
                </p:cNvPr>
                <p:cNvPicPr/>
                <p:nvPr/>
              </p:nvPicPr>
              <p:blipFill>
                <a:blip r:embed="rId121"/>
                <a:stretch>
                  <a:fillRect/>
                </a:stretch>
              </p:blipFill>
              <p:spPr>
                <a:xfrm>
                  <a:off x="4753883" y="1914717"/>
                  <a:ext cx="60120" cy="43560"/>
                </a:xfrm>
                <a:prstGeom prst="rect">
                  <a:avLst/>
                </a:prstGeom>
              </p:spPr>
            </p:pic>
          </mc:Fallback>
        </mc:AlternateContent>
        <mc:AlternateContent xmlns:mc="http://schemas.openxmlformats.org/markup-compatibility/2006">
          <mc:Choice xmlns:p14="http://schemas.microsoft.com/office/powerpoint/2010/main" Requires="p14">
            <p:contentPart p14:bwMode="auto" r:id="rId122">
              <p14:nvContentPartPr>
                <p14:cNvPr id="61" name="Ink 60">
                  <a:extLst>
                    <a:ext uri="{FF2B5EF4-FFF2-40B4-BE49-F238E27FC236}">
                      <a16:creationId xmlns:a16="http://schemas.microsoft.com/office/drawing/2014/main" id="{D993CE23-9064-F91C-5FDA-6AD543EF3CF1}"/>
                    </a:ext>
                  </a:extLst>
                </p14:cNvPr>
                <p14:cNvContentPartPr/>
                <p14:nvPr/>
              </p14:nvContentPartPr>
              <p14:xfrm>
                <a:off x="4798163" y="1959357"/>
                <a:ext cx="31680" cy="8640"/>
              </p14:xfrm>
            </p:contentPart>
          </mc:Choice>
          <mc:Fallback>
            <p:pic>
              <p:nvPicPr>
                <p:cNvPr id="61" name="Ink 60">
                  <a:extLst>
                    <a:ext uri="{FF2B5EF4-FFF2-40B4-BE49-F238E27FC236}">
                      <a16:creationId xmlns:a16="http://schemas.microsoft.com/office/drawing/2014/main" id="{D993CE23-9064-F91C-5FDA-6AD543EF3CF1}"/>
                    </a:ext>
                  </a:extLst>
                </p:cNvPr>
                <p:cNvPicPr/>
                <p:nvPr/>
              </p:nvPicPr>
              <p:blipFill>
                <a:blip r:embed="rId123"/>
                <a:stretch>
                  <a:fillRect/>
                </a:stretch>
              </p:blipFill>
              <p:spPr>
                <a:xfrm>
                  <a:off x="4783043" y="1944237"/>
                  <a:ext cx="62280" cy="38880"/>
                </a:xfrm>
                <a:prstGeom prst="rect">
                  <a:avLst/>
                </a:prstGeom>
              </p:spPr>
            </p:pic>
          </mc:Fallback>
        </mc:AlternateContent>
        <mc:AlternateContent xmlns:mc="http://schemas.openxmlformats.org/markup-compatibility/2006">
          <mc:Choice xmlns:p14="http://schemas.microsoft.com/office/powerpoint/2010/main" Requires="p14">
            <p:contentPart p14:bwMode="auto" r:id="rId124">
              <p14:nvContentPartPr>
                <p14:cNvPr id="62" name="Ink 61">
                  <a:extLst>
                    <a:ext uri="{FF2B5EF4-FFF2-40B4-BE49-F238E27FC236}">
                      <a16:creationId xmlns:a16="http://schemas.microsoft.com/office/drawing/2014/main" id="{136F252C-7D6B-40E5-116C-DE3635312DEC}"/>
                    </a:ext>
                  </a:extLst>
                </p14:cNvPr>
                <p14:cNvContentPartPr/>
                <p14:nvPr/>
              </p14:nvContentPartPr>
              <p14:xfrm>
                <a:off x="4873043" y="1909677"/>
                <a:ext cx="5040" cy="92160"/>
              </p14:xfrm>
            </p:contentPart>
          </mc:Choice>
          <mc:Fallback>
            <p:pic>
              <p:nvPicPr>
                <p:cNvPr id="62" name="Ink 61">
                  <a:extLst>
                    <a:ext uri="{FF2B5EF4-FFF2-40B4-BE49-F238E27FC236}">
                      <a16:creationId xmlns:a16="http://schemas.microsoft.com/office/drawing/2014/main" id="{136F252C-7D6B-40E5-116C-DE3635312DEC}"/>
                    </a:ext>
                  </a:extLst>
                </p:cNvPr>
                <p:cNvPicPr/>
                <p:nvPr/>
              </p:nvPicPr>
              <p:blipFill>
                <a:blip r:embed="rId125"/>
                <a:stretch>
                  <a:fillRect/>
                </a:stretch>
              </p:blipFill>
              <p:spPr>
                <a:xfrm>
                  <a:off x="4857563" y="1894557"/>
                  <a:ext cx="35280" cy="122760"/>
                </a:xfrm>
                <a:prstGeom prst="rect">
                  <a:avLst/>
                </a:prstGeom>
              </p:spPr>
            </p:pic>
          </mc:Fallback>
        </mc:AlternateContent>
        <mc:AlternateContent xmlns:mc="http://schemas.openxmlformats.org/markup-compatibility/2006">
          <mc:Choice xmlns:p14="http://schemas.microsoft.com/office/powerpoint/2010/main" Requires="p14">
            <p:contentPart p14:bwMode="auto" r:id="rId126">
              <p14:nvContentPartPr>
                <p14:cNvPr id="63" name="Ink 62">
                  <a:extLst>
                    <a:ext uri="{FF2B5EF4-FFF2-40B4-BE49-F238E27FC236}">
                      <a16:creationId xmlns:a16="http://schemas.microsoft.com/office/drawing/2014/main" id="{D54C7F11-6FDE-1534-2056-CAFF3DAA1471}"/>
                    </a:ext>
                  </a:extLst>
                </p14:cNvPr>
                <p14:cNvContentPartPr/>
                <p14:nvPr/>
              </p14:nvContentPartPr>
              <p14:xfrm>
                <a:off x="4463363" y="2114517"/>
                <a:ext cx="203400" cy="8280"/>
              </p14:xfrm>
            </p:contentPart>
          </mc:Choice>
          <mc:Fallback>
            <p:pic>
              <p:nvPicPr>
                <p:cNvPr id="63" name="Ink 62">
                  <a:extLst>
                    <a:ext uri="{FF2B5EF4-FFF2-40B4-BE49-F238E27FC236}">
                      <a16:creationId xmlns:a16="http://schemas.microsoft.com/office/drawing/2014/main" id="{D54C7F11-6FDE-1534-2056-CAFF3DAA1471}"/>
                    </a:ext>
                  </a:extLst>
                </p:cNvPr>
                <p:cNvPicPr/>
                <p:nvPr/>
              </p:nvPicPr>
              <p:blipFill>
                <a:blip r:embed="rId127"/>
                <a:stretch>
                  <a:fillRect/>
                </a:stretch>
              </p:blipFill>
              <p:spPr>
                <a:xfrm>
                  <a:off x="4448243" y="2099037"/>
                  <a:ext cx="234000" cy="38880"/>
                </a:xfrm>
                <a:prstGeom prst="rect">
                  <a:avLst/>
                </a:prstGeom>
              </p:spPr>
            </p:pic>
          </mc:Fallback>
        </mc:AlternateContent>
        <mc:AlternateContent xmlns:mc="http://schemas.openxmlformats.org/markup-compatibility/2006">
          <mc:Choice xmlns:p14="http://schemas.microsoft.com/office/powerpoint/2010/main" Requires="p14">
            <p:contentPart p14:bwMode="auto" r:id="rId128">
              <p14:nvContentPartPr>
                <p14:cNvPr id="128" name="Ink 127">
                  <a:extLst>
                    <a:ext uri="{FF2B5EF4-FFF2-40B4-BE49-F238E27FC236}">
                      <a16:creationId xmlns:a16="http://schemas.microsoft.com/office/drawing/2014/main" id="{55F759E8-FCBE-EA8D-A56C-B9C20AAC72B6}"/>
                    </a:ext>
                  </a:extLst>
                </p14:cNvPr>
                <p14:cNvContentPartPr/>
                <p14:nvPr/>
              </p14:nvContentPartPr>
              <p14:xfrm>
                <a:off x="4420883" y="2203797"/>
                <a:ext cx="239760" cy="6480"/>
              </p14:xfrm>
            </p:contentPart>
          </mc:Choice>
          <mc:Fallback>
            <p:pic>
              <p:nvPicPr>
                <p:cNvPr id="128" name="Ink 127">
                  <a:extLst>
                    <a:ext uri="{FF2B5EF4-FFF2-40B4-BE49-F238E27FC236}">
                      <a16:creationId xmlns:a16="http://schemas.microsoft.com/office/drawing/2014/main" id="{55F759E8-FCBE-EA8D-A56C-B9C20AAC72B6}"/>
                    </a:ext>
                  </a:extLst>
                </p:cNvPr>
                <p:cNvPicPr/>
                <p:nvPr/>
              </p:nvPicPr>
              <p:blipFill>
                <a:blip r:embed="rId129"/>
                <a:stretch>
                  <a:fillRect/>
                </a:stretch>
              </p:blipFill>
              <p:spPr>
                <a:xfrm>
                  <a:off x="4405403" y="2188677"/>
                  <a:ext cx="270000" cy="37080"/>
                </a:xfrm>
                <a:prstGeom prst="rect">
                  <a:avLst/>
                </a:prstGeom>
              </p:spPr>
            </p:pic>
          </mc:Fallback>
        </mc:AlternateContent>
        <mc:AlternateContent xmlns:mc="http://schemas.openxmlformats.org/markup-compatibility/2006">
          <mc:Choice xmlns:p14="http://schemas.microsoft.com/office/powerpoint/2010/main" Requires="p14">
            <p:contentPart p14:bwMode="auto" r:id="rId130">
              <p14:nvContentPartPr>
                <p14:cNvPr id="33" name="Ink 32">
                  <a:extLst>
                    <a:ext uri="{FF2B5EF4-FFF2-40B4-BE49-F238E27FC236}">
                      <a16:creationId xmlns:a16="http://schemas.microsoft.com/office/drawing/2014/main" id="{6B27F798-0321-7F91-F994-D430B9C74E36}"/>
                    </a:ext>
                  </a:extLst>
                </p14:cNvPr>
                <p14:cNvContentPartPr/>
                <p14:nvPr/>
              </p14:nvContentPartPr>
              <p14:xfrm>
                <a:off x="2153603" y="2057637"/>
                <a:ext cx="449640" cy="31320"/>
              </p14:xfrm>
            </p:contentPart>
          </mc:Choice>
          <mc:Fallback>
            <p:pic>
              <p:nvPicPr>
                <p:cNvPr id="33" name="Ink 32">
                  <a:extLst>
                    <a:ext uri="{FF2B5EF4-FFF2-40B4-BE49-F238E27FC236}">
                      <a16:creationId xmlns:a16="http://schemas.microsoft.com/office/drawing/2014/main" id="{6B27F798-0321-7F91-F994-D430B9C74E36}"/>
                    </a:ext>
                  </a:extLst>
                </p:cNvPr>
                <p:cNvPicPr/>
                <p:nvPr/>
              </p:nvPicPr>
              <p:blipFill>
                <a:blip r:embed="rId131"/>
                <a:stretch>
                  <a:fillRect/>
                </a:stretch>
              </p:blipFill>
              <p:spPr>
                <a:xfrm>
                  <a:off x="2138483" y="2042517"/>
                  <a:ext cx="480240" cy="61920"/>
                </a:xfrm>
                <a:prstGeom prst="rect">
                  <a:avLst/>
                </a:prstGeom>
              </p:spPr>
            </p:pic>
          </mc:Fallback>
        </mc:AlternateContent>
        <mc:AlternateContent xmlns:mc="http://schemas.openxmlformats.org/markup-compatibility/2006">
          <mc:Choice xmlns:p14="http://schemas.microsoft.com/office/powerpoint/2010/main" Requires="p14">
            <p:contentPart p14:bwMode="auto" r:id="rId132">
              <p14:nvContentPartPr>
                <p14:cNvPr id="34" name="Ink 33">
                  <a:extLst>
                    <a:ext uri="{FF2B5EF4-FFF2-40B4-BE49-F238E27FC236}">
                      <a16:creationId xmlns:a16="http://schemas.microsoft.com/office/drawing/2014/main" id="{F2162482-F20C-7F55-3DE3-3CCA6D16C6DE}"/>
                    </a:ext>
                  </a:extLst>
                </p14:cNvPr>
                <p14:cNvContentPartPr/>
                <p14:nvPr/>
              </p14:nvContentPartPr>
              <p14:xfrm>
                <a:off x="3264203" y="2191557"/>
                <a:ext cx="112320" cy="10800"/>
              </p14:xfrm>
            </p:contentPart>
          </mc:Choice>
          <mc:Fallback>
            <p:pic>
              <p:nvPicPr>
                <p:cNvPr id="34" name="Ink 33">
                  <a:extLst>
                    <a:ext uri="{FF2B5EF4-FFF2-40B4-BE49-F238E27FC236}">
                      <a16:creationId xmlns:a16="http://schemas.microsoft.com/office/drawing/2014/main" id="{F2162482-F20C-7F55-3DE3-3CCA6D16C6DE}"/>
                    </a:ext>
                  </a:extLst>
                </p:cNvPr>
                <p:cNvPicPr/>
                <p:nvPr/>
              </p:nvPicPr>
              <p:blipFill>
                <a:blip r:embed="rId133"/>
                <a:stretch>
                  <a:fillRect/>
                </a:stretch>
              </p:blipFill>
              <p:spPr>
                <a:xfrm>
                  <a:off x="3249083" y="2176437"/>
                  <a:ext cx="142920" cy="41400"/>
                </a:xfrm>
                <a:prstGeom prst="rect">
                  <a:avLst/>
                </a:prstGeom>
              </p:spPr>
            </p:pic>
          </mc:Fallback>
        </mc:AlternateContent>
        <mc:AlternateContent xmlns:mc="http://schemas.openxmlformats.org/markup-compatibility/2006">
          <mc:Choice xmlns:p14="http://schemas.microsoft.com/office/powerpoint/2010/main" Requires="p14">
            <p:contentPart p14:bwMode="auto" r:id="rId134">
              <p14:nvContentPartPr>
                <p14:cNvPr id="177" name="Ink 176">
                  <a:extLst>
                    <a:ext uri="{FF2B5EF4-FFF2-40B4-BE49-F238E27FC236}">
                      <a16:creationId xmlns:a16="http://schemas.microsoft.com/office/drawing/2014/main" id="{F4C92E2E-8A79-6FA8-45A6-B34FA5ACA64F}"/>
                    </a:ext>
                  </a:extLst>
                </p14:cNvPr>
                <p14:cNvContentPartPr/>
                <p14:nvPr/>
              </p14:nvContentPartPr>
              <p14:xfrm>
                <a:off x="2934443" y="2075637"/>
                <a:ext cx="542880" cy="68760"/>
              </p14:xfrm>
            </p:contentPart>
          </mc:Choice>
          <mc:Fallback>
            <p:pic>
              <p:nvPicPr>
                <p:cNvPr id="177" name="Ink 176">
                  <a:extLst>
                    <a:ext uri="{FF2B5EF4-FFF2-40B4-BE49-F238E27FC236}">
                      <a16:creationId xmlns:a16="http://schemas.microsoft.com/office/drawing/2014/main" id="{F4C92E2E-8A79-6FA8-45A6-B34FA5ACA64F}"/>
                    </a:ext>
                  </a:extLst>
                </p:cNvPr>
                <p:cNvPicPr/>
                <p:nvPr/>
              </p:nvPicPr>
              <p:blipFill>
                <a:blip r:embed="rId135"/>
                <a:stretch>
                  <a:fillRect/>
                </a:stretch>
              </p:blipFill>
              <p:spPr>
                <a:xfrm>
                  <a:off x="2919323" y="2060517"/>
                  <a:ext cx="573480" cy="99360"/>
                </a:xfrm>
                <a:prstGeom prst="rect">
                  <a:avLst/>
                </a:prstGeom>
              </p:spPr>
            </p:pic>
          </mc:Fallback>
        </mc:AlternateContent>
        <mc:AlternateContent xmlns:mc="http://schemas.openxmlformats.org/markup-compatibility/2006">
          <mc:Choice xmlns:p14="http://schemas.microsoft.com/office/powerpoint/2010/main" Requires="p14">
            <p:contentPart p14:bwMode="auto" r:id="rId136">
              <p14:nvContentPartPr>
                <p14:cNvPr id="178" name="Ink 177">
                  <a:extLst>
                    <a:ext uri="{FF2B5EF4-FFF2-40B4-BE49-F238E27FC236}">
                      <a16:creationId xmlns:a16="http://schemas.microsoft.com/office/drawing/2014/main" id="{AE7437E3-0B28-F032-96CC-6C3BAD31C172}"/>
                    </a:ext>
                  </a:extLst>
                </p14:cNvPr>
                <p14:cNvContentPartPr/>
                <p14:nvPr/>
              </p14:nvContentPartPr>
              <p14:xfrm>
                <a:off x="2684963" y="2610237"/>
                <a:ext cx="407880" cy="24120"/>
              </p14:xfrm>
            </p:contentPart>
          </mc:Choice>
          <mc:Fallback>
            <p:pic>
              <p:nvPicPr>
                <p:cNvPr id="178" name="Ink 177">
                  <a:extLst>
                    <a:ext uri="{FF2B5EF4-FFF2-40B4-BE49-F238E27FC236}">
                      <a16:creationId xmlns:a16="http://schemas.microsoft.com/office/drawing/2014/main" id="{AE7437E3-0B28-F032-96CC-6C3BAD31C172}"/>
                    </a:ext>
                  </a:extLst>
                </p:cNvPr>
                <p:cNvPicPr/>
                <p:nvPr/>
              </p:nvPicPr>
              <p:blipFill>
                <a:blip r:embed="rId137"/>
                <a:stretch>
                  <a:fillRect/>
                </a:stretch>
              </p:blipFill>
              <p:spPr>
                <a:xfrm>
                  <a:off x="2669483" y="2595117"/>
                  <a:ext cx="438120" cy="54360"/>
                </a:xfrm>
                <a:prstGeom prst="rect">
                  <a:avLst/>
                </a:prstGeom>
              </p:spPr>
            </p:pic>
          </mc:Fallback>
        </mc:AlternateContent>
        <mc:AlternateContent xmlns:mc="http://schemas.openxmlformats.org/markup-compatibility/2006">
          <mc:Choice xmlns:p14="http://schemas.microsoft.com/office/powerpoint/2010/main" Requires="p14">
            <p:contentPart p14:bwMode="auto" r:id="rId138">
              <p14:nvContentPartPr>
                <p14:cNvPr id="301" name="Ink 300">
                  <a:extLst>
                    <a:ext uri="{FF2B5EF4-FFF2-40B4-BE49-F238E27FC236}">
                      <a16:creationId xmlns:a16="http://schemas.microsoft.com/office/drawing/2014/main" id="{637FBCAF-7373-F518-4555-6C76634A4A8F}"/>
                    </a:ext>
                  </a:extLst>
                </p14:cNvPr>
                <p14:cNvContentPartPr/>
                <p14:nvPr/>
              </p14:nvContentPartPr>
              <p14:xfrm>
                <a:off x="4362203" y="2437797"/>
                <a:ext cx="120960" cy="86040"/>
              </p14:xfrm>
            </p:contentPart>
          </mc:Choice>
          <mc:Fallback>
            <p:pic>
              <p:nvPicPr>
                <p:cNvPr id="301" name="Ink 300">
                  <a:extLst>
                    <a:ext uri="{FF2B5EF4-FFF2-40B4-BE49-F238E27FC236}">
                      <a16:creationId xmlns:a16="http://schemas.microsoft.com/office/drawing/2014/main" id="{637FBCAF-7373-F518-4555-6C76634A4A8F}"/>
                    </a:ext>
                  </a:extLst>
                </p:cNvPr>
                <p:cNvPicPr/>
                <p:nvPr/>
              </p:nvPicPr>
              <p:blipFill>
                <a:blip r:embed="rId139"/>
                <a:stretch>
                  <a:fillRect/>
                </a:stretch>
              </p:blipFill>
              <p:spPr>
                <a:xfrm>
                  <a:off x="4347083" y="2422677"/>
                  <a:ext cx="151560" cy="116640"/>
                </a:xfrm>
                <a:prstGeom prst="rect">
                  <a:avLst/>
                </a:prstGeom>
              </p:spPr>
            </p:pic>
          </mc:Fallback>
        </mc:AlternateContent>
        <mc:AlternateContent xmlns:mc="http://schemas.openxmlformats.org/markup-compatibility/2006">
          <mc:Choice xmlns:p14="http://schemas.microsoft.com/office/powerpoint/2010/main" Requires="p14">
            <p:contentPart p14:bwMode="auto" r:id="rId140">
              <p14:nvContentPartPr>
                <p14:cNvPr id="302" name="Ink 301">
                  <a:extLst>
                    <a:ext uri="{FF2B5EF4-FFF2-40B4-BE49-F238E27FC236}">
                      <a16:creationId xmlns:a16="http://schemas.microsoft.com/office/drawing/2014/main" id="{3C8C9D2C-2611-32A2-4ACB-88520DF421E6}"/>
                    </a:ext>
                  </a:extLst>
                </p14:cNvPr>
                <p14:cNvContentPartPr/>
                <p14:nvPr/>
              </p14:nvContentPartPr>
              <p14:xfrm>
                <a:off x="4371203" y="2418357"/>
                <a:ext cx="71280" cy="168120"/>
              </p14:xfrm>
            </p:contentPart>
          </mc:Choice>
          <mc:Fallback>
            <p:pic>
              <p:nvPicPr>
                <p:cNvPr id="302" name="Ink 301">
                  <a:extLst>
                    <a:ext uri="{FF2B5EF4-FFF2-40B4-BE49-F238E27FC236}">
                      <a16:creationId xmlns:a16="http://schemas.microsoft.com/office/drawing/2014/main" id="{3C8C9D2C-2611-32A2-4ACB-88520DF421E6}"/>
                    </a:ext>
                  </a:extLst>
                </p:cNvPr>
                <p:cNvPicPr/>
                <p:nvPr/>
              </p:nvPicPr>
              <p:blipFill>
                <a:blip r:embed="rId141"/>
                <a:stretch>
                  <a:fillRect/>
                </a:stretch>
              </p:blipFill>
              <p:spPr>
                <a:xfrm>
                  <a:off x="4356083" y="2402877"/>
                  <a:ext cx="101880" cy="198720"/>
                </a:xfrm>
                <a:prstGeom prst="rect">
                  <a:avLst/>
                </a:prstGeom>
              </p:spPr>
            </p:pic>
          </mc:Fallback>
        </mc:AlternateContent>
        <mc:AlternateContent xmlns:mc="http://schemas.openxmlformats.org/markup-compatibility/2006">
          <mc:Choice xmlns:p14="http://schemas.microsoft.com/office/powerpoint/2010/main" Requires="p14">
            <p:contentPart p14:bwMode="auto" r:id="rId142">
              <p14:nvContentPartPr>
                <p14:cNvPr id="303" name="Ink 302">
                  <a:extLst>
                    <a:ext uri="{FF2B5EF4-FFF2-40B4-BE49-F238E27FC236}">
                      <a16:creationId xmlns:a16="http://schemas.microsoft.com/office/drawing/2014/main" id="{EA0F405E-69AF-60A8-D49A-1D519F61FE6C}"/>
                    </a:ext>
                  </a:extLst>
                </p14:cNvPr>
                <p14:cNvContentPartPr/>
                <p14:nvPr/>
              </p14:nvContentPartPr>
              <p14:xfrm>
                <a:off x="4593323" y="2460117"/>
                <a:ext cx="11160" cy="137160"/>
              </p14:xfrm>
            </p:contentPart>
          </mc:Choice>
          <mc:Fallback>
            <p:pic>
              <p:nvPicPr>
                <p:cNvPr id="303" name="Ink 302">
                  <a:extLst>
                    <a:ext uri="{FF2B5EF4-FFF2-40B4-BE49-F238E27FC236}">
                      <a16:creationId xmlns:a16="http://schemas.microsoft.com/office/drawing/2014/main" id="{EA0F405E-69AF-60A8-D49A-1D519F61FE6C}"/>
                    </a:ext>
                  </a:extLst>
                </p:cNvPr>
                <p:cNvPicPr/>
                <p:nvPr/>
              </p:nvPicPr>
              <p:blipFill>
                <a:blip r:embed="rId143"/>
                <a:stretch>
                  <a:fillRect/>
                </a:stretch>
              </p:blipFill>
              <p:spPr>
                <a:xfrm>
                  <a:off x="4578203" y="2444997"/>
                  <a:ext cx="41400" cy="167760"/>
                </a:xfrm>
                <a:prstGeom prst="rect">
                  <a:avLst/>
                </a:prstGeom>
              </p:spPr>
            </p:pic>
          </mc:Fallback>
        </mc:AlternateContent>
        <mc:AlternateContent xmlns:mc="http://schemas.openxmlformats.org/markup-compatibility/2006">
          <mc:Choice xmlns:p14="http://schemas.microsoft.com/office/powerpoint/2010/main" Requires="p14">
            <p:contentPart p14:bwMode="auto" r:id="rId144">
              <p14:nvContentPartPr>
                <p14:cNvPr id="305" name="Ink 304">
                  <a:extLst>
                    <a:ext uri="{FF2B5EF4-FFF2-40B4-BE49-F238E27FC236}">
                      <a16:creationId xmlns:a16="http://schemas.microsoft.com/office/drawing/2014/main" id="{CF121368-2B00-D115-62B5-586A7E88CBFA}"/>
                    </a:ext>
                  </a:extLst>
                </p14:cNvPr>
                <p14:cNvContentPartPr/>
                <p14:nvPr/>
              </p14:nvContentPartPr>
              <p14:xfrm>
                <a:off x="2418563" y="2236197"/>
                <a:ext cx="2385000" cy="600120"/>
              </p14:xfrm>
            </p:contentPart>
          </mc:Choice>
          <mc:Fallback>
            <p:pic>
              <p:nvPicPr>
                <p:cNvPr id="305" name="Ink 304">
                  <a:extLst>
                    <a:ext uri="{FF2B5EF4-FFF2-40B4-BE49-F238E27FC236}">
                      <a16:creationId xmlns:a16="http://schemas.microsoft.com/office/drawing/2014/main" id="{CF121368-2B00-D115-62B5-586A7E88CBFA}"/>
                    </a:ext>
                  </a:extLst>
                </p:cNvPr>
                <p:cNvPicPr/>
                <p:nvPr/>
              </p:nvPicPr>
              <p:blipFill>
                <a:blip r:embed="rId145"/>
                <a:stretch>
                  <a:fillRect/>
                </a:stretch>
              </p:blipFill>
              <p:spPr>
                <a:xfrm>
                  <a:off x="2403443" y="2221077"/>
                  <a:ext cx="2415600" cy="63036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146">
            <p14:nvContentPartPr>
              <p14:cNvPr id="7" name="Ink 6">
                <a:extLst>
                  <a:ext uri="{FF2B5EF4-FFF2-40B4-BE49-F238E27FC236}">
                    <a16:creationId xmlns:a16="http://schemas.microsoft.com/office/drawing/2014/main" id="{1BFA937B-77F3-074E-F6A7-49EFC9026AB7}"/>
                  </a:ext>
                </a:extLst>
              </p14:cNvPr>
              <p14:cNvContentPartPr/>
              <p14:nvPr/>
            </p14:nvContentPartPr>
            <p14:xfrm>
              <a:off x="563843" y="3258597"/>
              <a:ext cx="151920" cy="276120"/>
            </p14:xfrm>
          </p:contentPart>
        </mc:Choice>
        <mc:Fallback>
          <p:pic>
            <p:nvPicPr>
              <p:cNvPr id="7" name="Ink 6">
                <a:extLst>
                  <a:ext uri="{FF2B5EF4-FFF2-40B4-BE49-F238E27FC236}">
                    <a16:creationId xmlns:a16="http://schemas.microsoft.com/office/drawing/2014/main" id="{1BFA937B-77F3-074E-F6A7-49EFC9026AB7}"/>
                  </a:ext>
                </a:extLst>
              </p:cNvPr>
              <p:cNvPicPr/>
              <p:nvPr/>
            </p:nvPicPr>
            <p:blipFill>
              <a:blip r:embed="rId147"/>
              <a:stretch>
                <a:fillRect/>
              </a:stretch>
            </p:blipFill>
            <p:spPr>
              <a:xfrm>
                <a:off x="548723" y="3243477"/>
                <a:ext cx="182520" cy="306720"/>
              </a:xfrm>
              <a:prstGeom prst="rect">
                <a:avLst/>
              </a:prstGeom>
            </p:spPr>
          </p:pic>
        </mc:Fallback>
      </mc:AlternateContent>
      <mc:AlternateContent xmlns:mc="http://schemas.openxmlformats.org/markup-compatibility/2006">
        <mc:Choice xmlns:p14="http://schemas.microsoft.com/office/powerpoint/2010/main" Requires="p14">
          <p:contentPart p14:bwMode="auto" r:id="rId148">
            <p14:nvContentPartPr>
              <p14:cNvPr id="8" name="Ink 7">
                <a:extLst>
                  <a:ext uri="{FF2B5EF4-FFF2-40B4-BE49-F238E27FC236}">
                    <a16:creationId xmlns:a16="http://schemas.microsoft.com/office/drawing/2014/main" id="{309B75E8-1AFB-1608-1439-84DF515EF123}"/>
                  </a:ext>
                </a:extLst>
              </p14:cNvPr>
              <p14:cNvContentPartPr/>
              <p14:nvPr/>
            </p14:nvContentPartPr>
            <p14:xfrm>
              <a:off x="737003" y="3347157"/>
              <a:ext cx="39240" cy="213840"/>
            </p14:xfrm>
          </p:contentPart>
        </mc:Choice>
        <mc:Fallback>
          <p:pic>
            <p:nvPicPr>
              <p:cNvPr id="8" name="Ink 7">
                <a:extLst>
                  <a:ext uri="{FF2B5EF4-FFF2-40B4-BE49-F238E27FC236}">
                    <a16:creationId xmlns:a16="http://schemas.microsoft.com/office/drawing/2014/main" id="{309B75E8-1AFB-1608-1439-84DF515EF123}"/>
                  </a:ext>
                </a:extLst>
              </p:cNvPr>
              <p:cNvPicPr/>
              <p:nvPr/>
            </p:nvPicPr>
            <p:blipFill>
              <a:blip r:embed="rId149"/>
              <a:stretch>
                <a:fillRect/>
              </a:stretch>
            </p:blipFill>
            <p:spPr>
              <a:xfrm>
                <a:off x="721883" y="3331677"/>
                <a:ext cx="69480" cy="244440"/>
              </a:xfrm>
              <a:prstGeom prst="rect">
                <a:avLst/>
              </a:prstGeom>
            </p:spPr>
          </p:pic>
        </mc:Fallback>
      </mc:AlternateContent>
      <mc:AlternateContent xmlns:mc="http://schemas.openxmlformats.org/markup-compatibility/2006">
        <mc:Choice xmlns:p14="http://schemas.microsoft.com/office/powerpoint/2010/main" Requires="p14">
          <p:contentPart p14:bwMode="auto" r:id="rId150">
            <p14:nvContentPartPr>
              <p14:cNvPr id="9" name="Ink 8">
                <a:extLst>
                  <a:ext uri="{FF2B5EF4-FFF2-40B4-BE49-F238E27FC236}">
                    <a16:creationId xmlns:a16="http://schemas.microsoft.com/office/drawing/2014/main" id="{3D2C8DE5-C451-B387-AB96-46FA17E72FE3}"/>
                  </a:ext>
                </a:extLst>
              </p14:cNvPr>
              <p14:cNvContentPartPr/>
              <p14:nvPr/>
            </p14:nvContentPartPr>
            <p14:xfrm>
              <a:off x="721163" y="3448677"/>
              <a:ext cx="271440" cy="120240"/>
            </p14:xfrm>
          </p:contentPart>
        </mc:Choice>
        <mc:Fallback>
          <p:pic>
            <p:nvPicPr>
              <p:cNvPr id="9" name="Ink 8">
                <a:extLst>
                  <a:ext uri="{FF2B5EF4-FFF2-40B4-BE49-F238E27FC236}">
                    <a16:creationId xmlns:a16="http://schemas.microsoft.com/office/drawing/2014/main" id="{3D2C8DE5-C451-B387-AB96-46FA17E72FE3}"/>
                  </a:ext>
                </a:extLst>
              </p:cNvPr>
              <p:cNvPicPr/>
              <p:nvPr/>
            </p:nvPicPr>
            <p:blipFill>
              <a:blip r:embed="rId151"/>
              <a:stretch>
                <a:fillRect/>
              </a:stretch>
            </p:blipFill>
            <p:spPr>
              <a:xfrm>
                <a:off x="706043" y="3433557"/>
                <a:ext cx="302040" cy="150840"/>
              </a:xfrm>
              <a:prstGeom prst="rect">
                <a:avLst/>
              </a:prstGeom>
            </p:spPr>
          </p:pic>
        </mc:Fallback>
      </mc:AlternateContent>
      <mc:AlternateContent xmlns:mc="http://schemas.openxmlformats.org/markup-compatibility/2006">
        <mc:Choice xmlns:p14="http://schemas.microsoft.com/office/powerpoint/2010/main" Requires="p14">
          <p:contentPart p14:bwMode="auto" r:id="rId152">
            <p14:nvContentPartPr>
              <p14:cNvPr id="10" name="Ink 9">
                <a:extLst>
                  <a:ext uri="{FF2B5EF4-FFF2-40B4-BE49-F238E27FC236}">
                    <a16:creationId xmlns:a16="http://schemas.microsoft.com/office/drawing/2014/main" id="{C927B050-56E1-EEBF-1A1B-BFD7DFD70224}"/>
                  </a:ext>
                </a:extLst>
              </p14:cNvPr>
              <p14:cNvContentPartPr/>
              <p14:nvPr/>
            </p14:nvContentPartPr>
            <p14:xfrm>
              <a:off x="1042283" y="3481077"/>
              <a:ext cx="100800" cy="96840"/>
            </p14:xfrm>
          </p:contentPart>
        </mc:Choice>
        <mc:Fallback>
          <p:pic>
            <p:nvPicPr>
              <p:cNvPr id="10" name="Ink 9">
                <a:extLst>
                  <a:ext uri="{FF2B5EF4-FFF2-40B4-BE49-F238E27FC236}">
                    <a16:creationId xmlns:a16="http://schemas.microsoft.com/office/drawing/2014/main" id="{C927B050-56E1-EEBF-1A1B-BFD7DFD70224}"/>
                  </a:ext>
                </a:extLst>
              </p:cNvPr>
              <p:cNvPicPr/>
              <p:nvPr/>
            </p:nvPicPr>
            <p:blipFill>
              <a:blip r:embed="rId153"/>
              <a:stretch>
                <a:fillRect/>
              </a:stretch>
            </p:blipFill>
            <p:spPr>
              <a:xfrm>
                <a:off x="1027163" y="3465597"/>
                <a:ext cx="131400" cy="127440"/>
              </a:xfrm>
              <a:prstGeom prst="rect">
                <a:avLst/>
              </a:prstGeom>
            </p:spPr>
          </p:pic>
        </mc:Fallback>
      </mc:AlternateContent>
      <mc:AlternateContent xmlns:mc="http://schemas.openxmlformats.org/markup-compatibility/2006">
        <mc:Choice xmlns:p14="http://schemas.microsoft.com/office/powerpoint/2010/main" Requires="p14">
          <p:contentPart p14:bwMode="auto" r:id="rId154">
            <p14:nvContentPartPr>
              <p14:cNvPr id="11" name="Ink 10">
                <a:extLst>
                  <a:ext uri="{FF2B5EF4-FFF2-40B4-BE49-F238E27FC236}">
                    <a16:creationId xmlns:a16="http://schemas.microsoft.com/office/drawing/2014/main" id="{B615B507-B7C5-3D6E-1D97-73214E0D263C}"/>
                  </a:ext>
                </a:extLst>
              </p14:cNvPr>
              <p14:cNvContentPartPr/>
              <p14:nvPr/>
            </p14:nvContentPartPr>
            <p14:xfrm>
              <a:off x="1185563" y="3357957"/>
              <a:ext cx="216720" cy="199800"/>
            </p14:xfrm>
          </p:contentPart>
        </mc:Choice>
        <mc:Fallback>
          <p:pic>
            <p:nvPicPr>
              <p:cNvPr id="11" name="Ink 10">
                <a:extLst>
                  <a:ext uri="{FF2B5EF4-FFF2-40B4-BE49-F238E27FC236}">
                    <a16:creationId xmlns:a16="http://schemas.microsoft.com/office/drawing/2014/main" id="{B615B507-B7C5-3D6E-1D97-73214E0D263C}"/>
                  </a:ext>
                </a:extLst>
              </p:cNvPr>
              <p:cNvPicPr/>
              <p:nvPr/>
            </p:nvPicPr>
            <p:blipFill>
              <a:blip r:embed="rId155"/>
              <a:stretch>
                <a:fillRect/>
              </a:stretch>
            </p:blipFill>
            <p:spPr>
              <a:xfrm>
                <a:off x="1170443" y="3342837"/>
                <a:ext cx="247320" cy="230400"/>
              </a:xfrm>
              <a:prstGeom prst="rect">
                <a:avLst/>
              </a:prstGeom>
            </p:spPr>
          </p:pic>
        </mc:Fallback>
      </mc:AlternateContent>
      <mc:AlternateContent xmlns:mc="http://schemas.openxmlformats.org/markup-compatibility/2006">
        <mc:Choice xmlns:p14="http://schemas.microsoft.com/office/powerpoint/2010/main" Requires="p14">
          <p:contentPart p14:bwMode="auto" r:id="rId156">
            <p14:nvContentPartPr>
              <p14:cNvPr id="12" name="Ink 11">
                <a:extLst>
                  <a:ext uri="{FF2B5EF4-FFF2-40B4-BE49-F238E27FC236}">
                    <a16:creationId xmlns:a16="http://schemas.microsoft.com/office/drawing/2014/main" id="{907BEDA3-C48F-6800-DB16-236E51B0BC92}"/>
                  </a:ext>
                </a:extLst>
              </p14:cNvPr>
              <p14:cNvContentPartPr/>
              <p14:nvPr/>
            </p14:nvContentPartPr>
            <p14:xfrm>
              <a:off x="1460603" y="3379917"/>
              <a:ext cx="217800" cy="174600"/>
            </p14:xfrm>
          </p:contentPart>
        </mc:Choice>
        <mc:Fallback>
          <p:pic>
            <p:nvPicPr>
              <p:cNvPr id="12" name="Ink 11">
                <a:extLst>
                  <a:ext uri="{FF2B5EF4-FFF2-40B4-BE49-F238E27FC236}">
                    <a16:creationId xmlns:a16="http://schemas.microsoft.com/office/drawing/2014/main" id="{907BEDA3-C48F-6800-DB16-236E51B0BC92}"/>
                  </a:ext>
                </a:extLst>
              </p:cNvPr>
              <p:cNvPicPr/>
              <p:nvPr/>
            </p:nvPicPr>
            <p:blipFill>
              <a:blip r:embed="rId157"/>
              <a:stretch>
                <a:fillRect/>
              </a:stretch>
            </p:blipFill>
            <p:spPr>
              <a:xfrm>
                <a:off x="1445483" y="3364437"/>
                <a:ext cx="248040" cy="205200"/>
              </a:xfrm>
              <a:prstGeom prst="rect">
                <a:avLst/>
              </a:prstGeom>
            </p:spPr>
          </p:pic>
        </mc:Fallback>
      </mc:AlternateContent>
      <mc:AlternateContent xmlns:mc="http://schemas.openxmlformats.org/markup-compatibility/2006">
        <mc:Choice xmlns:p14="http://schemas.microsoft.com/office/powerpoint/2010/main" Requires="p14">
          <p:contentPart p14:bwMode="auto" r:id="rId158">
            <p14:nvContentPartPr>
              <p14:cNvPr id="13" name="Ink 12">
                <a:extLst>
                  <a:ext uri="{FF2B5EF4-FFF2-40B4-BE49-F238E27FC236}">
                    <a16:creationId xmlns:a16="http://schemas.microsoft.com/office/drawing/2014/main" id="{D531F026-DD26-0523-2B86-473C6DEF1670}"/>
                  </a:ext>
                </a:extLst>
              </p14:cNvPr>
              <p14:cNvContentPartPr/>
              <p14:nvPr/>
            </p14:nvContentPartPr>
            <p14:xfrm>
              <a:off x="1837163" y="3392157"/>
              <a:ext cx="167040" cy="159120"/>
            </p14:xfrm>
          </p:contentPart>
        </mc:Choice>
        <mc:Fallback>
          <p:pic>
            <p:nvPicPr>
              <p:cNvPr id="13" name="Ink 12">
                <a:extLst>
                  <a:ext uri="{FF2B5EF4-FFF2-40B4-BE49-F238E27FC236}">
                    <a16:creationId xmlns:a16="http://schemas.microsoft.com/office/drawing/2014/main" id="{D531F026-DD26-0523-2B86-473C6DEF1670}"/>
                  </a:ext>
                </a:extLst>
              </p:cNvPr>
              <p:cNvPicPr/>
              <p:nvPr/>
            </p:nvPicPr>
            <p:blipFill>
              <a:blip r:embed="rId159"/>
              <a:stretch>
                <a:fillRect/>
              </a:stretch>
            </p:blipFill>
            <p:spPr>
              <a:xfrm>
                <a:off x="1822043" y="3376677"/>
                <a:ext cx="197280" cy="189720"/>
              </a:xfrm>
              <a:prstGeom prst="rect">
                <a:avLst/>
              </a:prstGeom>
            </p:spPr>
          </p:pic>
        </mc:Fallback>
      </mc:AlternateContent>
      <mc:AlternateContent xmlns:mc="http://schemas.openxmlformats.org/markup-compatibility/2006">
        <mc:Choice xmlns:p14="http://schemas.microsoft.com/office/powerpoint/2010/main" Requires="p14">
          <p:contentPart p14:bwMode="auto" r:id="rId160">
            <p14:nvContentPartPr>
              <p14:cNvPr id="14" name="Ink 13">
                <a:extLst>
                  <a:ext uri="{FF2B5EF4-FFF2-40B4-BE49-F238E27FC236}">
                    <a16:creationId xmlns:a16="http://schemas.microsoft.com/office/drawing/2014/main" id="{178BDA3B-594D-28DC-E650-F5499C71C513}"/>
                  </a:ext>
                </a:extLst>
              </p14:cNvPr>
              <p14:cNvContentPartPr/>
              <p14:nvPr/>
            </p14:nvContentPartPr>
            <p14:xfrm>
              <a:off x="2023283" y="3436077"/>
              <a:ext cx="189720" cy="118440"/>
            </p14:xfrm>
          </p:contentPart>
        </mc:Choice>
        <mc:Fallback>
          <p:pic>
            <p:nvPicPr>
              <p:cNvPr id="14" name="Ink 13">
                <a:extLst>
                  <a:ext uri="{FF2B5EF4-FFF2-40B4-BE49-F238E27FC236}">
                    <a16:creationId xmlns:a16="http://schemas.microsoft.com/office/drawing/2014/main" id="{178BDA3B-594D-28DC-E650-F5499C71C513}"/>
                  </a:ext>
                </a:extLst>
              </p:cNvPr>
              <p:cNvPicPr/>
              <p:nvPr/>
            </p:nvPicPr>
            <p:blipFill>
              <a:blip r:embed="rId161"/>
              <a:stretch>
                <a:fillRect/>
              </a:stretch>
            </p:blipFill>
            <p:spPr>
              <a:xfrm>
                <a:off x="2008163" y="3420597"/>
                <a:ext cx="220320" cy="149040"/>
              </a:xfrm>
              <a:prstGeom prst="rect">
                <a:avLst/>
              </a:prstGeom>
            </p:spPr>
          </p:pic>
        </mc:Fallback>
      </mc:AlternateContent>
      <mc:AlternateContent xmlns:mc="http://schemas.openxmlformats.org/markup-compatibility/2006">
        <mc:Choice xmlns:p14="http://schemas.microsoft.com/office/powerpoint/2010/main" Requires="p14">
          <p:contentPart p14:bwMode="auto" r:id="rId162">
            <p14:nvContentPartPr>
              <p14:cNvPr id="15" name="Ink 14">
                <a:extLst>
                  <a:ext uri="{FF2B5EF4-FFF2-40B4-BE49-F238E27FC236}">
                    <a16:creationId xmlns:a16="http://schemas.microsoft.com/office/drawing/2014/main" id="{624BDEC6-CD3A-0F06-BD6B-4C87B1B2789A}"/>
                  </a:ext>
                </a:extLst>
              </p14:cNvPr>
              <p14:cNvContentPartPr/>
              <p14:nvPr/>
            </p14:nvContentPartPr>
            <p14:xfrm>
              <a:off x="2389043" y="3464517"/>
              <a:ext cx="120240" cy="21240"/>
            </p14:xfrm>
          </p:contentPart>
        </mc:Choice>
        <mc:Fallback>
          <p:pic>
            <p:nvPicPr>
              <p:cNvPr id="15" name="Ink 14">
                <a:extLst>
                  <a:ext uri="{FF2B5EF4-FFF2-40B4-BE49-F238E27FC236}">
                    <a16:creationId xmlns:a16="http://schemas.microsoft.com/office/drawing/2014/main" id="{624BDEC6-CD3A-0F06-BD6B-4C87B1B2789A}"/>
                  </a:ext>
                </a:extLst>
              </p:cNvPr>
              <p:cNvPicPr/>
              <p:nvPr/>
            </p:nvPicPr>
            <p:blipFill>
              <a:blip r:embed="rId163"/>
              <a:stretch>
                <a:fillRect/>
              </a:stretch>
            </p:blipFill>
            <p:spPr>
              <a:xfrm>
                <a:off x="2373563" y="3449037"/>
                <a:ext cx="150840" cy="51840"/>
              </a:xfrm>
              <a:prstGeom prst="rect">
                <a:avLst/>
              </a:prstGeom>
            </p:spPr>
          </p:pic>
        </mc:Fallback>
      </mc:AlternateContent>
      <mc:AlternateContent xmlns:mc="http://schemas.openxmlformats.org/markup-compatibility/2006">
        <mc:Choice xmlns:p14="http://schemas.microsoft.com/office/powerpoint/2010/main" Requires="p14">
          <p:contentPart p14:bwMode="auto" r:id="rId164">
            <p14:nvContentPartPr>
              <p14:cNvPr id="48" name="Ink 47">
                <a:extLst>
                  <a:ext uri="{FF2B5EF4-FFF2-40B4-BE49-F238E27FC236}">
                    <a16:creationId xmlns:a16="http://schemas.microsoft.com/office/drawing/2014/main" id="{CAE588F0-4A97-25A7-2185-21038A896B85}"/>
                  </a:ext>
                </a:extLst>
              </p14:cNvPr>
              <p14:cNvContentPartPr/>
              <p14:nvPr/>
            </p14:nvContentPartPr>
            <p14:xfrm>
              <a:off x="2295803" y="3883557"/>
              <a:ext cx="137160" cy="14400"/>
            </p14:xfrm>
          </p:contentPart>
        </mc:Choice>
        <mc:Fallback>
          <p:pic>
            <p:nvPicPr>
              <p:cNvPr id="48" name="Ink 47">
                <a:extLst>
                  <a:ext uri="{FF2B5EF4-FFF2-40B4-BE49-F238E27FC236}">
                    <a16:creationId xmlns:a16="http://schemas.microsoft.com/office/drawing/2014/main" id="{CAE588F0-4A97-25A7-2185-21038A896B85}"/>
                  </a:ext>
                </a:extLst>
              </p:cNvPr>
              <p:cNvPicPr/>
              <p:nvPr/>
            </p:nvPicPr>
            <p:blipFill>
              <a:blip r:embed="rId165"/>
              <a:stretch>
                <a:fillRect/>
              </a:stretch>
            </p:blipFill>
            <p:spPr>
              <a:xfrm>
                <a:off x="2280323" y="3868437"/>
                <a:ext cx="167760" cy="45000"/>
              </a:xfrm>
              <a:prstGeom prst="rect">
                <a:avLst/>
              </a:prstGeom>
            </p:spPr>
          </p:pic>
        </mc:Fallback>
      </mc:AlternateContent>
      <mc:AlternateContent xmlns:mc="http://schemas.openxmlformats.org/markup-compatibility/2006">
        <mc:Choice xmlns:p14="http://schemas.microsoft.com/office/powerpoint/2010/main" Requires="p14">
          <p:contentPart p14:bwMode="auto" r:id="rId166">
            <p14:nvContentPartPr>
              <p14:cNvPr id="49" name="Ink 48">
                <a:extLst>
                  <a:ext uri="{FF2B5EF4-FFF2-40B4-BE49-F238E27FC236}">
                    <a16:creationId xmlns:a16="http://schemas.microsoft.com/office/drawing/2014/main" id="{A4D78EE9-BF5B-F721-0DC9-00E3A5841DA7}"/>
                  </a:ext>
                </a:extLst>
              </p14:cNvPr>
              <p14:cNvContentPartPr/>
              <p14:nvPr/>
            </p14:nvContentPartPr>
            <p14:xfrm>
              <a:off x="2362043" y="3962757"/>
              <a:ext cx="124920" cy="21960"/>
            </p14:xfrm>
          </p:contentPart>
        </mc:Choice>
        <mc:Fallback>
          <p:pic>
            <p:nvPicPr>
              <p:cNvPr id="49" name="Ink 48">
                <a:extLst>
                  <a:ext uri="{FF2B5EF4-FFF2-40B4-BE49-F238E27FC236}">
                    <a16:creationId xmlns:a16="http://schemas.microsoft.com/office/drawing/2014/main" id="{A4D78EE9-BF5B-F721-0DC9-00E3A5841DA7}"/>
                  </a:ext>
                </a:extLst>
              </p:cNvPr>
              <p:cNvPicPr/>
              <p:nvPr/>
            </p:nvPicPr>
            <p:blipFill>
              <a:blip r:embed="rId167"/>
              <a:stretch>
                <a:fillRect/>
              </a:stretch>
            </p:blipFill>
            <p:spPr>
              <a:xfrm>
                <a:off x="2346563" y="3947637"/>
                <a:ext cx="155520" cy="52200"/>
              </a:xfrm>
              <a:prstGeom prst="rect">
                <a:avLst/>
              </a:prstGeom>
            </p:spPr>
          </p:pic>
        </mc:Fallback>
      </mc:AlternateContent>
      <mc:AlternateContent xmlns:mc="http://schemas.openxmlformats.org/markup-compatibility/2006">
        <mc:Choice xmlns:p14="http://schemas.microsoft.com/office/powerpoint/2010/main" Requires="p14">
          <p:contentPart p14:bwMode="auto" r:id="rId168">
            <p14:nvContentPartPr>
              <p14:cNvPr id="52" name="Ink 51">
                <a:extLst>
                  <a:ext uri="{FF2B5EF4-FFF2-40B4-BE49-F238E27FC236}">
                    <a16:creationId xmlns:a16="http://schemas.microsoft.com/office/drawing/2014/main" id="{09DD395C-30A9-72B2-0C90-1E93A66FCDF2}"/>
                  </a:ext>
                </a:extLst>
              </p14:cNvPr>
              <p14:cNvContentPartPr/>
              <p14:nvPr/>
            </p14:nvContentPartPr>
            <p14:xfrm>
              <a:off x="969203" y="3816597"/>
              <a:ext cx="99720" cy="175320"/>
            </p14:xfrm>
          </p:contentPart>
        </mc:Choice>
        <mc:Fallback>
          <p:pic>
            <p:nvPicPr>
              <p:cNvPr id="52" name="Ink 51">
                <a:extLst>
                  <a:ext uri="{FF2B5EF4-FFF2-40B4-BE49-F238E27FC236}">
                    <a16:creationId xmlns:a16="http://schemas.microsoft.com/office/drawing/2014/main" id="{09DD395C-30A9-72B2-0C90-1E93A66FCDF2}"/>
                  </a:ext>
                </a:extLst>
              </p:cNvPr>
              <p:cNvPicPr/>
              <p:nvPr/>
            </p:nvPicPr>
            <p:blipFill>
              <a:blip r:embed="rId169"/>
              <a:stretch>
                <a:fillRect/>
              </a:stretch>
            </p:blipFill>
            <p:spPr>
              <a:xfrm>
                <a:off x="953723" y="3801117"/>
                <a:ext cx="130320" cy="205920"/>
              </a:xfrm>
              <a:prstGeom prst="rect">
                <a:avLst/>
              </a:prstGeom>
            </p:spPr>
          </p:pic>
        </mc:Fallback>
      </mc:AlternateContent>
      <mc:AlternateContent xmlns:mc="http://schemas.openxmlformats.org/markup-compatibility/2006">
        <mc:Choice xmlns:p14="http://schemas.microsoft.com/office/powerpoint/2010/main" Requires="p14">
          <p:contentPart p14:bwMode="auto" r:id="rId170">
            <p14:nvContentPartPr>
              <p14:cNvPr id="53" name="Ink 52">
                <a:extLst>
                  <a:ext uri="{FF2B5EF4-FFF2-40B4-BE49-F238E27FC236}">
                    <a16:creationId xmlns:a16="http://schemas.microsoft.com/office/drawing/2014/main" id="{BE110A64-ED15-1A43-E9CE-D0B840500D12}"/>
                  </a:ext>
                </a:extLst>
              </p14:cNvPr>
              <p14:cNvContentPartPr/>
              <p14:nvPr/>
            </p14:nvContentPartPr>
            <p14:xfrm>
              <a:off x="1089443" y="3873117"/>
              <a:ext cx="226440" cy="88560"/>
            </p14:xfrm>
          </p:contentPart>
        </mc:Choice>
        <mc:Fallback>
          <p:pic>
            <p:nvPicPr>
              <p:cNvPr id="53" name="Ink 52">
                <a:extLst>
                  <a:ext uri="{FF2B5EF4-FFF2-40B4-BE49-F238E27FC236}">
                    <a16:creationId xmlns:a16="http://schemas.microsoft.com/office/drawing/2014/main" id="{BE110A64-ED15-1A43-E9CE-D0B840500D12}"/>
                  </a:ext>
                </a:extLst>
              </p:cNvPr>
              <p:cNvPicPr/>
              <p:nvPr/>
            </p:nvPicPr>
            <p:blipFill>
              <a:blip r:embed="rId171"/>
              <a:stretch>
                <a:fillRect/>
              </a:stretch>
            </p:blipFill>
            <p:spPr>
              <a:xfrm>
                <a:off x="1074323" y="3857997"/>
                <a:ext cx="257040" cy="118800"/>
              </a:xfrm>
              <a:prstGeom prst="rect">
                <a:avLst/>
              </a:prstGeom>
            </p:spPr>
          </p:pic>
        </mc:Fallback>
      </mc:AlternateContent>
      <mc:AlternateContent xmlns:mc="http://schemas.openxmlformats.org/markup-compatibility/2006">
        <mc:Choice xmlns:p14="http://schemas.microsoft.com/office/powerpoint/2010/main" Requires="p14">
          <p:contentPart p14:bwMode="auto" r:id="rId172">
            <p14:nvContentPartPr>
              <p14:cNvPr id="54" name="Ink 53">
                <a:extLst>
                  <a:ext uri="{FF2B5EF4-FFF2-40B4-BE49-F238E27FC236}">
                    <a16:creationId xmlns:a16="http://schemas.microsoft.com/office/drawing/2014/main" id="{94BE04AA-668D-F990-2C1D-1416432B8D92}"/>
                  </a:ext>
                </a:extLst>
              </p14:cNvPr>
              <p14:cNvContentPartPr/>
              <p14:nvPr/>
            </p14:nvContentPartPr>
            <p14:xfrm>
              <a:off x="1368443" y="3835317"/>
              <a:ext cx="465480" cy="146520"/>
            </p14:xfrm>
          </p:contentPart>
        </mc:Choice>
        <mc:Fallback>
          <p:pic>
            <p:nvPicPr>
              <p:cNvPr id="54" name="Ink 53">
                <a:extLst>
                  <a:ext uri="{FF2B5EF4-FFF2-40B4-BE49-F238E27FC236}">
                    <a16:creationId xmlns:a16="http://schemas.microsoft.com/office/drawing/2014/main" id="{94BE04AA-668D-F990-2C1D-1416432B8D92}"/>
                  </a:ext>
                </a:extLst>
              </p:cNvPr>
              <p:cNvPicPr/>
              <p:nvPr/>
            </p:nvPicPr>
            <p:blipFill>
              <a:blip r:embed="rId173"/>
              <a:stretch>
                <a:fillRect/>
              </a:stretch>
            </p:blipFill>
            <p:spPr>
              <a:xfrm>
                <a:off x="1353323" y="3819837"/>
                <a:ext cx="496080" cy="176760"/>
              </a:xfrm>
              <a:prstGeom prst="rect">
                <a:avLst/>
              </a:prstGeom>
            </p:spPr>
          </p:pic>
        </mc:Fallback>
      </mc:AlternateContent>
      <mc:AlternateContent xmlns:mc="http://schemas.openxmlformats.org/markup-compatibility/2006">
        <mc:Choice xmlns:p14="http://schemas.microsoft.com/office/powerpoint/2010/main" Requires="p14">
          <p:contentPart p14:bwMode="auto" r:id="rId174">
            <p14:nvContentPartPr>
              <p14:cNvPr id="55" name="Ink 54">
                <a:extLst>
                  <a:ext uri="{FF2B5EF4-FFF2-40B4-BE49-F238E27FC236}">
                    <a16:creationId xmlns:a16="http://schemas.microsoft.com/office/drawing/2014/main" id="{9ECBA15A-F4E2-FE95-DDA7-D2C7CE4664FD}"/>
                  </a:ext>
                </a:extLst>
              </p14:cNvPr>
              <p14:cNvContentPartPr/>
              <p14:nvPr/>
            </p14:nvContentPartPr>
            <p14:xfrm>
              <a:off x="1861643" y="3869157"/>
              <a:ext cx="142560" cy="70920"/>
            </p14:xfrm>
          </p:contentPart>
        </mc:Choice>
        <mc:Fallback>
          <p:pic>
            <p:nvPicPr>
              <p:cNvPr id="55" name="Ink 54">
                <a:extLst>
                  <a:ext uri="{FF2B5EF4-FFF2-40B4-BE49-F238E27FC236}">
                    <a16:creationId xmlns:a16="http://schemas.microsoft.com/office/drawing/2014/main" id="{9ECBA15A-F4E2-FE95-DDA7-D2C7CE4664FD}"/>
                  </a:ext>
                </a:extLst>
              </p:cNvPr>
              <p:cNvPicPr/>
              <p:nvPr/>
            </p:nvPicPr>
            <p:blipFill>
              <a:blip r:embed="rId175"/>
              <a:stretch>
                <a:fillRect/>
              </a:stretch>
            </p:blipFill>
            <p:spPr>
              <a:xfrm>
                <a:off x="1846163" y="3854037"/>
                <a:ext cx="173160" cy="101520"/>
              </a:xfrm>
              <a:prstGeom prst="rect">
                <a:avLst/>
              </a:prstGeom>
            </p:spPr>
          </p:pic>
        </mc:Fallback>
      </mc:AlternateContent>
      <mc:AlternateContent xmlns:mc="http://schemas.openxmlformats.org/markup-compatibility/2006">
        <mc:Choice xmlns:p14="http://schemas.microsoft.com/office/powerpoint/2010/main" Requires="p14">
          <p:contentPart p14:bwMode="auto" r:id="rId176">
            <p14:nvContentPartPr>
              <p14:cNvPr id="131" name="Ink 130">
                <a:extLst>
                  <a:ext uri="{FF2B5EF4-FFF2-40B4-BE49-F238E27FC236}">
                    <a16:creationId xmlns:a16="http://schemas.microsoft.com/office/drawing/2014/main" id="{8EE137F0-EA39-0B52-E9F3-6BF653A4C9FE}"/>
                  </a:ext>
                </a:extLst>
              </p14:cNvPr>
              <p14:cNvContentPartPr/>
              <p14:nvPr/>
            </p14:nvContentPartPr>
            <p14:xfrm>
              <a:off x="1056683" y="4323477"/>
              <a:ext cx="25200" cy="217440"/>
            </p14:xfrm>
          </p:contentPart>
        </mc:Choice>
        <mc:Fallback>
          <p:pic>
            <p:nvPicPr>
              <p:cNvPr id="131" name="Ink 130">
                <a:extLst>
                  <a:ext uri="{FF2B5EF4-FFF2-40B4-BE49-F238E27FC236}">
                    <a16:creationId xmlns:a16="http://schemas.microsoft.com/office/drawing/2014/main" id="{8EE137F0-EA39-0B52-E9F3-6BF653A4C9FE}"/>
                  </a:ext>
                </a:extLst>
              </p:cNvPr>
              <p:cNvPicPr/>
              <p:nvPr/>
            </p:nvPicPr>
            <p:blipFill>
              <a:blip r:embed="rId177"/>
              <a:stretch>
                <a:fillRect/>
              </a:stretch>
            </p:blipFill>
            <p:spPr>
              <a:xfrm>
                <a:off x="1041203" y="4307997"/>
                <a:ext cx="55800" cy="248040"/>
              </a:xfrm>
              <a:prstGeom prst="rect">
                <a:avLst/>
              </a:prstGeom>
            </p:spPr>
          </p:pic>
        </mc:Fallback>
      </mc:AlternateContent>
      <mc:AlternateContent xmlns:mc="http://schemas.openxmlformats.org/markup-compatibility/2006">
        <mc:Choice xmlns:p14="http://schemas.microsoft.com/office/powerpoint/2010/main" Requires="p14">
          <p:contentPart p14:bwMode="auto" r:id="rId178">
            <p14:nvContentPartPr>
              <p14:cNvPr id="132" name="Ink 131">
                <a:extLst>
                  <a:ext uri="{FF2B5EF4-FFF2-40B4-BE49-F238E27FC236}">
                    <a16:creationId xmlns:a16="http://schemas.microsoft.com/office/drawing/2014/main" id="{D38CBACA-A5AF-201E-B4BD-BEC599EE12B7}"/>
                  </a:ext>
                </a:extLst>
              </p14:cNvPr>
              <p14:cNvContentPartPr/>
              <p14:nvPr/>
            </p14:nvContentPartPr>
            <p14:xfrm>
              <a:off x="1156403" y="4302597"/>
              <a:ext cx="84240" cy="183960"/>
            </p14:xfrm>
          </p:contentPart>
        </mc:Choice>
        <mc:Fallback>
          <p:pic>
            <p:nvPicPr>
              <p:cNvPr id="132" name="Ink 131">
                <a:extLst>
                  <a:ext uri="{FF2B5EF4-FFF2-40B4-BE49-F238E27FC236}">
                    <a16:creationId xmlns:a16="http://schemas.microsoft.com/office/drawing/2014/main" id="{D38CBACA-A5AF-201E-B4BD-BEC599EE12B7}"/>
                  </a:ext>
                </a:extLst>
              </p:cNvPr>
              <p:cNvPicPr/>
              <p:nvPr/>
            </p:nvPicPr>
            <p:blipFill>
              <a:blip r:embed="rId179"/>
              <a:stretch>
                <a:fillRect/>
              </a:stretch>
            </p:blipFill>
            <p:spPr>
              <a:xfrm>
                <a:off x="1141283" y="4287477"/>
                <a:ext cx="114840" cy="214560"/>
              </a:xfrm>
              <a:prstGeom prst="rect">
                <a:avLst/>
              </a:prstGeom>
            </p:spPr>
          </p:pic>
        </mc:Fallback>
      </mc:AlternateContent>
      <mc:AlternateContent xmlns:mc="http://schemas.openxmlformats.org/markup-compatibility/2006">
        <mc:Choice xmlns:p14="http://schemas.microsoft.com/office/powerpoint/2010/main" Requires="p14">
          <p:contentPart p14:bwMode="auto" r:id="rId180">
            <p14:nvContentPartPr>
              <p14:cNvPr id="133" name="Ink 132">
                <a:extLst>
                  <a:ext uri="{FF2B5EF4-FFF2-40B4-BE49-F238E27FC236}">
                    <a16:creationId xmlns:a16="http://schemas.microsoft.com/office/drawing/2014/main" id="{E1616AD3-0369-F21B-43AF-B0C2A66E7A22}"/>
                  </a:ext>
                </a:extLst>
              </p14:cNvPr>
              <p14:cNvContentPartPr/>
              <p14:nvPr/>
            </p14:nvContentPartPr>
            <p14:xfrm>
              <a:off x="1237043" y="4401597"/>
              <a:ext cx="61560" cy="59400"/>
            </p14:xfrm>
          </p:contentPart>
        </mc:Choice>
        <mc:Fallback>
          <p:pic>
            <p:nvPicPr>
              <p:cNvPr id="133" name="Ink 132">
                <a:extLst>
                  <a:ext uri="{FF2B5EF4-FFF2-40B4-BE49-F238E27FC236}">
                    <a16:creationId xmlns:a16="http://schemas.microsoft.com/office/drawing/2014/main" id="{E1616AD3-0369-F21B-43AF-B0C2A66E7A22}"/>
                  </a:ext>
                </a:extLst>
              </p:cNvPr>
              <p:cNvPicPr/>
              <p:nvPr/>
            </p:nvPicPr>
            <p:blipFill>
              <a:blip r:embed="rId181"/>
              <a:stretch>
                <a:fillRect/>
              </a:stretch>
            </p:blipFill>
            <p:spPr>
              <a:xfrm>
                <a:off x="1221563" y="4386117"/>
                <a:ext cx="91800" cy="90000"/>
              </a:xfrm>
              <a:prstGeom prst="rect">
                <a:avLst/>
              </a:prstGeom>
            </p:spPr>
          </p:pic>
        </mc:Fallback>
      </mc:AlternateContent>
      <mc:AlternateContent xmlns:mc="http://schemas.openxmlformats.org/markup-compatibility/2006">
        <mc:Choice xmlns:p14="http://schemas.microsoft.com/office/powerpoint/2010/main" Requires="p14">
          <p:contentPart p14:bwMode="auto" r:id="rId182">
            <p14:nvContentPartPr>
              <p14:cNvPr id="183" name="Ink 182">
                <a:extLst>
                  <a:ext uri="{FF2B5EF4-FFF2-40B4-BE49-F238E27FC236}">
                    <a16:creationId xmlns:a16="http://schemas.microsoft.com/office/drawing/2014/main" id="{B97F2FBB-FAE1-8E4D-D78A-1E514027A8C2}"/>
                  </a:ext>
                </a:extLst>
              </p14:cNvPr>
              <p14:cNvContentPartPr/>
              <p14:nvPr/>
            </p14:nvContentPartPr>
            <p14:xfrm>
              <a:off x="373403" y="3233757"/>
              <a:ext cx="276120" cy="1242360"/>
            </p14:xfrm>
          </p:contentPart>
        </mc:Choice>
        <mc:Fallback>
          <p:pic>
            <p:nvPicPr>
              <p:cNvPr id="183" name="Ink 182">
                <a:extLst>
                  <a:ext uri="{FF2B5EF4-FFF2-40B4-BE49-F238E27FC236}">
                    <a16:creationId xmlns:a16="http://schemas.microsoft.com/office/drawing/2014/main" id="{B97F2FBB-FAE1-8E4D-D78A-1E514027A8C2}"/>
                  </a:ext>
                </a:extLst>
              </p:cNvPr>
              <p:cNvPicPr/>
              <p:nvPr/>
            </p:nvPicPr>
            <p:blipFill>
              <a:blip r:embed="rId183"/>
              <a:stretch>
                <a:fillRect/>
              </a:stretch>
            </p:blipFill>
            <p:spPr>
              <a:xfrm>
                <a:off x="358283" y="3218277"/>
                <a:ext cx="306360" cy="1272960"/>
              </a:xfrm>
              <a:prstGeom prst="rect">
                <a:avLst/>
              </a:prstGeom>
            </p:spPr>
          </p:pic>
        </mc:Fallback>
      </mc:AlternateContent>
      <mc:AlternateContent xmlns:mc="http://schemas.openxmlformats.org/markup-compatibility/2006">
        <mc:Choice xmlns:p14="http://schemas.microsoft.com/office/powerpoint/2010/main" Requires="p14">
          <p:contentPart p14:bwMode="auto" r:id="rId184">
            <p14:nvContentPartPr>
              <p14:cNvPr id="16" name="Ink 15">
                <a:extLst>
                  <a:ext uri="{FF2B5EF4-FFF2-40B4-BE49-F238E27FC236}">
                    <a16:creationId xmlns:a16="http://schemas.microsoft.com/office/drawing/2014/main" id="{FFC8A991-56EE-3248-3109-9C3157047395}"/>
                  </a:ext>
                </a:extLst>
              </p14:cNvPr>
              <p14:cNvContentPartPr/>
              <p14:nvPr/>
            </p14:nvContentPartPr>
            <p14:xfrm>
              <a:off x="2816003" y="3309357"/>
              <a:ext cx="101160" cy="212760"/>
            </p14:xfrm>
          </p:contentPart>
        </mc:Choice>
        <mc:Fallback>
          <p:pic>
            <p:nvPicPr>
              <p:cNvPr id="16" name="Ink 15">
                <a:extLst>
                  <a:ext uri="{FF2B5EF4-FFF2-40B4-BE49-F238E27FC236}">
                    <a16:creationId xmlns:a16="http://schemas.microsoft.com/office/drawing/2014/main" id="{FFC8A991-56EE-3248-3109-9C3157047395}"/>
                  </a:ext>
                </a:extLst>
              </p:cNvPr>
              <p:cNvPicPr/>
              <p:nvPr/>
            </p:nvPicPr>
            <p:blipFill>
              <a:blip r:embed="rId185"/>
              <a:stretch>
                <a:fillRect/>
              </a:stretch>
            </p:blipFill>
            <p:spPr>
              <a:xfrm>
                <a:off x="2800883" y="3294237"/>
                <a:ext cx="131760" cy="243360"/>
              </a:xfrm>
              <a:prstGeom prst="rect">
                <a:avLst/>
              </a:prstGeom>
            </p:spPr>
          </p:pic>
        </mc:Fallback>
      </mc:AlternateContent>
      <mc:AlternateContent xmlns:mc="http://schemas.openxmlformats.org/markup-compatibility/2006">
        <mc:Choice xmlns:p14="http://schemas.microsoft.com/office/powerpoint/2010/main" Requires="p14">
          <p:contentPart p14:bwMode="auto" r:id="rId186">
            <p14:nvContentPartPr>
              <p14:cNvPr id="17" name="Ink 16">
                <a:extLst>
                  <a:ext uri="{FF2B5EF4-FFF2-40B4-BE49-F238E27FC236}">
                    <a16:creationId xmlns:a16="http://schemas.microsoft.com/office/drawing/2014/main" id="{56EEE73E-1EFF-A176-B6C5-6656328BB9F6}"/>
                  </a:ext>
                </a:extLst>
              </p14:cNvPr>
              <p14:cNvContentPartPr/>
              <p14:nvPr/>
            </p14:nvContentPartPr>
            <p14:xfrm>
              <a:off x="2945963" y="3251757"/>
              <a:ext cx="98640" cy="79560"/>
            </p14:xfrm>
          </p:contentPart>
        </mc:Choice>
        <mc:Fallback>
          <p:pic>
            <p:nvPicPr>
              <p:cNvPr id="17" name="Ink 16">
                <a:extLst>
                  <a:ext uri="{FF2B5EF4-FFF2-40B4-BE49-F238E27FC236}">
                    <a16:creationId xmlns:a16="http://schemas.microsoft.com/office/drawing/2014/main" id="{56EEE73E-1EFF-A176-B6C5-6656328BB9F6}"/>
                  </a:ext>
                </a:extLst>
              </p:cNvPr>
              <p:cNvPicPr/>
              <p:nvPr/>
            </p:nvPicPr>
            <p:blipFill>
              <a:blip r:embed="rId187"/>
              <a:stretch>
                <a:fillRect/>
              </a:stretch>
            </p:blipFill>
            <p:spPr>
              <a:xfrm>
                <a:off x="2930843" y="3236637"/>
                <a:ext cx="129240" cy="110160"/>
              </a:xfrm>
              <a:prstGeom prst="rect">
                <a:avLst/>
              </a:prstGeom>
            </p:spPr>
          </p:pic>
        </mc:Fallback>
      </mc:AlternateContent>
      <mc:AlternateContent xmlns:mc="http://schemas.openxmlformats.org/markup-compatibility/2006">
        <mc:Choice xmlns:p14="http://schemas.microsoft.com/office/powerpoint/2010/main" Requires="p14">
          <p:contentPart p14:bwMode="auto" r:id="rId188">
            <p14:nvContentPartPr>
              <p14:cNvPr id="18" name="Ink 17">
                <a:extLst>
                  <a:ext uri="{FF2B5EF4-FFF2-40B4-BE49-F238E27FC236}">
                    <a16:creationId xmlns:a16="http://schemas.microsoft.com/office/drawing/2014/main" id="{EA437959-4AC9-5FF0-0364-137609571E0F}"/>
                  </a:ext>
                </a:extLst>
              </p14:cNvPr>
              <p14:cNvContentPartPr/>
              <p14:nvPr/>
            </p14:nvContentPartPr>
            <p14:xfrm>
              <a:off x="3095363" y="3321237"/>
              <a:ext cx="20880" cy="161280"/>
            </p14:xfrm>
          </p:contentPart>
        </mc:Choice>
        <mc:Fallback>
          <p:pic>
            <p:nvPicPr>
              <p:cNvPr id="18" name="Ink 17">
                <a:extLst>
                  <a:ext uri="{FF2B5EF4-FFF2-40B4-BE49-F238E27FC236}">
                    <a16:creationId xmlns:a16="http://schemas.microsoft.com/office/drawing/2014/main" id="{EA437959-4AC9-5FF0-0364-137609571E0F}"/>
                  </a:ext>
                </a:extLst>
              </p:cNvPr>
              <p:cNvPicPr/>
              <p:nvPr/>
            </p:nvPicPr>
            <p:blipFill>
              <a:blip r:embed="rId189"/>
              <a:stretch>
                <a:fillRect/>
              </a:stretch>
            </p:blipFill>
            <p:spPr>
              <a:xfrm>
                <a:off x="3079883" y="3305757"/>
                <a:ext cx="51480" cy="191880"/>
              </a:xfrm>
              <a:prstGeom prst="rect">
                <a:avLst/>
              </a:prstGeom>
            </p:spPr>
          </p:pic>
        </mc:Fallback>
      </mc:AlternateContent>
      <mc:AlternateContent xmlns:mc="http://schemas.openxmlformats.org/markup-compatibility/2006">
        <mc:Choice xmlns:p14="http://schemas.microsoft.com/office/powerpoint/2010/main" Requires="p14">
          <p:contentPart p14:bwMode="auto" r:id="rId190">
            <p14:nvContentPartPr>
              <p14:cNvPr id="19" name="Ink 18">
                <a:extLst>
                  <a:ext uri="{FF2B5EF4-FFF2-40B4-BE49-F238E27FC236}">
                    <a16:creationId xmlns:a16="http://schemas.microsoft.com/office/drawing/2014/main" id="{CF046E2A-FFBE-9115-DE17-7601A4014589}"/>
                  </a:ext>
                </a:extLst>
              </p14:cNvPr>
              <p14:cNvContentPartPr/>
              <p14:nvPr/>
            </p14:nvContentPartPr>
            <p14:xfrm>
              <a:off x="3147203" y="3387837"/>
              <a:ext cx="72000" cy="105840"/>
            </p14:xfrm>
          </p:contentPart>
        </mc:Choice>
        <mc:Fallback>
          <p:pic>
            <p:nvPicPr>
              <p:cNvPr id="19" name="Ink 18">
                <a:extLst>
                  <a:ext uri="{FF2B5EF4-FFF2-40B4-BE49-F238E27FC236}">
                    <a16:creationId xmlns:a16="http://schemas.microsoft.com/office/drawing/2014/main" id="{CF046E2A-FFBE-9115-DE17-7601A4014589}"/>
                  </a:ext>
                </a:extLst>
              </p:cNvPr>
              <p:cNvPicPr/>
              <p:nvPr/>
            </p:nvPicPr>
            <p:blipFill>
              <a:blip r:embed="rId191"/>
              <a:stretch>
                <a:fillRect/>
              </a:stretch>
            </p:blipFill>
            <p:spPr>
              <a:xfrm>
                <a:off x="3132083" y="3372717"/>
                <a:ext cx="102600" cy="136440"/>
              </a:xfrm>
              <a:prstGeom prst="rect">
                <a:avLst/>
              </a:prstGeom>
            </p:spPr>
          </p:pic>
        </mc:Fallback>
      </mc:AlternateContent>
      <mc:AlternateContent xmlns:mc="http://schemas.openxmlformats.org/markup-compatibility/2006">
        <mc:Choice xmlns:p14="http://schemas.microsoft.com/office/powerpoint/2010/main" Requires="p14">
          <p:contentPart p14:bwMode="auto" r:id="rId192">
            <p14:nvContentPartPr>
              <p14:cNvPr id="20" name="Ink 19">
                <a:extLst>
                  <a:ext uri="{FF2B5EF4-FFF2-40B4-BE49-F238E27FC236}">
                    <a16:creationId xmlns:a16="http://schemas.microsoft.com/office/drawing/2014/main" id="{40962698-7422-75EB-20FA-4815F511DE90}"/>
                  </a:ext>
                </a:extLst>
              </p14:cNvPr>
              <p14:cNvContentPartPr/>
              <p14:nvPr/>
            </p14:nvContentPartPr>
            <p14:xfrm>
              <a:off x="3318563" y="3310437"/>
              <a:ext cx="91080" cy="146520"/>
            </p14:xfrm>
          </p:contentPart>
        </mc:Choice>
        <mc:Fallback>
          <p:pic>
            <p:nvPicPr>
              <p:cNvPr id="20" name="Ink 19">
                <a:extLst>
                  <a:ext uri="{FF2B5EF4-FFF2-40B4-BE49-F238E27FC236}">
                    <a16:creationId xmlns:a16="http://schemas.microsoft.com/office/drawing/2014/main" id="{40962698-7422-75EB-20FA-4815F511DE90}"/>
                  </a:ext>
                </a:extLst>
              </p:cNvPr>
              <p:cNvPicPr/>
              <p:nvPr/>
            </p:nvPicPr>
            <p:blipFill>
              <a:blip r:embed="rId193"/>
              <a:stretch>
                <a:fillRect/>
              </a:stretch>
            </p:blipFill>
            <p:spPr>
              <a:xfrm>
                <a:off x="3303443" y="3295317"/>
                <a:ext cx="121680" cy="177120"/>
              </a:xfrm>
              <a:prstGeom prst="rect">
                <a:avLst/>
              </a:prstGeom>
            </p:spPr>
          </p:pic>
        </mc:Fallback>
      </mc:AlternateContent>
      <mc:AlternateContent xmlns:mc="http://schemas.openxmlformats.org/markup-compatibility/2006">
        <mc:Choice xmlns:p14="http://schemas.microsoft.com/office/powerpoint/2010/main" Requires="p14">
          <p:contentPart p14:bwMode="auto" r:id="rId194">
            <p14:nvContentPartPr>
              <p14:cNvPr id="21" name="Ink 20">
                <a:extLst>
                  <a:ext uri="{FF2B5EF4-FFF2-40B4-BE49-F238E27FC236}">
                    <a16:creationId xmlns:a16="http://schemas.microsoft.com/office/drawing/2014/main" id="{4149BC99-A97F-2D9A-068F-7BB6DDEC1001}"/>
                  </a:ext>
                </a:extLst>
              </p14:cNvPr>
              <p14:cNvContentPartPr/>
              <p14:nvPr/>
            </p14:nvContentPartPr>
            <p14:xfrm>
              <a:off x="3329723" y="3303597"/>
              <a:ext cx="102960" cy="160200"/>
            </p14:xfrm>
          </p:contentPart>
        </mc:Choice>
        <mc:Fallback>
          <p:pic>
            <p:nvPicPr>
              <p:cNvPr id="21" name="Ink 20">
                <a:extLst>
                  <a:ext uri="{FF2B5EF4-FFF2-40B4-BE49-F238E27FC236}">
                    <a16:creationId xmlns:a16="http://schemas.microsoft.com/office/drawing/2014/main" id="{4149BC99-A97F-2D9A-068F-7BB6DDEC1001}"/>
                  </a:ext>
                </a:extLst>
              </p:cNvPr>
              <p:cNvPicPr/>
              <p:nvPr/>
            </p:nvPicPr>
            <p:blipFill>
              <a:blip r:embed="rId195"/>
              <a:stretch>
                <a:fillRect/>
              </a:stretch>
            </p:blipFill>
            <p:spPr>
              <a:xfrm>
                <a:off x="3314603" y="3288477"/>
                <a:ext cx="133560" cy="190440"/>
              </a:xfrm>
              <a:prstGeom prst="rect">
                <a:avLst/>
              </a:prstGeom>
            </p:spPr>
          </p:pic>
        </mc:Fallback>
      </mc:AlternateContent>
      <mc:AlternateContent xmlns:mc="http://schemas.openxmlformats.org/markup-compatibility/2006">
        <mc:Choice xmlns:p14="http://schemas.microsoft.com/office/powerpoint/2010/main" Requires="p14">
          <p:contentPart p14:bwMode="auto" r:id="rId196">
            <p14:nvContentPartPr>
              <p14:cNvPr id="22" name="Ink 21">
                <a:extLst>
                  <a:ext uri="{FF2B5EF4-FFF2-40B4-BE49-F238E27FC236}">
                    <a16:creationId xmlns:a16="http://schemas.microsoft.com/office/drawing/2014/main" id="{F8938E82-CEB7-64E1-191C-038AEDF3CD40}"/>
                  </a:ext>
                </a:extLst>
              </p14:cNvPr>
              <p14:cNvContentPartPr/>
              <p14:nvPr/>
            </p14:nvContentPartPr>
            <p14:xfrm>
              <a:off x="3512963" y="3279117"/>
              <a:ext cx="140760" cy="211680"/>
            </p14:xfrm>
          </p:contentPart>
        </mc:Choice>
        <mc:Fallback>
          <p:pic>
            <p:nvPicPr>
              <p:cNvPr id="22" name="Ink 21">
                <a:extLst>
                  <a:ext uri="{FF2B5EF4-FFF2-40B4-BE49-F238E27FC236}">
                    <a16:creationId xmlns:a16="http://schemas.microsoft.com/office/drawing/2014/main" id="{F8938E82-CEB7-64E1-191C-038AEDF3CD40}"/>
                  </a:ext>
                </a:extLst>
              </p:cNvPr>
              <p:cNvPicPr/>
              <p:nvPr/>
            </p:nvPicPr>
            <p:blipFill>
              <a:blip r:embed="rId197"/>
              <a:stretch>
                <a:fillRect/>
              </a:stretch>
            </p:blipFill>
            <p:spPr>
              <a:xfrm>
                <a:off x="3497843" y="3263997"/>
                <a:ext cx="171360" cy="242280"/>
              </a:xfrm>
              <a:prstGeom prst="rect">
                <a:avLst/>
              </a:prstGeom>
            </p:spPr>
          </p:pic>
        </mc:Fallback>
      </mc:AlternateContent>
      <mc:AlternateContent xmlns:mc="http://schemas.openxmlformats.org/markup-compatibility/2006">
        <mc:Choice xmlns:p14="http://schemas.microsoft.com/office/powerpoint/2010/main" Requires="p14">
          <p:contentPart p14:bwMode="auto" r:id="rId198">
            <p14:nvContentPartPr>
              <p14:cNvPr id="23" name="Ink 22">
                <a:extLst>
                  <a:ext uri="{FF2B5EF4-FFF2-40B4-BE49-F238E27FC236}">
                    <a16:creationId xmlns:a16="http://schemas.microsoft.com/office/drawing/2014/main" id="{2F2AB6D4-0F95-2E27-14CA-C7A94206F910}"/>
                  </a:ext>
                </a:extLst>
              </p14:cNvPr>
              <p14:cNvContentPartPr/>
              <p14:nvPr/>
            </p14:nvContentPartPr>
            <p14:xfrm>
              <a:off x="3538523" y="3549117"/>
              <a:ext cx="63000" cy="16920"/>
            </p14:xfrm>
          </p:contentPart>
        </mc:Choice>
        <mc:Fallback>
          <p:pic>
            <p:nvPicPr>
              <p:cNvPr id="23" name="Ink 22">
                <a:extLst>
                  <a:ext uri="{FF2B5EF4-FFF2-40B4-BE49-F238E27FC236}">
                    <a16:creationId xmlns:a16="http://schemas.microsoft.com/office/drawing/2014/main" id="{2F2AB6D4-0F95-2E27-14CA-C7A94206F910}"/>
                  </a:ext>
                </a:extLst>
              </p:cNvPr>
              <p:cNvPicPr/>
              <p:nvPr/>
            </p:nvPicPr>
            <p:blipFill>
              <a:blip r:embed="rId199"/>
              <a:stretch>
                <a:fillRect/>
              </a:stretch>
            </p:blipFill>
            <p:spPr>
              <a:xfrm>
                <a:off x="3523403" y="3533637"/>
                <a:ext cx="93600" cy="47520"/>
              </a:xfrm>
              <a:prstGeom prst="rect">
                <a:avLst/>
              </a:prstGeom>
            </p:spPr>
          </p:pic>
        </mc:Fallback>
      </mc:AlternateContent>
      <mc:AlternateContent xmlns:mc="http://schemas.openxmlformats.org/markup-compatibility/2006">
        <mc:Choice xmlns:p14="http://schemas.microsoft.com/office/powerpoint/2010/main" Requires="p14">
          <p:contentPart p14:bwMode="auto" r:id="rId200">
            <p14:nvContentPartPr>
              <p14:cNvPr id="24" name="Ink 23">
                <a:extLst>
                  <a:ext uri="{FF2B5EF4-FFF2-40B4-BE49-F238E27FC236}">
                    <a16:creationId xmlns:a16="http://schemas.microsoft.com/office/drawing/2014/main" id="{3AE449DF-3D81-D7BB-4007-681A0BB2876B}"/>
                  </a:ext>
                </a:extLst>
              </p14:cNvPr>
              <p14:cNvContentPartPr/>
              <p14:nvPr/>
            </p14:nvContentPartPr>
            <p14:xfrm>
              <a:off x="3884483" y="3405477"/>
              <a:ext cx="75960" cy="6120"/>
            </p14:xfrm>
          </p:contentPart>
        </mc:Choice>
        <mc:Fallback>
          <p:pic>
            <p:nvPicPr>
              <p:cNvPr id="24" name="Ink 23">
                <a:extLst>
                  <a:ext uri="{FF2B5EF4-FFF2-40B4-BE49-F238E27FC236}">
                    <a16:creationId xmlns:a16="http://schemas.microsoft.com/office/drawing/2014/main" id="{3AE449DF-3D81-D7BB-4007-681A0BB2876B}"/>
                  </a:ext>
                </a:extLst>
              </p:cNvPr>
              <p:cNvPicPr/>
              <p:nvPr/>
            </p:nvPicPr>
            <p:blipFill>
              <a:blip r:embed="rId201"/>
              <a:stretch>
                <a:fillRect/>
              </a:stretch>
            </p:blipFill>
            <p:spPr>
              <a:xfrm>
                <a:off x="3869003" y="3389997"/>
                <a:ext cx="106200" cy="36360"/>
              </a:xfrm>
              <a:prstGeom prst="rect">
                <a:avLst/>
              </a:prstGeom>
            </p:spPr>
          </p:pic>
        </mc:Fallback>
      </mc:AlternateContent>
      <mc:AlternateContent xmlns:mc="http://schemas.openxmlformats.org/markup-compatibility/2006">
        <mc:Choice xmlns:p14="http://schemas.microsoft.com/office/powerpoint/2010/main" Requires="p14">
          <p:contentPart p14:bwMode="auto" r:id="rId202">
            <p14:nvContentPartPr>
              <p14:cNvPr id="222" name="Ink 221">
                <a:extLst>
                  <a:ext uri="{FF2B5EF4-FFF2-40B4-BE49-F238E27FC236}">
                    <a16:creationId xmlns:a16="http://schemas.microsoft.com/office/drawing/2014/main" id="{422D2737-5355-6C45-1480-FA6B7EA73F2F}"/>
                  </a:ext>
                </a:extLst>
              </p14:cNvPr>
              <p14:cNvContentPartPr/>
              <p14:nvPr/>
            </p14:nvContentPartPr>
            <p14:xfrm>
              <a:off x="2785403" y="3607797"/>
              <a:ext cx="456480" cy="21600"/>
            </p14:xfrm>
          </p:contentPart>
        </mc:Choice>
        <mc:Fallback>
          <p:pic>
            <p:nvPicPr>
              <p:cNvPr id="222" name="Ink 221">
                <a:extLst>
                  <a:ext uri="{FF2B5EF4-FFF2-40B4-BE49-F238E27FC236}">
                    <a16:creationId xmlns:a16="http://schemas.microsoft.com/office/drawing/2014/main" id="{422D2737-5355-6C45-1480-FA6B7EA73F2F}"/>
                  </a:ext>
                </a:extLst>
              </p:cNvPr>
              <p:cNvPicPr/>
              <p:nvPr/>
            </p:nvPicPr>
            <p:blipFill>
              <a:blip r:embed="rId203"/>
              <a:stretch>
                <a:fillRect/>
              </a:stretch>
            </p:blipFill>
            <p:spPr>
              <a:xfrm>
                <a:off x="2770283" y="3592677"/>
                <a:ext cx="487080" cy="52200"/>
              </a:xfrm>
              <a:prstGeom prst="rect">
                <a:avLst/>
              </a:prstGeom>
            </p:spPr>
          </p:pic>
        </mc:Fallback>
      </mc:AlternateContent>
      <mc:AlternateContent xmlns:mc="http://schemas.openxmlformats.org/markup-compatibility/2006">
        <mc:Choice xmlns:p14="http://schemas.microsoft.com/office/powerpoint/2010/main" Requires="p14">
          <p:contentPart p14:bwMode="auto" r:id="rId204">
            <p14:nvContentPartPr>
              <p14:cNvPr id="223" name="Ink 222">
                <a:extLst>
                  <a:ext uri="{FF2B5EF4-FFF2-40B4-BE49-F238E27FC236}">
                    <a16:creationId xmlns:a16="http://schemas.microsoft.com/office/drawing/2014/main" id="{AC3B519A-7417-4C5E-55E8-1CAA84B48F85}"/>
                  </a:ext>
                </a:extLst>
              </p14:cNvPr>
              <p14:cNvContentPartPr/>
              <p14:nvPr/>
            </p14:nvContentPartPr>
            <p14:xfrm>
              <a:off x="3442763" y="3145917"/>
              <a:ext cx="348120" cy="413280"/>
            </p14:xfrm>
          </p:contentPart>
        </mc:Choice>
        <mc:Fallback>
          <p:pic>
            <p:nvPicPr>
              <p:cNvPr id="223" name="Ink 222">
                <a:extLst>
                  <a:ext uri="{FF2B5EF4-FFF2-40B4-BE49-F238E27FC236}">
                    <a16:creationId xmlns:a16="http://schemas.microsoft.com/office/drawing/2014/main" id="{AC3B519A-7417-4C5E-55E8-1CAA84B48F85}"/>
                  </a:ext>
                </a:extLst>
              </p:cNvPr>
              <p:cNvPicPr/>
              <p:nvPr/>
            </p:nvPicPr>
            <p:blipFill>
              <a:blip r:embed="rId205"/>
              <a:stretch>
                <a:fillRect/>
              </a:stretch>
            </p:blipFill>
            <p:spPr>
              <a:xfrm>
                <a:off x="3427643" y="3130797"/>
                <a:ext cx="378360" cy="443520"/>
              </a:xfrm>
              <a:prstGeom prst="rect">
                <a:avLst/>
              </a:prstGeom>
            </p:spPr>
          </p:pic>
        </mc:Fallback>
      </mc:AlternateContent>
      <mc:AlternateContent xmlns:mc="http://schemas.openxmlformats.org/markup-compatibility/2006">
        <mc:Choice xmlns:p14="http://schemas.microsoft.com/office/powerpoint/2010/main" Requires="p14">
          <p:contentPart p14:bwMode="auto" r:id="rId206">
            <p14:nvContentPartPr>
              <p14:cNvPr id="225" name="Ink 224">
                <a:extLst>
                  <a:ext uri="{FF2B5EF4-FFF2-40B4-BE49-F238E27FC236}">
                    <a16:creationId xmlns:a16="http://schemas.microsoft.com/office/drawing/2014/main" id="{98337620-C197-55C2-21B5-52482C8920D7}"/>
                  </a:ext>
                </a:extLst>
              </p14:cNvPr>
              <p14:cNvContentPartPr/>
              <p14:nvPr/>
            </p14:nvContentPartPr>
            <p14:xfrm>
              <a:off x="3863963" y="3170757"/>
              <a:ext cx="123120" cy="42840"/>
            </p14:xfrm>
          </p:contentPart>
        </mc:Choice>
        <mc:Fallback>
          <p:pic>
            <p:nvPicPr>
              <p:cNvPr id="225" name="Ink 224">
                <a:extLst>
                  <a:ext uri="{FF2B5EF4-FFF2-40B4-BE49-F238E27FC236}">
                    <a16:creationId xmlns:a16="http://schemas.microsoft.com/office/drawing/2014/main" id="{98337620-C197-55C2-21B5-52482C8920D7}"/>
                  </a:ext>
                </a:extLst>
              </p:cNvPr>
              <p:cNvPicPr/>
              <p:nvPr/>
            </p:nvPicPr>
            <p:blipFill>
              <a:blip r:embed="rId207"/>
              <a:stretch>
                <a:fillRect/>
              </a:stretch>
            </p:blipFill>
            <p:spPr>
              <a:xfrm>
                <a:off x="3848843" y="3155277"/>
                <a:ext cx="153360" cy="73440"/>
              </a:xfrm>
              <a:prstGeom prst="rect">
                <a:avLst/>
              </a:prstGeom>
            </p:spPr>
          </p:pic>
        </mc:Fallback>
      </mc:AlternateContent>
      <mc:AlternateContent xmlns:mc="http://schemas.openxmlformats.org/markup-compatibility/2006">
        <mc:Choice xmlns:p14="http://schemas.microsoft.com/office/powerpoint/2010/main" Requires="p14">
          <p:contentPart p14:bwMode="auto" r:id="rId208">
            <p14:nvContentPartPr>
              <p14:cNvPr id="226" name="Ink 225">
                <a:extLst>
                  <a:ext uri="{FF2B5EF4-FFF2-40B4-BE49-F238E27FC236}">
                    <a16:creationId xmlns:a16="http://schemas.microsoft.com/office/drawing/2014/main" id="{0AB008A8-C9B1-79A9-6D65-867EA0AE11EB}"/>
                  </a:ext>
                </a:extLst>
              </p14:cNvPr>
              <p14:cNvContentPartPr/>
              <p14:nvPr/>
            </p14:nvContentPartPr>
            <p14:xfrm>
              <a:off x="3863963" y="3243837"/>
              <a:ext cx="102600" cy="13680"/>
            </p14:xfrm>
          </p:contentPart>
        </mc:Choice>
        <mc:Fallback>
          <p:pic>
            <p:nvPicPr>
              <p:cNvPr id="226" name="Ink 225">
                <a:extLst>
                  <a:ext uri="{FF2B5EF4-FFF2-40B4-BE49-F238E27FC236}">
                    <a16:creationId xmlns:a16="http://schemas.microsoft.com/office/drawing/2014/main" id="{0AB008A8-C9B1-79A9-6D65-867EA0AE11EB}"/>
                  </a:ext>
                </a:extLst>
              </p:cNvPr>
              <p:cNvPicPr/>
              <p:nvPr/>
            </p:nvPicPr>
            <p:blipFill>
              <a:blip r:embed="rId209"/>
              <a:stretch>
                <a:fillRect/>
              </a:stretch>
            </p:blipFill>
            <p:spPr>
              <a:xfrm>
                <a:off x="3848843" y="3228357"/>
                <a:ext cx="133200" cy="43920"/>
              </a:xfrm>
              <a:prstGeom prst="rect">
                <a:avLst/>
              </a:prstGeom>
            </p:spPr>
          </p:pic>
        </mc:Fallback>
      </mc:AlternateContent>
      <mc:AlternateContent xmlns:mc="http://schemas.openxmlformats.org/markup-compatibility/2006">
        <mc:Choice xmlns:p14="http://schemas.microsoft.com/office/powerpoint/2010/main" Requires="p14">
          <p:contentPart p14:bwMode="auto" r:id="rId210">
            <p14:nvContentPartPr>
              <p14:cNvPr id="227" name="Ink 226">
                <a:extLst>
                  <a:ext uri="{FF2B5EF4-FFF2-40B4-BE49-F238E27FC236}">
                    <a16:creationId xmlns:a16="http://schemas.microsoft.com/office/drawing/2014/main" id="{86E868D2-7B51-BCA8-CBE2-88C80230DB92}"/>
                  </a:ext>
                </a:extLst>
              </p14:cNvPr>
              <p14:cNvContentPartPr/>
              <p14:nvPr/>
            </p14:nvContentPartPr>
            <p14:xfrm>
              <a:off x="4030643" y="3132237"/>
              <a:ext cx="49680" cy="133920"/>
            </p14:xfrm>
          </p:contentPart>
        </mc:Choice>
        <mc:Fallback>
          <p:pic>
            <p:nvPicPr>
              <p:cNvPr id="227" name="Ink 226">
                <a:extLst>
                  <a:ext uri="{FF2B5EF4-FFF2-40B4-BE49-F238E27FC236}">
                    <a16:creationId xmlns:a16="http://schemas.microsoft.com/office/drawing/2014/main" id="{86E868D2-7B51-BCA8-CBE2-88C80230DB92}"/>
                  </a:ext>
                </a:extLst>
              </p:cNvPr>
              <p:cNvPicPr/>
              <p:nvPr/>
            </p:nvPicPr>
            <p:blipFill>
              <a:blip r:embed="rId211"/>
              <a:stretch>
                <a:fillRect/>
              </a:stretch>
            </p:blipFill>
            <p:spPr>
              <a:xfrm>
                <a:off x="4015163" y="3117117"/>
                <a:ext cx="80280" cy="164520"/>
              </a:xfrm>
              <a:prstGeom prst="rect">
                <a:avLst/>
              </a:prstGeom>
            </p:spPr>
          </p:pic>
        </mc:Fallback>
      </mc:AlternateContent>
      <mc:AlternateContent xmlns:mc="http://schemas.openxmlformats.org/markup-compatibility/2006">
        <mc:Choice xmlns:p14="http://schemas.microsoft.com/office/powerpoint/2010/main" Requires="p14">
          <p:contentPart p14:bwMode="auto" r:id="rId212">
            <p14:nvContentPartPr>
              <p14:cNvPr id="229" name="Ink 228">
                <a:extLst>
                  <a:ext uri="{FF2B5EF4-FFF2-40B4-BE49-F238E27FC236}">
                    <a16:creationId xmlns:a16="http://schemas.microsoft.com/office/drawing/2014/main" id="{63C27632-9FCA-36CC-2090-4D666995A3F0}"/>
                  </a:ext>
                </a:extLst>
              </p14:cNvPr>
              <p14:cNvContentPartPr/>
              <p14:nvPr/>
            </p14:nvContentPartPr>
            <p14:xfrm>
              <a:off x="4503323" y="3284517"/>
              <a:ext cx="115200" cy="198720"/>
            </p14:xfrm>
          </p:contentPart>
        </mc:Choice>
        <mc:Fallback>
          <p:pic>
            <p:nvPicPr>
              <p:cNvPr id="229" name="Ink 228">
                <a:extLst>
                  <a:ext uri="{FF2B5EF4-FFF2-40B4-BE49-F238E27FC236}">
                    <a16:creationId xmlns:a16="http://schemas.microsoft.com/office/drawing/2014/main" id="{63C27632-9FCA-36CC-2090-4D666995A3F0}"/>
                  </a:ext>
                </a:extLst>
              </p:cNvPr>
              <p:cNvPicPr/>
              <p:nvPr/>
            </p:nvPicPr>
            <p:blipFill>
              <a:blip r:embed="rId213"/>
              <a:stretch>
                <a:fillRect/>
              </a:stretch>
            </p:blipFill>
            <p:spPr>
              <a:xfrm>
                <a:off x="4488203" y="3269397"/>
                <a:ext cx="145800" cy="229320"/>
              </a:xfrm>
              <a:prstGeom prst="rect">
                <a:avLst/>
              </a:prstGeom>
            </p:spPr>
          </p:pic>
        </mc:Fallback>
      </mc:AlternateContent>
      <mc:AlternateContent xmlns:mc="http://schemas.openxmlformats.org/markup-compatibility/2006">
        <mc:Choice xmlns:p14="http://schemas.microsoft.com/office/powerpoint/2010/main" Requires="p14">
          <p:contentPart p14:bwMode="auto" r:id="rId214">
            <p14:nvContentPartPr>
              <p14:cNvPr id="230" name="Ink 229">
                <a:extLst>
                  <a:ext uri="{FF2B5EF4-FFF2-40B4-BE49-F238E27FC236}">
                    <a16:creationId xmlns:a16="http://schemas.microsoft.com/office/drawing/2014/main" id="{94A8A71A-2E47-A7A8-387F-F4E039D28752}"/>
                  </a:ext>
                </a:extLst>
              </p14:cNvPr>
              <p14:cNvContentPartPr/>
              <p14:nvPr/>
            </p14:nvContentPartPr>
            <p14:xfrm>
              <a:off x="4693763" y="3211077"/>
              <a:ext cx="78840" cy="124920"/>
            </p14:xfrm>
          </p:contentPart>
        </mc:Choice>
        <mc:Fallback>
          <p:pic>
            <p:nvPicPr>
              <p:cNvPr id="230" name="Ink 229">
                <a:extLst>
                  <a:ext uri="{FF2B5EF4-FFF2-40B4-BE49-F238E27FC236}">
                    <a16:creationId xmlns:a16="http://schemas.microsoft.com/office/drawing/2014/main" id="{94A8A71A-2E47-A7A8-387F-F4E039D28752}"/>
                  </a:ext>
                </a:extLst>
              </p:cNvPr>
              <p:cNvPicPr/>
              <p:nvPr/>
            </p:nvPicPr>
            <p:blipFill>
              <a:blip r:embed="rId215"/>
              <a:stretch>
                <a:fillRect/>
              </a:stretch>
            </p:blipFill>
            <p:spPr>
              <a:xfrm>
                <a:off x="4678643" y="3195597"/>
                <a:ext cx="109440" cy="155160"/>
              </a:xfrm>
              <a:prstGeom prst="rect">
                <a:avLst/>
              </a:prstGeom>
            </p:spPr>
          </p:pic>
        </mc:Fallback>
      </mc:AlternateContent>
      <mc:AlternateContent xmlns:mc="http://schemas.openxmlformats.org/markup-compatibility/2006">
        <mc:Choice xmlns:p14="http://schemas.microsoft.com/office/powerpoint/2010/main" Requires="p14">
          <p:contentPart p14:bwMode="auto" r:id="rId216">
            <p14:nvContentPartPr>
              <p14:cNvPr id="231" name="Ink 230">
                <a:extLst>
                  <a:ext uri="{FF2B5EF4-FFF2-40B4-BE49-F238E27FC236}">
                    <a16:creationId xmlns:a16="http://schemas.microsoft.com/office/drawing/2014/main" id="{220139E5-6274-F86C-AB8B-1523539362DF}"/>
                  </a:ext>
                </a:extLst>
              </p14:cNvPr>
              <p14:cNvContentPartPr/>
              <p14:nvPr/>
            </p14:nvContentPartPr>
            <p14:xfrm>
              <a:off x="4924523" y="3315837"/>
              <a:ext cx="23760" cy="162000"/>
            </p14:xfrm>
          </p:contentPart>
        </mc:Choice>
        <mc:Fallback>
          <p:pic>
            <p:nvPicPr>
              <p:cNvPr id="231" name="Ink 230">
                <a:extLst>
                  <a:ext uri="{FF2B5EF4-FFF2-40B4-BE49-F238E27FC236}">
                    <a16:creationId xmlns:a16="http://schemas.microsoft.com/office/drawing/2014/main" id="{220139E5-6274-F86C-AB8B-1523539362DF}"/>
                  </a:ext>
                </a:extLst>
              </p:cNvPr>
              <p:cNvPicPr/>
              <p:nvPr/>
            </p:nvPicPr>
            <p:blipFill>
              <a:blip r:embed="rId217"/>
              <a:stretch>
                <a:fillRect/>
              </a:stretch>
            </p:blipFill>
            <p:spPr>
              <a:xfrm>
                <a:off x="4909403" y="3300357"/>
                <a:ext cx="54000" cy="192600"/>
              </a:xfrm>
              <a:prstGeom prst="rect">
                <a:avLst/>
              </a:prstGeom>
            </p:spPr>
          </p:pic>
        </mc:Fallback>
      </mc:AlternateContent>
      <mc:AlternateContent xmlns:mc="http://schemas.openxmlformats.org/markup-compatibility/2006">
        <mc:Choice xmlns:p14="http://schemas.microsoft.com/office/powerpoint/2010/main" Requires="p14">
          <p:contentPart p14:bwMode="auto" r:id="rId218">
            <p14:nvContentPartPr>
              <p14:cNvPr id="232" name="Ink 231">
                <a:extLst>
                  <a:ext uri="{FF2B5EF4-FFF2-40B4-BE49-F238E27FC236}">
                    <a16:creationId xmlns:a16="http://schemas.microsoft.com/office/drawing/2014/main" id="{FCC12A91-685C-3BBE-410C-0959286D8C02}"/>
                  </a:ext>
                </a:extLst>
              </p14:cNvPr>
              <p14:cNvContentPartPr/>
              <p14:nvPr/>
            </p14:nvContentPartPr>
            <p14:xfrm>
              <a:off x="4960883" y="3371277"/>
              <a:ext cx="76320" cy="99360"/>
            </p14:xfrm>
          </p:contentPart>
        </mc:Choice>
        <mc:Fallback>
          <p:pic>
            <p:nvPicPr>
              <p:cNvPr id="232" name="Ink 231">
                <a:extLst>
                  <a:ext uri="{FF2B5EF4-FFF2-40B4-BE49-F238E27FC236}">
                    <a16:creationId xmlns:a16="http://schemas.microsoft.com/office/drawing/2014/main" id="{FCC12A91-685C-3BBE-410C-0959286D8C02}"/>
                  </a:ext>
                </a:extLst>
              </p:cNvPr>
              <p:cNvPicPr/>
              <p:nvPr/>
            </p:nvPicPr>
            <p:blipFill>
              <a:blip r:embed="rId219"/>
              <a:stretch>
                <a:fillRect/>
              </a:stretch>
            </p:blipFill>
            <p:spPr>
              <a:xfrm>
                <a:off x="4945763" y="3356157"/>
                <a:ext cx="106920" cy="129960"/>
              </a:xfrm>
              <a:prstGeom prst="rect">
                <a:avLst/>
              </a:prstGeom>
            </p:spPr>
          </p:pic>
        </mc:Fallback>
      </mc:AlternateContent>
      <mc:AlternateContent xmlns:mc="http://schemas.openxmlformats.org/markup-compatibility/2006">
        <mc:Choice xmlns:p14="http://schemas.microsoft.com/office/powerpoint/2010/main" Requires="p14">
          <p:contentPart p14:bwMode="auto" r:id="rId220">
            <p14:nvContentPartPr>
              <p14:cNvPr id="233" name="Ink 232">
                <a:extLst>
                  <a:ext uri="{FF2B5EF4-FFF2-40B4-BE49-F238E27FC236}">
                    <a16:creationId xmlns:a16="http://schemas.microsoft.com/office/drawing/2014/main" id="{3BE0DD6E-8112-ACEA-330A-F37D92AF3D6B}"/>
                  </a:ext>
                </a:extLst>
              </p14:cNvPr>
              <p14:cNvContentPartPr/>
              <p14:nvPr/>
            </p14:nvContentPartPr>
            <p14:xfrm>
              <a:off x="5120723" y="3341757"/>
              <a:ext cx="110160" cy="135000"/>
            </p14:xfrm>
          </p:contentPart>
        </mc:Choice>
        <mc:Fallback>
          <p:pic>
            <p:nvPicPr>
              <p:cNvPr id="233" name="Ink 232">
                <a:extLst>
                  <a:ext uri="{FF2B5EF4-FFF2-40B4-BE49-F238E27FC236}">
                    <a16:creationId xmlns:a16="http://schemas.microsoft.com/office/drawing/2014/main" id="{3BE0DD6E-8112-ACEA-330A-F37D92AF3D6B}"/>
                  </a:ext>
                </a:extLst>
              </p:cNvPr>
              <p:cNvPicPr/>
              <p:nvPr/>
            </p:nvPicPr>
            <p:blipFill>
              <a:blip r:embed="rId221"/>
              <a:stretch>
                <a:fillRect/>
              </a:stretch>
            </p:blipFill>
            <p:spPr>
              <a:xfrm>
                <a:off x="5105603" y="3326637"/>
                <a:ext cx="140400" cy="165600"/>
              </a:xfrm>
              <a:prstGeom prst="rect">
                <a:avLst/>
              </a:prstGeom>
            </p:spPr>
          </p:pic>
        </mc:Fallback>
      </mc:AlternateContent>
      <mc:AlternateContent xmlns:mc="http://schemas.openxmlformats.org/markup-compatibility/2006">
        <mc:Choice xmlns:p14="http://schemas.microsoft.com/office/powerpoint/2010/main" Requires="p14">
          <p:contentPart p14:bwMode="auto" r:id="rId222">
            <p14:nvContentPartPr>
              <p14:cNvPr id="234" name="Ink 233">
                <a:extLst>
                  <a:ext uri="{FF2B5EF4-FFF2-40B4-BE49-F238E27FC236}">
                    <a16:creationId xmlns:a16="http://schemas.microsoft.com/office/drawing/2014/main" id="{C8497E3E-656D-61D8-7E1F-57930929DDB7}"/>
                  </a:ext>
                </a:extLst>
              </p14:cNvPr>
              <p14:cNvContentPartPr/>
              <p14:nvPr/>
            </p14:nvContentPartPr>
            <p14:xfrm>
              <a:off x="5102363" y="3375237"/>
              <a:ext cx="126720" cy="109080"/>
            </p14:xfrm>
          </p:contentPart>
        </mc:Choice>
        <mc:Fallback>
          <p:pic>
            <p:nvPicPr>
              <p:cNvPr id="234" name="Ink 233">
                <a:extLst>
                  <a:ext uri="{FF2B5EF4-FFF2-40B4-BE49-F238E27FC236}">
                    <a16:creationId xmlns:a16="http://schemas.microsoft.com/office/drawing/2014/main" id="{C8497E3E-656D-61D8-7E1F-57930929DDB7}"/>
                  </a:ext>
                </a:extLst>
              </p:cNvPr>
              <p:cNvPicPr/>
              <p:nvPr/>
            </p:nvPicPr>
            <p:blipFill>
              <a:blip r:embed="rId223"/>
              <a:stretch>
                <a:fillRect/>
              </a:stretch>
            </p:blipFill>
            <p:spPr>
              <a:xfrm>
                <a:off x="5086883" y="3359757"/>
                <a:ext cx="157320" cy="139680"/>
              </a:xfrm>
              <a:prstGeom prst="rect">
                <a:avLst/>
              </a:prstGeom>
            </p:spPr>
          </p:pic>
        </mc:Fallback>
      </mc:AlternateContent>
      <mc:AlternateContent xmlns:mc="http://schemas.openxmlformats.org/markup-compatibility/2006">
        <mc:Choice xmlns:p14="http://schemas.microsoft.com/office/powerpoint/2010/main" Requires="p14">
          <p:contentPart p14:bwMode="auto" r:id="rId224">
            <p14:nvContentPartPr>
              <p14:cNvPr id="236" name="Ink 235">
                <a:extLst>
                  <a:ext uri="{FF2B5EF4-FFF2-40B4-BE49-F238E27FC236}">
                    <a16:creationId xmlns:a16="http://schemas.microsoft.com/office/drawing/2014/main" id="{E5D64522-5AF1-978E-C49B-932BCEE17077}"/>
                  </a:ext>
                </a:extLst>
              </p14:cNvPr>
              <p14:cNvContentPartPr/>
              <p14:nvPr/>
            </p14:nvContentPartPr>
            <p14:xfrm>
              <a:off x="5334203" y="3324477"/>
              <a:ext cx="90360" cy="142560"/>
            </p14:xfrm>
          </p:contentPart>
        </mc:Choice>
        <mc:Fallback>
          <p:pic>
            <p:nvPicPr>
              <p:cNvPr id="236" name="Ink 235">
                <a:extLst>
                  <a:ext uri="{FF2B5EF4-FFF2-40B4-BE49-F238E27FC236}">
                    <a16:creationId xmlns:a16="http://schemas.microsoft.com/office/drawing/2014/main" id="{E5D64522-5AF1-978E-C49B-932BCEE17077}"/>
                  </a:ext>
                </a:extLst>
              </p:cNvPr>
              <p:cNvPicPr/>
              <p:nvPr/>
            </p:nvPicPr>
            <p:blipFill>
              <a:blip r:embed="rId225"/>
              <a:stretch>
                <a:fillRect/>
              </a:stretch>
            </p:blipFill>
            <p:spPr>
              <a:xfrm>
                <a:off x="5319083" y="3309357"/>
                <a:ext cx="120960" cy="172800"/>
              </a:xfrm>
              <a:prstGeom prst="rect">
                <a:avLst/>
              </a:prstGeom>
            </p:spPr>
          </p:pic>
        </mc:Fallback>
      </mc:AlternateContent>
      <mc:AlternateContent xmlns:mc="http://schemas.openxmlformats.org/markup-compatibility/2006">
        <mc:Choice xmlns:p14="http://schemas.microsoft.com/office/powerpoint/2010/main" Requires="p14">
          <p:contentPart p14:bwMode="auto" r:id="rId226">
            <p14:nvContentPartPr>
              <p14:cNvPr id="251" name="Ink 250">
                <a:extLst>
                  <a:ext uri="{FF2B5EF4-FFF2-40B4-BE49-F238E27FC236}">
                    <a16:creationId xmlns:a16="http://schemas.microsoft.com/office/drawing/2014/main" id="{81A61C8F-D75F-9019-E6A6-28076BEAB781}"/>
                  </a:ext>
                </a:extLst>
              </p14:cNvPr>
              <p14:cNvContentPartPr/>
              <p14:nvPr/>
            </p14:nvContentPartPr>
            <p14:xfrm>
              <a:off x="4921643" y="3788877"/>
              <a:ext cx="133920" cy="37080"/>
            </p14:xfrm>
          </p:contentPart>
        </mc:Choice>
        <mc:Fallback>
          <p:pic>
            <p:nvPicPr>
              <p:cNvPr id="251" name="Ink 250">
                <a:extLst>
                  <a:ext uri="{FF2B5EF4-FFF2-40B4-BE49-F238E27FC236}">
                    <a16:creationId xmlns:a16="http://schemas.microsoft.com/office/drawing/2014/main" id="{81A61C8F-D75F-9019-E6A6-28076BEAB781}"/>
                  </a:ext>
                </a:extLst>
              </p:cNvPr>
              <p:cNvPicPr/>
              <p:nvPr/>
            </p:nvPicPr>
            <p:blipFill>
              <a:blip r:embed="rId227"/>
              <a:stretch>
                <a:fillRect/>
              </a:stretch>
            </p:blipFill>
            <p:spPr>
              <a:xfrm>
                <a:off x="4906163" y="3773757"/>
                <a:ext cx="164160" cy="67320"/>
              </a:xfrm>
              <a:prstGeom prst="rect">
                <a:avLst/>
              </a:prstGeom>
            </p:spPr>
          </p:pic>
        </mc:Fallback>
      </mc:AlternateContent>
      <mc:AlternateContent xmlns:mc="http://schemas.openxmlformats.org/markup-compatibility/2006">
        <mc:Choice xmlns:p14="http://schemas.microsoft.com/office/powerpoint/2010/main" Requires="p14">
          <p:contentPart p14:bwMode="auto" r:id="rId228">
            <p14:nvContentPartPr>
              <p14:cNvPr id="253" name="Ink 252">
                <a:extLst>
                  <a:ext uri="{FF2B5EF4-FFF2-40B4-BE49-F238E27FC236}">
                    <a16:creationId xmlns:a16="http://schemas.microsoft.com/office/drawing/2014/main" id="{34147B88-4858-BC16-727E-62CA59DC9747}"/>
                  </a:ext>
                </a:extLst>
              </p14:cNvPr>
              <p14:cNvContentPartPr/>
              <p14:nvPr/>
            </p14:nvContentPartPr>
            <p14:xfrm>
              <a:off x="5327723" y="3739917"/>
              <a:ext cx="101880" cy="186120"/>
            </p14:xfrm>
          </p:contentPart>
        </mc:Choice>
        <mc:Fallback>
          <p:pic>
            <p:nvPicPr>
              <p:cNvPr id="253" name="Ink 252">
                <a:extLst>
                  <a:ext uri="{FF2B5EF4-FFF2-40B4-BE49-F238E27FC236}">
                    <a16:creationId xmlns:a16="http://schemas.microsoft.com/office/drawing/2014/main" id="{34147B88-4858-BC16-727E-62CA59DC9747}"/>
                  </a:ext>
                </a:extLst>
              </p:cNvPr>
              <p:cNvPicPr/>
              <p:nvPr/>
            </p:nvPicPr>
            <p:blipFill>
              <a:blip r:embed="rId229"/>
              <a:stretch>
                <a:fillRect/>
              </a:stretch>
            </p:blipFill>
            <p:spPr>
              <a:xfrm>
                <a:off x="5312243" y="3724437"/>
                <a:ext cx="132480" cy="216720"/>
              </a:xfrm>
              <a:prstGeom prst="rect">
                <a:avLst/>
              </a:prstGeom>
            </p:spPr>
          </p:pic>
        </mc:Fallback>
      </mc:AlternateContent>
      <mc:AlternateContent xmlns:mc="http://schemas.openxmlformats.org/markup-compatibility/2006">
        <mc:Choice xmlns:p14="http://schemas.microsoft.com/office/powerpoint/2010/main" Requires="p14">
          <p:contentPart p14:bwMode="auto" r:id="rId230">
            <p14:nvContentPartPr>
              <p14:cNvPr id="254" name="Ink 253">
                <a:extLst>
                  <a:ext uri="{FF2B5EF4-FFF2-40B4-BE49-F238E27FC236}">
                    <a16:creationId xmlns:a16="http://schemas.microsoft.com/office/drawing/2014/main" id="{97058776-E466-0A39-D5AD-4941D11683BF}"/>
                  </a:ext>
                </a:extLst>
              </p14:cNvPr>
              <p14:cNvContentPartPr/>
              <p14:nvPr/>
            </p14:nvContentPartPr>
            <p14:xfrm>
              <a:off x="5438603" y="3712917"/>
              <a:ext cx="89640" cy="109440"/>
            </p14:xfrm>
          </p:contentPart>
        </mc:Choice>
        <mc:Fallback>
          <p:pic>
            <p:nvPicPr>
              <p:cNvPr id="254" name="Ink 253">
                <a:extLst>
                  <a:ext uri="{FF2B5EF4-FFF2-40B4-BE49-F238E27FC236}">
                    <a16:creationId xmlns:a16="http://schemas.microsoft.com/office/drawing/2014/main" id="{97058776-E466-0A39-D5AD-4941D11683BF}"/>
                  </a:ext>
                </a:extLst>
              </p:cNvPr>
              <p:cNvPicPr/>
              <p:nvPr/>
            </p:nvPicPr>
            <p:blipFill>
              <a:blip r:embed="rId231"/>
              <a:stretch>
                <a:fillRect/>
              </a:stretch>
            </p:blipFill>
            <p:spPr>
              <a:xfrm>
                <a:off x="5423483" y="3697797"/>
                <a:ext cx="119880" cy="140040"/>
              </a:xfrm>
              <a:prstGeom prst="rect">
                <a:avLst/>
              </a:prstGeom>
            </p:spPr>
          </p:pic>
        </mc:Fallback>
      </mc:AlternateContent>
      <mc:AlternateContent xmlns:mc="http://schemas.openxmlformats.org/markup-compatibility/2006">
        <mc:Choice xmlns:p14="http://schemas.microsoft.com/office/powerpoint/2010/main" Requires="p14">
          <p:contentPart p14:bwMode="auto" r:id="rId232">
            <p14:nvContentPartPr>
              <p14:cNvPr id="255" name="Ink 254">
                <a:extLst>
                  <a:ext uri="{FF2B5EF4-FFF2-40B4-BE49-F238E27FC236}">
                    <a16:creationId xmlns:a16="http://schemas.microsoft.com/office/drawing/2014/main" id="{CA1F6651-F350-026D-DF3D-DB7D10345909}"/>
                  </a:ext>
                </a:extLst>
              </p14:cNvPr>
              <p14:cNvContentPartPr/>
              <p14:nvPr/>
            </p14:nvContentPartPr>
            <p14:xfrm>
              <a:off x="5598083" y="3743517"/>
              <a:ext cx="105480" cy="144720"/>
            </p14:xfrm>
          </p:contentPart>
        </mc:Choice>
        <mc:Fallback>
          <p:pic>
            <p:nvPicPr>
              <p:cNvPr id="255" name="Ink 254">
                <a:extLst>
                  <a:ext uri="{FF2B5EF4-FFF2-40B4-BE49-F238E27FC236}">
                    <a16:creationId xmlns:a16="http://schemas.microsoft.com/office/drawing/2014/main" id="{CA1F6651-F350-026D-DF3D-DB7D10345909}"/>
                  </a:ext>
                </a:extLst>
              </p:cNvPr>
              <p:cNvPicPr/>
              <p:nvPr/>
            </p:nvPicPr>
            <p:blipFill>
              <a:blip r:embed="rId233"/>
              <a:stretch>
                <a:fillRect/>
              </a:stretch>
            </p:blipFill>
            <p:spPr>
              <a:xfrm>
                <a:off x="5582603" y="3728397"/>
                <a:ext cx="136080" cy="175320"/>
              </a:xfrm>
              <a:prstGeom prst="rect">
                <a:avLst/>
              </a:prstGeom>
            </p:spPr>
          </p:pic>
        </mc:Fallback>
      </mc:AlternateContent>
      <mc:AlternateContent xmlns:mc="http://schemas.openxmlformats.org/markup-compatibility/2006">
        <mc:Choice xmlns:p14="http://schemas.microsoft.com/office/powerpoint/2010/main" Requires="p14">
          <p:contentPart p14:bwMode="auto" r:id="rId234">
            <p14:nvContentPartPr>
              <p14:cNvPr id="256" name="Ink 255">
                <a:extLst>
                  <a:ext uri="{FF2B5EF4-FFF2-40B4-BE49-F238E27FC236}">
                    <a16:creationId xmlns:a16="http://schemas.microsoft.com/office/drawing/2014/main" id="{3B1F78A0-DC8D-76E0-A429-A4D169A018F0}"/>
                  </a:ext>
                </a:extLst>
              </p14:cNvPr>
              <p14:cNvContentPartPr/>
              <p14:nvPr/>
            </p14:nvContentPartPr>
            <p14:xfrm>
              <a:off x="5804363" y="3764037"/>
              <a:ext cx="101160" cy="107280"/>
            </p14:xfrm>
          </p:contentPart>
        </mc:Choice>
        <mc:Fallback>
          <p:pic>
            <p:nvPicPr>
              <p:cNvPr id="256" name="Ink 255">
                <a:extLst>
                  <a:ext uri="{FF2B5EF4-FFF2-40B4-BE49-F238E27FC236}">
                    <a16:creationId xmlns:a16="http://schemas.microsoft.com/office/drawing/2014/main" id="{3B1F78A0-DC8D-76E0-A429-A4D169A018F0}"/>
                  </a:ext>
                </a:extLst>
              </p:cNvPr>
              <p:cNvPicPr/>
              <p:nvPr/>
            </p:nvPicPr>
            <p:blipFill>
              <a:blip r:embed="rId235"/>
              <a:stretch>
                <a:fillRect/>
              </a:stretch>
            </p:blipFill>
            <p:spPr>
              <a:xfrm>
                <a:off x="5789243" y="3748557"/>
                <a:ext cx="131400" cy="137880"/>
              </a:xfrm>
              <a:prstGeom prst="rect">
                <a:avLst/>
              </a:prstGeom>
            </p:spPr>
          </p:pic>
        </mc:Fallback>
      </mc:AlternateContent>
      <mc:AlternateContent xmlns:mc="http://schemas.openxmlformats.org/markup-compatibility/2006">
        <mc:Choice xmlns:p14="http://schemas.microsoft.com/office/powerpoint/2010/main" Requires="p14">
          <p:contentPart p14:bwMode="auto" r:id="rId236">
            <p14:nvContentPartPr>
              <p14:cNvPr id="257" name="Ink 256">
                <a:extLst>
                  <a:ext uri="{FF2B5EF4-FFF2-40B4-BE49-F238E27FC236}">
                    <a16:creationId xmlns:a16="http://schemas.microsoft.com/office/drawing/2014/main" id="{F8BCD3F0-BC36-30AD-3DF7-078BBED0901C}"/>
                  </a:ext>
                </a:extLst>
              </p14:cNvPr>
              <p14:cNvContentPartPr/>
              <p14:nvPr/>
            </p14:nvContentPartPr>
            <p14:xfrm>
              <a:off x="5810123" y="3782397"/>
              <a:ext cx="65160" cy="132480"/>
            </p14:xfrm>
          </p:contentPart>
        </mc:Choice>
        <mc:Fallback>
          <p:pic>
            <p:nvPicPr>
              <p:cNvPr id="257" name="Ink 256">
                <a:extLst>
                  <a:ext uri="{FF2B5EF4-FFF2-40B4-BE49-F238E27FC236}">
                    <a16:creationId xmlns:a16="http://schemas.microsoft.com/office/drawing/2014/main" id="{F8BCD3F0-BC36-30AD-3DF7-078BBED0901C}"/>
                  </a:ext>
                </a:extLst>
              </p:cNvPr>
              <p:cNvPicPr/>
              <p:nvPr/>
            </p:nvPicPr>
            <p:blipFill>
              <a:blip r:embed="rId237"/>
              <a:stretch>
                <a:fillRect/>
              </a:stretch>
            </p:blipFill>
            <p:spPr>
              <a:xfrm>
                <a:off x="5794643" y="3766917"/>
                <a:ext cx="95760" cy="163080"/>
              </a:xfrm>
              <a:prstGeom prst="rect">
                <a:avLst/>
              </a:prstGeom>
            </p:spPr>
          </p:pic>
        </mc:Fallback>
      </mc:AlternateContent>
      <mc:AlternateContent xmlns:mc="http://schemas.openxmlformats.org/markup-compatibility/2006">
        <mc:Choice xmlns:p14="http://schemas.microsoft.com/office/powerpoint/2010/main" Requires="p14">
          <p:contentPart p14:bwMode="auto" r:id="rId238">
            <p14:nvContentPartPr>
              <p14:cNvPr id="258" name="Ink 257">
                <a:extLst>
                  <a:ext uri="{FF2B5EF4-FFF2-40B4-BE49-F238E27FC236}">
                    <a16:creationId xmlns:a16="http://schemas.microsoft.com/office/drawing/2014/main" id="{9AAF3D99-1B00-D3BD-9436-2DAFA2045BDE}"/>
                  </a:ext>
                </a:extLst>
              </p14:cNvPr>
              <p14:cNvContentPartPr/>
              <p14:nvPr/>
            </p14:nvContentPartPr>
            <p14:xfrm>
              <a:off x="6026843" y="3751797"/>
              <a:ext cx="106920" cy="181080"/>
            </p14:xfrm>
          </p:contentPart>
        </mc:Choice>
        <mc:Fallback>
          <p:pic>
            <p:nvPicPr>
              <p:cNvPr id="258" name="Ink 257">
                <a:extLst>
                  <a:ext uri="{FF2B5EF4-FFF2-40B4-BE49-F238E27FC236}">
                    <a16:creationId xmlns:a16="http://schemas.microsoft.com/office/drawing/2014/main" id="{9AAF3D99-1B00-D3BD-9436-2DAFA2045BDE}"/>
                  </a:ext>
                </a:extLst>
              </p:cNvPr>
              <p:cNvPicPr/>
              <p:nvPr/>
            </p:nvPicPr>
            <p:blipFill>
              <a:blip r:embed="rId239"/>
              <a:stretch>
                <a:fillRect/>
              </a:stretch>
            </p:blipFill>
            <p:spPr>
              <a:xfrm>
                <a:off x="6011723" y="3736677"/>
                <a:ext cx="137520" cy="211320"/>
              </a:xfrm>
              <a:prstGeom prst="rect">
                <a:avLst/>
              </a:prstGeom>
            </p:spPr>
          </p:pic>
        </mc:Fallback>
      </mc:AlternateContent>
      <mc:AlternateContent xmlns:mc="http://schemas.openxmlformats.org/markup-compatibility/2006">
        <mc:Choice xmlns:p14="http://schemas.microsoft.com/office/powerpoint/2010/main" Requires="p14">
          <p:contentPart p14:bwMode="auto" r:id="rId240">
            <p14:nvContentPartPr>
              <p14:cNvPr id="259" name="Ink 258">
                <a:extLst>
                  <a:ext uri="{FF2B5EF4-FFF2-40B4-BE49-F238E27FC236}">
                    <a16:creationId xmlns:a16="http://schemas.microsoft.com/office/drawing/2014/main" id="{625AD5FB-A85F-C2D9-6405-979AD71EC234}"/>
                  </a:ext>
                </a:extLst>
              </p14:cNvPr>
              <p14:cNvContentPartPr/>
              <p14:nvPr/>
            </p14:nvContentPartPr>
            <p14:xfrm>
              <a:off x="6197483" y="3743877"/>
              <a:ext cx="63360" cy="75960"/>
            </p14:xfrm>
          </p:contentPart>
        </mc:Choice>
        <mc:Fallback>
          <p:pic>
            <p:nvPicPr>
              <p:cNvPr id="259" name="Ink 258">
                <a:extLst>
                  <a:ext uri="{FF2B5EF4-FFF2-40B4-BE49-F238E27FC236}">
                    <a16:creationId xmlns:a16="http://schemas.microsoft.com/office/drawing/2014/main" id="{625AD5FB-A85F-C2D9-6405-979AD71EC234}"/>
                  </a:ext>
                </a:extLst>
              </p:cNvPr>
              <p:cNvPicPr/>
              <p:nvPr/>
            </p:nvPicPr>
            <p:blipFill>
              <a:blip r:embed="rId241"/>
              <a:stretch>
                <a:fillRect/>
              </a:stretch>
            </p:blipFill>
            <p:spPr>
              <a:xfrm>
                <a:off x="6182363" y="3728757"/>
                <a:ext cx="93960" cy="106200"/>
              </a:xfrm>
              <a:prstGeom prst="rect">
                <a:avLst/>
              </a:prstGeom>
            </p:spPr>
          </p:pic>
        </mc:Fallback>
      </mc:AlternateContent>
      <mc:AlternateContent xmlns:mc="http://schemas.openxmlformats.org/markup-compatibility/2006">
        <mc:Choice xmlns:p14="http://schemas.microsoft.com/office/powerpoint/2010/main" Requires="p14">
          <p:contentPart p14:bwMode="auto" r:id="rId242">
            <p14:nvContentPartPr>
              <p14:cNvPr id="260" name="Ink 259">
                <a:extLst>
                  <a:ext uri="{FF2B5EF4-FFF2-40B4-BE49-F238E27FC236}">
                    <a16:creationId xmlns:a16="http://schemas.microsoft.com/office/drawing/2014/main" id="{F494C84A-D573-F4A0-05EE-AB18AA2BE8AB}"/>
                  </a:ext>
                </a:extLst>
              </p14:cNvPr>
              <p14:cNvContentPartPr/>
              <p14:nvPr/>
            </p14:nvContentPartPr>
            <p14:xfrm>
              <a:off x="6340043" y="3780957"/>
              <a:ext cx="27360" cy="110160"/>
            </p14:xfrm>
          </p:contentPart>
        </mc:Choice>
        <mc:Fallback>
          <p:pic>
            <p:nvPicPr>
              <p:cNvPr id="260" name="Ink 259">
                <a:extLst>
                  <a:ext uri="{FF2B5EF4-FFF2-40B4-BE49-F238E27FC236}">
                    <a16:creationId xmlns:a16="http://schemas.microsoft.com/office/drawing/2014/main" id="{F494C84A-D573-F4A0-05EE-AB18AA2BE8AB}"/>
                  </a:ext>
                </a:extLst>
              </p:cNvPr>
              <p:cNvPicPr/>
              <p:nvPr/>
            </p:nvPicPr>
            <p:blipFill>
              <a:blip r:embed="rId243"/>
              <a:stretch>
                <a:fillRect/>
              </a:stretch>
            </p:blipFill>
            <p:spPr>
              <a:xfrm>
                <a:off x="6324923" y="3765837"/>
                <a:ext cx="57600" cy="140760"/>
              </a:xfrm>
              <a:prstGeom prst="rect">
                <a:avLst/>
              </a:prstGeom>
            </p:spPr>
          </p:pic>
        </mc:Fallback>
      </mc:AlternateContent>
      <mc:AlternateContent xmlns:mc="http://schemas.openxmlformats.org/markup-compatibility/2006">
        <mc:Choice xmlns:p14="http://schemas.microsoft.com/office/powerpoint/2010/main" Requires="p14">
          <p:contentPart p14:bwMode="auto" r:id="rId244">
            <p14:nvContentPartPr>
              <p14:cNvPr id="261" name="Ink 260">
                <a:extLst>
                  <a:ext uri="{FF2B5EF4-FFF2-40B4-BE49-F238E27FC236}">
                    <a16:creationId xmlns:a16="http://schemas.microsoft.com/office/drawing/2014/main" id="{1240A087-1044-F7A3-4D55-7CCA00F23C36}"/>
                  </a:ext>
                </a:extLst>
              </p14:cNvPr>
              <p14:cNvContentPartPr/>
              <p14:nvPr/>
            </p14:nvContentPartPr>
            <p14:xfrm>
              <a:off x="6376763" y="3821277"/>
              <a:ext cx="82800" cy="102240"/>
            </p14:xfrm>
          </p:contentPart>
        </mc:Choice>
        <mc:Fallback>
          <p:pic>
            <p:nvPicPr>
              <p:cNvPr id="261" name="Ink 260">
                <a:extLst>
                  <a:ext uri="{FF2B5EF4-FFF2-40B4-BE49-F238E27FC236}">
                    <a16:creationId xmlns:a16="http://schemas.microsoft.com/office/drawing/2014/main" id="{1240A087-1044-F7A3-4D55-7CCA00F23C36}"/>
                  </a:ext>
                </a:extLst>
              </p:cNvPr>
              <p:cNvPicPr/>
              <p:nvPr/>
            </p:nvPicPr>
            <p:blipFill>
              <a:blip r:embed="rId245"/>
              <a:stretch>
                <a:fillRect/>
              </a:stretch>
            </p:blipFill>
            <p:spPr>
              <a:xfrm>
                <a:off x="6361643" y="3805797"/>
                <a:ext cx="113040" cy="132480"/>
              </a:xfrm>
              <a:prstGeom prst="rect">
                <a:avLst/>
              </a:prstGeom>
            </p:spPr>
          </p:pic>
        </mc:Fallback>
      </mc:AlternateContent>
      <mc:AlternateContent xmlns:mc="http://schemas.openxmlformats.org/markup-compatibility/2006">
        <mc:Choice xmlns:p14="http://schemas.microsoft.com/office/powerpoint/2010/main" Requires="p14">
          <p:contentPart p14:bwMode="auto" r:id="rId246">
            <p14:nvContentPartPr>
              <p14:cNvPr id="262" name="Ink 261">
                <a:extLst>
                  <a:ext uri="{FF2B5EF4-FFF2-40B4-BE49-F238E27FC236}">
                    <a16:creationId xmlns:a16="http://schemas.microsoft.com/office/drawing/2014/main" id="{8DCD496A-C424-986B-849E-5A6AD8B53849}"/>
                  </a:ext>
                </a:extLst>
              </p14:cNvPr>
              <p14:cNvContentPartPr/>
              <p14:nvPr/>
            </p14:nvContentPartPr>
            <p14:xfrm>
              <a:off x="6583403" y="3750717"/>
              <a:ext cx="59040" cy="73080"/>
            </p14:xfrm>
          </p:contentPart>
        </mc:Choice>
        <mc:Fallback>
          <p:pic>
            <p:nvPicPr>
              <p:cNvPr id="262" name="Ink 261">
                <a:extLst>
                  <a:ext uri="{FF2B5EF4-FFF2-40B4-BE49-F238E27FC236}">
                    <a16:creationId xmlns:a16="http://schemas.microsoft.com/office/drawing/2014/main" id="{8DCD496A-C424-986B-849E-5A6AD8B53849}"/>
                  </a:ext>
                </a:extLst>
              </p:cNvPr>
              <p:cNvPicPr/>
              <p:nvPr/>
            </p:nvPicPr>
            <p:blipFill>
              <a:blip r:embed="rId247"/>
              <a:stretch>
                <a:fillRect/>
              </a:stretch>
            </p:blipFill>
            <p:spPr>
              <a:xfrm>
                <a:off x="6568283" y="3735597"/>
                <a:ext cx="89280" cy="103680"/>
              </a:xfrm>
              <a:prstGeom prst="rect">
                <a:avLst/>
              </a:prstGeom>
            </p:spPr>
          </p:pic>
        </mc:Fallback>
      </mc:AlternateContent>
      <mc:AlternateContent xmlns:mc="http://schemas.openxmlformats.org/markup-compatibility/2006">
        <mc:Choice xmlns:p14="http://schemas.microsoft.com/office/powerpoint/2010/main" Requires="p14">
          <p:contentPart p14:bwMode="auto" r:id="rId248">
            <p14:nvContentPartPr>
              <p14:cNvPr id="263" name="Ink 262">
                <a:extLst>
                  <a:ext uri="{FF2B5EF4-FFF2-40B4-BE49-F238E27FC236}">
                    <a16:creationId xmlns:a16="http://schemas.microsoft.com/office/drawing/2014/main" id="{ADE4BFE2-4CB4-D4FD-0D3C-8741D866AC7D}"/>
                  </a:ext>
                </a:extLst>
              </p14:cNvPr>
              <p14:cNvContentPartPr/>
              <p14:nvPr/>
            </p14:nvContentPartPr>
            <p14:xfrm>
              <a:off x="6569003" y="3792837"/>
              <a:ext cx="56880" cy="64080"/>
            </p14:xfrm>
          </p:contentPart>
        </mc:Choice>
        <mc:Fallback>
          <p:pic>
            <p:nvPicPr>
              <p:cNvPr id="263" name="Ink 262">
                <a:extLst>
                  <a:ext uri="{FF2B5EF4-FFF2-40B4-BE49-F238E27FC236}">
                    <a16:creationId xmlns:a16="http://schemas.microsoft.com/office/drawing/2014/main" id="{ADE4BFE2-4CB4-D4FD-0D3C-8741D866AC7D}"/>
                  </a:ext>
                </a:extLst>
              </p:cNvPr>
              <p:cNvPicPr/>
              <p:nvPr/>
            </p:nvPicPr>
            <p:blipFill>
              <a:blip r:embed="rId249"/>
              <a:stretch>
                <a:fillRect/>
              </a:stretch>
            </p:blipFill>
            <p:spPr>
              <a:xfrm>
                <a:off x="6553883" y="3777717"/>
                <a:ext cx="87480" cy="94680"/>
              </a:xfrm>
              <a:prstGeom prst="rect">
                <a:avLst/>
              </a:prstGeom>
            </p:spPr>
          </p:pic>
        </mc:Fallback>
      </mc:AlternateContent>
      <mc:AlternateContent xmlns:mc="http://schemas.openxmlformats.org/markup-compatibility/2006">
        <mc:Choice xmlns:p14="http://schemas.microsoft.com/office/powerpoint/2010/main" Requires="p14">
          <p:contentPart p14:bwMode="auto" r:id="rId250">
            <p14:nvContentPartPr>
              <p14:cNvPr id="264" name="Ink 263">
                <a:extLst>
                  <a:ext uri="{FF2B5EF4-FFF2-40B4-BE49-F238E27FC236}">
                    <a16:creationId xmlns:a16="http://schemas.microsoft.com/office/drawing/2014/main" id="{3E5B8BEC-0790-3298-7EB1-E297FE1C6B78}"/>
                  </a:ext>
                </a:extLst>
              </p14:cNvPr>
              <p14:cNvContentPartPr/>
              <p14:nvPr/>
            </p14:nvContentPartPr>
            <p14:xfrm>
              <a:off x="6679523" y="3774477"/>
              <a:ext cx="104760" cy="125280"/>
            </p14:xfrm>
          </p:contentPart>
        </mc:Choice>
        <mc:Fallback>
          <p:pic>
            <p:nvPicPr>
              <p:cNvPr id="264" name="Ink 263">
                <a:extLst>
                  <a:ext uri="{FF2B5EF4-FFF2-40B4-BE49-F238E27FC236}">
                    <a16:creationId xmlns:a16="http://schemas.microsoft.com/office/drawing/2014/main" id="{3E5B8BEC-0790-3298-7EB1-E297FE1C6B78}"/>
                  </a:ext>
                </a:extLst>
              </p:cNvPr>
              <p:cNvPicPr/>
              <p:nvPr/>
            </p:nvPicPr>
            <p:blipFill>
              <a:blip r:embed="rId251"/>
              <a:stretch>
                <a:fillRect/>
              </a:stretch>
            </p:blipFill>
            <p:spPr>
              <a:xfrm>
                <a:off x="6664043" y="3759357"/>
                <a:ext cx="135360" cy="155520"/>
              </a:xfrm>
              <a:prstGeom prst="rect">
                <a:avLst/>
              </a:prstGeom>
            </p:spPr>
          </p:pic>
        </mc:Fallback>
      </mc:AlternateContent>
      <mc:AlternateContent xmlns:mc="http://schemas.openxmlformats.org/markup-compatibility/2006">
        <mc:Choice xmlns:p14="http://schemas.microsoft.com/office/powerpoint/2010/main" Requires="p14">
          <p:contentPart p14:bwMode="auto" r:id="rId252">
            <p14:nvContentPartPr>
              <p14:cNvPr id="266" name="Ink 265">
                <a:extLst>
                  <a:ext uri="{FF2B5EF4-FFF2-40B4-BE49-F238E27FC236}">
                    <a16:creationId xmlns:a16="http://schemas.microsoft.com/office/drawing/2014/main" id="{443863CE-89DF-4F3C-428B-900F050F53E4}"/>
                  </a:ext>
                </a:extLst>
              </p14:cNvPr>
              <p14:cNvContentPartPr/>
              <p14:nvPr/>
            </p14:nvContentPartPr>
            <p14:xfrm>
              <a:off x="5384603" y="3995517"/>
              <a:ext cx="511200" cy="37440"/>
            </p14:xfrm>
          </p:contentPart>
        </mc:Choice>
        <mc:Fallback>
          <p:pic>
            <p:nvPicPr>
              <p:cNvPr id="266" name="Ink 265">
                <a:extLst>
                  <a:ext uri="{FF2B5EF4-FFF2-40B4-BE49-F238E27FC236}">
                    <a16:creationId xmlns:a16="http://schemas.microsoft.com/office/drawing/2014/main" id="{443863CE-89DF-4F3C-428B-900F050F53E4}"/>
                  </a:ext>
                </a:extLst>
              </p:cNvPr>
              <p:cNvPicPr/>
              <p:nvPr/>
            </p:nvPicPr>
            <p:blipFill>
              <a:blip r:embed="rId253"/>
              <a:stretch>
                <a:fillRect/>
              </a:stretch>
            </p:blipFill>
            <p:spPr>
              <a:xfrm>
                <a:off x="5369483" y="3980397"/>
                <a:ext cx="541800" cy="67680"/>
              </a:xfrm>
              <a:prstGeom prst="rect">
                <a:avLst/>
              </a:prstGeom>
            </p:spPr>
          </p:pic>
        </mc:Fallback>
      </mc:AlternateContent>
      <mc:AlternateContent xmlns:mc="http://schemas.openxmlformats.org/markup-compatibility/2006">
        <mc:Choice xmlns:p14="http://schemas.microsoft.com/office/powerpoint/2010/main" Requires="p14">
          <p:contentPart p14:bwMode="auto" r:id="rId254">
            <p14:nvContentPartPr>
              <p14:cNvPr id="135" name="Ink 134">
                <a:extLst>
                  <a:ext uri="{FF2B5EF4-FFF2-40B4-BE49-F238E27FC236}">
                    <a16:creationId xmlns:a16="http://schemas.microsoft.com/office/drawing/2014/main" id="{9B4F54CB-046A-C789-A78B-38DE114285AF}"/>
                  </a:ext>
                </a:extLst>
              </p14:cNvPr>
              <p14:cNvContentPartPr/>
              <p14:nvPr/>
            </p14:nvContentPartPr>
            <p14:xfrm>
              <a:off x="1821683" y="4321317"/>
              <a:ext cx="142560" cy="34560"/>
            </p14:xfrm>
          </p:contentPart>
        </mc:Choice>
        <mc:Fallback>
          <p:pic>
            <p:nvPicPr>
              <p:cNvPr id="135" name="Ink 134">
                <a:extLst>
                  <a:ext uri="{FF2B5EF4-FFF2-40B4-BE49-F238E27FC236}">
                    <a16:creationId xmlns:a16="http://schemas.microsoft.com/office/drawing/2014/main" id="{9B4F54CB-046A-C789-A78B-38DE114285AF}"/>
                  </a:ext>
                </a:extLst>
              </p:cNvPr>
              <p:cNvPicPr/>
              <p:nvPr/>
            </p:nvPicPr>
            <p:blipFill>
              <a:blip r:embed="rId255"/>
              <a:stretch>
                <a:fillRect/>
              </a:stretch>
            </p:blipFill>
            <p:spPr>
              <a:xfrm>
                <a:off x="1806563" y="4305837"/>
                <a:ext cx="173160" cy="65160"/>
              </a:xfrm>
              <a:prstGeom prst="rect">
                <a:avLst/>
              </a:prstGeom>
            </p:spPr>
          </p:pic>
        </mc:Fallback>
      </mc:AlternateContent>
      <mc:AlternateContent xmlns:mc="http://schemas.openxmlformats.org/markup-compatibility/2006">
        <mc:Choice xmlns:p14="http://schemas.microsoft.com/office/powerpoint/2010/main" Requires="p14">
          <p:contentPart p14:bwMode="auto" r:id="rId256">
            <p14:nvContentPartPr>
              <p14:cNvPr id="136" name="Ink 135">
                <a:extLst>
                  <a:ext uri="{FF2B5EF4-FFF2-40B4-BE49-F238E27FC236}">
                    <a16:creationId xmlns:a16="http://schemas.microsoft.com/office/drawing/2014/main" id="{AD6CEF22-72E5-33B9-CF9A-DCF9D01CDAC1}"/>
                  </a:ext>
                </a:extLst>
              </p14:cNvPr>
              <p14:cNvContentPartPr/>
              <p14:nvPr/>
            </p14:nvContentPartPr>
            <p14:xfrm>
              <a:off x="1883963" y="4418877"/>
              <a:ext cx="135360" cy="7560"/>
            </p14:xfrm>
          </p:contentPart>
        </mc:Choice>
        <mc:Fallback>
          <p:pic>
            <p:nvPicPr>
              <p:cNvPr id="136" name="Ink 135">
                <a:extLst>
                  <a:ext uri="{FF2B5EF4-FFF2-40B4-BE49-F238E27FC236}">
                    <a16:creationId xmlns:a16="http://schemas.microsoft.com/office/drawing/2014/main" id="{AD6CEF22-72E5-33B9-CF9A-DCF9D01CDAC1}"/>
                  </a:ext>
                </a:extLst>
              </p:cNvPr>
              <p:cNvPicPr/>
              <p:nvPr/>
            </p:nvPicPr>
            <p:blipFill>
              <a:blip r:embed="rId257"/>
              <a:stretch>
                <a:fillRect/>
              </a:stretch>
            </p:blipFill>
            <p:spPr>
              <a:xfrm>
                <a:off x="1868843" y="4403397"/>
                <a:ext cx="165960" cy="38160"/>
              </a:xfrm>
              <a:prstGeom prst="rect">
                <a:avLst/>
              </a:prstGeom>
            </p:spPr>
          </p:pic>
        </mc:Fallback>
      </mc:AlternateContent>
      <mc:AlternateContent xmlns:mc="http://schemas.openxmlformats.org/markup-compatibility/2006">
        <mc:Choice xmlns:p14="http://schemas.microsoft.com/office/powerpoint/2010/main" Requires="p14">
          <p:contentPart p14:bwMode="auto" r:id="rId258">
            <p14:nvContentPartPr>
              <p14:cNvPr id="137" name="Ink 136">
                <a:extLst>
                  <a:ext uri="{FF2B5EF4-FFF2-40B4-BE49-F238E27FC236}">
                    <a16:creationId xmlns:a16="http://schemas.microsoft.com/office/drawing/2014/main" id="{345B8681-0ACF-6C24-F840-2660200CB3B9}"/>
                  </a:ext>
                </a:extLst>
              </p14:cNvPr>
              <p14:cNvContentPartPr/>
              <p14:nvPr/>
            </p14:nvContentPartPr>
            <p14:xfrm>
              <a:off x="2257643" y="4327077"/>
              <a:ext cx="15480" cy="134640"/>
            </p14:xfrm>
          </p:contentPart>
        </mc:Choice>
        <mc:Fallback>
          <p:pic>
            <p:nvPicPr>
              <p:cNvPr id="137" name="Ink 136">
                <a:extLst>
                  <a:ext uri="{FF2B5EF4-FFF2-40B4-BE49-F238E27FC236}">
                    <a16:creationId xmlns:a16="http://schemas.microsoft.com/office/drawing/2014/main" id="{345B8681-0ACF-6C24-F840-2660200CB3B9}"/>
                  </a:ext>
                </a:extLst>
              </p:cNvPr>
              <p:cNvPicPr/>
              <p:nvPr/>
            </p:nvPicPr>
            <p:blipFill>
              <a:blip r:embed="rId259"/>
              <a:stretch>
                <a:fillRect/>
              </a:stretch>
            </p:blipFill>
            <p:spPr>
              <a:xfrm>
                <a:off x="2242523" y="4311597"/>
                <a:ext cx="46080" cy="165240"/>
              </a:xfrm>
              <a:prstGeom prst="rect">
                <a:avLst/>
              </a:prstGeom>
            </p:spPr>
          </p:pic>
        </mc:Fallback>
      </mc:AlternateContent>
      <mc:AlternateContent xmlns:mc="http://schemas.openxmlformats.org/markup-compatibility/2006">
        <mc:Choice xmlns:p14="http://schemas.microsoft.com/office/powerpoint/2010/main" Requires="p14">
          <p:contentPart p14:bwMode="auto" r:id="rId260">
            <p14:nvContentPartPr>
              <p14:cNvPr id="138" name="Ink 137">
                <a:extLst>
                  <a:ext uri="{FF2B5EF4-FFF2-40B4-BE49-F238E27FC236}">
                    <a16:creationId xmlns:a16="http://schemas.microsoft.com/office/drawing/2014/main" id="{307BC16E-EC8C-A047-E366-904653AADDBB}"/>
                  </a:ext>
                </a:extLst>
              </p14:cNvPr>
              <p14:cNvContentPartPr/>
              <p14:nvPr/>
            </p14:nvContentPartPr>
            <p14:xfrm>
              <a:off x="2260523" y="4347597"/>
              <a:ext cx="140760" cy="102960"/>
            </p14:xfrm>
          </p:contentPart>
        </mc:Choice>
        <mc:Fallback>
          <p:pic>
            <p:nvPicPr>
              <p:cNvPr id="138" name="Ink 137">
                <a:extLst>
                  <a:ext uri="{FF2B5EF4-FFF2-40B4-BE49-F238E27FC236}">
                    <a16:creationId xmlns:a16="http://schemas.microsoft.com/office/drawing/2014/main" id="{307BC16E-EC8C-A047-E366-904653AADDBB}"/>
                  </a:ext>
                </a:extLst>
              </p:cNvPr>
              <p:cNvPicPr/>
              <p:nvPr/>
            </p:nvPicPr>
            <p:blipFill>
              <a:blip r:embed="rId261"/>
              <a:stretch>
                <a:fillRect/>
              </a:stretch>
            </p:blipFill>
            <p:spPr>
              <a:xfrm>
                <a:off x="2245403" y="4332117"/>
                <a:ext cx="171000" cy="133200"/>
              </a:xfrm>
              <a:prstGeom prst="rect">
                <a:avLst/>
              </a:prstGeom>
            </p:spPr>
          </p:pic>
        </mc:Fallback>
      </mc:AlternateContent>
      <mc:AlternateContent xmlns:mc="http://schemas.openxmlformats.org/markup-compatibility/2006">
        <mc:Choice xmlns:p14="http://schemas.microsoft.com/office/powerpoint/2010/main" Requires="p14">
          <p:contentPart p14:bwMode="auto" r:id="rId262">
            <p14:nvContentPartPr>
              <p14:cNvPr id="139" name="Ink 138">
                <a:extLst>
                  <a:ext uri="{FF2B5EF4-FFF2-40B4-BE49-F238E27FC236}">
                    <a16:creationId xmlns:a16="http://schemas.microsoft.com/office/drawing/2014/main" id="{CCB315ED-021C-D0DA-9F03-FA300294D77A}"/>
                  </a:ext>
                </a:extLst>
              </p14:cNvPr>
              <p14:cNvContentPartPr/>
              <p14:nvPr/>
            </p14:nvContentPartPr>
            <p14:xfrm>
              <a:off x="2531603" y="4363437"/>
              <a:ext cx="79200" cy="93240"/>
            </p14:xfrm>
          </p:contentPart>
        </mc:Choice>
        <mc:Fallback>
          <p:pic>
            <p:nvPicPr>
              <p:cNvPr id="139" name="Ink 138">
                <a:extLst>
                  <a:ext uri="{FF2B5EF4-FFF2-40B4-BE49-F238E27FC236}">
                    <a16:creationId xmlns:a16="http://schemas.microsoft.com/office/drawing/2014/main" id="{CCB315ED-021C-D0DA-9F03-FA300294D77A}"/>
                  </a:ext>
                </a:extLst>
              </p:cNvPr>
              <p:cNvPicPr/>
              <p:nvPr/>
            </p:nvPicPr>
            <p:blipFill>
              <a:blip r:embed="rId263"/>
              <a:stretch>
                <a:fillRect/>
              </a:stretch>
            </p:blipFill>
            <p:spPr>
              <a:xfrm>
                <a:off x="2516483" y="4347957"/>
                <a:ext cx="109800" cy="123480"/>
              </a:xfrm>
              <a:prstGeom prst="rect">
                <a:avLst/>
              </a:prstGeom>
            </p:spPr>
          </p:pic>
        </mc:Fallback>
      </mc:AlternateContent>
      <mc:AlternateContent xmlns:mc="http://schemas.openxmlformats.org/markup-compatibility/2006">
        <mc:Choice xmlns:p14="http://schemas.microsoft.com/office/powerpoint/2010/main" Requires="p14">
          <p:contentPart p14:bwMode="auto" r:id="rId264">
            <p14:nvContentPartPr>
              <p14:cNvPr id="140" name="Ink 139">
                <a:extLst>
                  <a:ext uri="{FF2B5EF4-FFF2-40B4-BE49-F238E27FC236}">
                    <a16:creationId xmlns:a16="http://schemas.microsoft.com/office/drawing/2014/main" id="{7C3AA298-8AE0-49FE-9423-AA002487F58F}"/>
                  </a:ext>
                </a:extLst>
              </p14:cNvPr>
              <p14:cNvContentPartPr/>
              <p14:nvPr/>
            </p14:nvContentPartPr>
            <p14:xfrm>
              <a:off x="2516123" y="4385757"/>
              <a:ext cx="89280" cy="74520"/>
            </p14:xfrm>
          </p:contentPart>
        </mc:Choice>
        <mc:Fallback>
          <p:pic>
            <p:nvPicPr>
              <p:cNvPr id="140" name="Ink 139">
                <a:extLst>
                  <a:ext uri="{FF2B5EF4-FFF2-40B4-BE49-F238E27FC236}">
                    <a16:creationId xmlns:a16="http://schemas.microsoft.com/office/drawing/2014/main" id="{7C3AA298-8AE0-49FE-9423-AA002487F58F}"/>
                  </a:ext>
                </a:extLst>
              </p:cNvPr>
              <p:cNvPicPr/>
              <p:nvPr/>
            </p:nvPicPr>
            <p:blipFill>
              <a:blip r:embed="rId265"/>
              <a:stretch>
                <a:fillRect/>
              </a:stretch>
            </p:blipFill>
            <p:spPr>
              <a:xfrm>
                <a:off x="2500643" y="4370637"/>
                <a:ext cx="119520" cy="104760"/>
              </a:xfrm>
              <a:prstGeom prst="rect">
                <a:avLst/>
              </a:prstGeom>
            </p:spPr>
          </p:pic>
        </mc:Fallback>
      </mc:AlternateContent>
      <mc:AlternateContent xmlns:mc="http://schemas.openxmlformats.org/markup-compatibility/2006">
        <mc:Choice xmlns:p14="http://schemas.microsoft.com/office/powerpoint/2010/main" Requires="p14">
          <p:contentPart p14:bwMode="auto" r:id="rId266">
            <p14:nvContentPartPr>
              <p14:cNvPr id="141" name="Ink 140">
                <a:extLst>
                  <a:ext uri="{FF2B5EF4-FFF2-40B4-BE49-F238E27FC236}">
                    <a16:creationId xmlns:a16="http://schemas.microsoft.com/office/drawing/2014/main" id="{C34B8316-E103-5413-577D-FF9BAE679D75}"/>
                  </a:ext>
                </a:extLst>
              </p14:cNvPr>
              <p14:cNvContentPartPr/>
              <p14:nvPr/>
            </p14:nvContentPartPr>
            <p14:xfrm>
              <a:off x="2690003" y="4328517"/>
              <a:ext cx="189360" cy="159480"/>
            </p14:xfrm>
          </p:contentPart>
        </mc:Choice>
        <mc:Fallback>
          <p:pic>
            <p:nvPicPr>
              <p:cNvPr id="141" name="Ink 140">
                <a:extLst>
                  <a:ext uri="{FF2B5EF4-FFF2-40B4-BE49-F238E27FC236}">
                    <a16:creationId xmlns:a16="http://schemas.microsoft.com/office/drawing/2014/main" id="{C34B8316-E103-5413-577D-FF9BAE679D75}"/>
                  </a:ext>
                </a:extLst>
              </p:cNvPr>
              <p:cNvPicPr/>
              <p:nvPr/>
            </p:nvPicPr>
            <p:blipFill>
              <a:blip r:embed="rId267"/>
              <a:stretch>
                <a:fillRect/>
              </a:stretch>
            </p:blipFill>
            <p:spPr>
              <a:xfrm>
                <a:off x="2674883" y="4313037"/>
                <a:ext cx="219960" cy="190080"/>
              </a:xfrm>
              <a:prstGeom prst="rect">
                <a:avLst/>
              </a:prstGeom>
            </p:spPr>
          </p:pic>
        </mc:Fallback>
      </mc:AlternateContent>
      <mc:AlternateContent xmlns:mc="http://schemas.openxmlformats.org/markup-compatibility/2006">
        <mc:Choice xmlns:p14="http://schemas.microsoft.com/office/powerpoint/2010/main" Requires="p14">
          <p:contentPart p14:bwMode="auto" r:id="rId268">
            <p14:nvContentPartPr>
              <p14:cNvPr id="142" name="Ink 141">
                <a:extLst>
                  <a:ext uri="{FF2B5EF4-FFF2-40B4-BE49-F238E27FC236}">
                    <a16:creationId xmlns:a16="http://schemas.microsoft.com/office/drawing/2014/main" id="{92F0B584-559C-37E8-177D-4527F038575C}"/>
                  </a:ext>
                </a:extLst>
              </p14:cNvPr>
              <p14:cNvContentPartPr/>
              <p14:nvPr/>
            </p14:nvContentPartPr>
            <p14:xfrm>
              <a:off x="2925803" y="4291077"/>
              <a:ext cx="51480" cy="80280"/>
            </p14:xfrm>
          </p:contentPart>
        </mc:Choice>
        <mc:Fallback>
          <p:pic>
            <p:nvPicPr>
              <p:cNvPr id="142" name="Ink 141">
                <a:extLst>
                  <a:ext uri="{FF2B5EF4-FFF2-40B4-BE49-F238E27FC236}">
                    <a16:creationId xmlns:a16="http://schemas.microsoft.com/office/drawing/2014/main" id="{92F0B584-559C-37E8-177D-4527F038575C}"/>
                  </a:ext>
                </a:extLst>
              </p:cNvPr>
              <p:cNvPicPr/>
              <p:nvPr/>
            </p:nvPicPr>
            <p:blipFill>
              <a:blip r:embed="rId269"/>
              <a:stretch>
                <a:fillRect/>
              </a:stretch>
            </p:blipFill>
            <p:spPr>
              <a:xfrm>
                <a:off x="2910683" y="4275957"/>
                <a:ext cx="82080" cy="110880"/>
              </a:xfrm>
              <a:prstGeom prst="rect">
                <a:avLst/>
              </a:prstGeom>
            </p:spPr>
          </p:pic>
        </mc:Fallback>
      </mc:AlternateContent>
      <mc:AlternateContent xmlns:mc="http://schemas.openxmlformats.org/markup-compatibility/2006">
        <mc:Choice xmlns:p14="http://schemas.microsoft.com/office/powerpoint/2010/main" Requires="p14">
          <p:contentPart p14:bwMode="auto" r:id="rId270">
            <p14:nvContentPartPr>
              <p14:cNvPr id="143" name="Ink 142">
                <a:extLst>
                  <a:ext uri="{FF2B5EF4-FFF2-40B4-BE49-F238E27FC236}">
                    <a16:creationId xmlns:a16="http://schemas.microsoft.com/office/drawing/2014/main" id="{13AC5491-6782-A9A8-0895-7F73CF804BA2}"/>
                  </a:ext>
                </a:extLst>
              </p14:cNvPr>
              <p14:cNvContentPartPr/>
              <p14:nvPr/>
            </p14:nvContentPartPr>
            <p14:xfrm>
              <a:off x="2982683" y="4376037"/>
              <a:ext cx="104760" cy="92160"/>
            </p14:xfrm>
          </p:contentPart>
        </mc:Choice>
        <mc:Fallback>
          <p:pic>
            <p:nvPicPr>
              <p:cNvPr id="143" name="Ink 142">
                <a:extLst>
                  <a:ext uri="{FF2B5EF4-FFF2-40B4-BE49-F238E27FC236}">
                    <a16:creationId xmlns:a16="http://schemas.microsoft.com/office/drawing/2014/main" id="{13AC5491-6782-A9A8-0895-7F73CF804BA2}"/>
                  </a:ext>
                </a:extLst>
              </p:cNvPr>
              <p:cNvPicPr/>
              <p:nvPr/>
            </p:nvPicPr>
            <p:blipFill>
              <a:blip r:embed="rId271"/>
              <a:stretch>
                <a:fillRect/>
              </a:stretch>
            </p:blipFill>
            <p:spPr>
              <a:xfrm>
                <a:off x="2967203" y="4360557"/>
                <a:ext cx="135360" cy="122400"/>
              </a:xfrm>
              <a:prstGeom prst="rect">
                <a:avLst/>
              </a:prstGeom>
            </p:spPr>
          </p:pic>
        </mc:Fallback>
      </mc:AlternateContent>
      <mc:AlternateContent xmlns:mc="http://schemas.openxmlformats.org/markup-compatibility/2006">
        <mc:Choice xmlns:p14="http://schemas.microsoft.com/office/powerpoint/2010/main" Requires="p14">
          <p:contentPart p14:bwMode="auto" r:id="rId272">
            <p14:nvContentPartPr>
              <p14:cNvPr id="144" name="Ink 143">
                <a:extLst>
                  <a:ext uri="{FF2B5EF4-FFF2-40B4-BE49-F238E27FC236}">
                    <a16:creationId xmlns:a16="http://schemas.microsoft.com/office/drawing/2014/main" id="{4DB6222D-3B65-7CE6-90C1-058BFD3F7B52}"/>
                  </a:ext>
                </a:extLst>
              </p14:cNvPr>
              <p14:cNvContentPartPr/>
              <p14:nvPr/>
            </p14:nvContentPartPr>
            <p14:xfrm>
              <a:off x="3219563" y="4352637"/>
              <a:ext cx="73800" cy="77400"/>
            </p14:xfrm>
          </p:contentPart>
        </mc:Choice>
        <mc:Fallback>
          <p:pic>
            <p:nvPicPr>
              <p:cNvPr id="144" name="Ink 143">
                <a:extLst>
                  <a:ext uri="{FF2B5EF4-FFF2-40B4-BE49-F238E27FC236}">
                    <a16:creationId xmlns:a16="http://schemas.microsoft.com/office/drawing/2014/main" id="{4DB6222D-3B65-7CE6-90C1-058BFD3F7B52}"/>
                  </a:ext>
                </a:extLst>
              </p:cNvPr>
              <p:cNvPicPr/>
              <p:nvPr/>
            </p:nvPicPr>
            <p:blipFill>
              <a:blip r:embed="rId273"/>
              <a:stretch>
                <a:fillRect/>
              </a:stretch>
            </p:blipFill>
            <p:spPr>
              <a:xfrm>
                <a:off x="3204083" y="4337517"/>
                <a:ext cx="104400" cy="108000"/>
              </a:xfrm>
              <a:prstGeom prst="rect">
                <a:avLst/>
              </a:prstGeom>
            </p:spPr>
          </p:pic>
        </mc:Fallback>
      </mc:AlternateContent>
      <mc:AlternateContent xmlns:mc="http://schemas.openxmlformats.org/markup-compatibility/2006">
        <mc:Choice xmlns:p14="http://schemas.microsoft.com/office/powerpoint/2010/main" Requires="p14">
          <p:contentPart p14:bwMode="auto" r:id="rId274">
            <p14:nvContentPartPr>
              <p14:cNvPr id="146" name="Ink 145">
                <a:extLst>
                  <a:ext uri="{FF2B5EF4-FFF2-40B4-BE49-F238E27FC236}">
                    <a16:creationId xmlns:a16="http://schemas.microsoft.com/office/drawing/2014/main" id="{C131ADEF-AECB-0E8A-0EE2-288D8C606CB4}"/>
                  </a:ext>
                </a:extLst>
              </p14:cNvPr>
              <p14:cNvContentPartPr/>
              <p14:nvPr/>
            </p14:nvContentPartPr>
            <p14:xfrm>
              <a:off x="3194003" y="4376757"/>
              <a:ext cx="91440" cy="78840"/>
            </p14:xfrm>
          </p:contentPart>
        </mc:Choice>
        <mc:Fallback>
          <p:pic>
            <p:nvPicPr>
              <p:cNvPr id="146" name="Ink 145">
                <a:extLst>
                  <a:ext uri="{FF2B5EF4-FFF2-40B4-BE49-F238E27FC236}">
                    <a16:creationId xmlns:a16="http://schemas.microsoft.com/office/drawing/2014/main" id="{C131ADEF-AECB-0E8A-0EE2-288D8C606CB4}"/>
                  </a:ext>
                </a:extLst>
              </p:cNvPr>
              <p:cNvPicPr/>
              <p:nvPr/>
            </p:nvPicPr>
            <p:blipFill>
              <a:blip r:embed="rId275"/>
              <a:stretch>
                <a:fillRect/>
              </a:stretch>
            </p:blipFill>
            <p:spPr>
              <a:xfrm>
                <a:off x="3178883" y="4361277"/>
                <a:ext cx="122040" cy="109080"/>
              </a:xfrm>
              <a:prstGeom prst="rect">
                <a:avLst/>
              </a:prstGeom>
            </p:spPr>
          </p:pic>
        </mc:Fallback>
      </mc:AlternateContent>
      <mc:AlternateContent xmlns:mc="http://schemas.openxmlformats.org/markup-compatibility/2006">
        <mc:Choice xmlns:p14="http://schemas.microsoft.com/office/powerpoint/2010/main" Requires="p14">
          <p:contentPart p14:bwMode="auto" r:id="rId276">
            <p14:nvContentPartPr>
              <p14:cNvPr id="148" name="Ink 147">
                <a:extLst>
                  <a:ext uri="{FF2B5EF4-FFF2-40B4-BE49-F238E27FC236}">
                    <a16:creationId xmlns:a16="http://schemas.microsoft.com/office/drawing/2014/main" id="{FE1EA5F2-B20A-71FE-30C7-F0E28C7BE651}"/>
                  </a:ext>
                </a:extLst>
              </p14:cNvPr>
              <p14:cNvContentPartPr/>
              <p14:nvPr/>
            </p14:nvContentPartPr>
            <p14:xfrm>
              <a:off x="3411443" y="4317357"/>
              <a:ext cx="136440" cy="162000"/>
            </p14:xfrm>
          </p:contentPart>
        </mc:Choice>
        <mc:Fallback>
          <p:pic>
            <p:nvPicPr>
              <p:cNvPr id="148" name="Ink 147">
                <a:extLst>
                  <a:ext uri="{FF2B5EF4-FFF2-40B4-BE49-F238E27FC236}">
                    <a16:creationId xmlns:a16="http://schemas.microsoft.com/office/drawing/2014/main" id="{FE1EA5F2-B20A-71FE-30C7-F0E28C7BE651}"/>
                  </a:ext>
                </a:extLst>
              </p:cNvPr>
              <p:cNvPicPr/>
              <p:nvPr/>
            </p:nvPicPr>
            <p:blipFill>
              <a:blip r:embed="rId277"/>
              <a:stretch>
                <a:fillRect/>
              </a:stretch>
            </p:blipFill>
            <p:spPr>
              <a:xfrm>
                <a:off x="3395963" y="4302237"/>
                <a:ext cx="167040" cy="192600"/>
              </a:xfrm>
              <a:prstGeom prst="rect">
                <a:avLst/>
              </a:prstGeom>
            </p:spPr>
          </p:pic>
        </mc:Fallback>
      </mc:AlternateContent>
      <mc:AlternateContent xmlns:mc="http://schemas.openxmlformats.org/markup-compatibility/2006">
        <mc:Choice xmlns:p14="http://schemas.microsoft.com/office/powerpoint/2010/main" Requires="p14">
          <p:contentPart p14:bwMode="auto" r:id="rId278">
            <p14:nvContentPartPr>
              <p14:cNvPr id="149" name="Ink 148">
                <a:extLst>
                  <a:ext uri="{FF2B5EF4-FFF2-40B4-BE49-F238E27FC236}">
                    <a16:creationId xmlns:a16="http://schemas.microsoft.com/office/drawing/2014/main" id="{7DB3C1EA-59C1-E5CC-92CD-0F77E6890834}"/>
                  </a:ext>
                </a:extLst>
              </p14:cNvPr>
              <p14:cNvContentPartPr/>
              <p14:nvPr/>
            </p14:nvContentPartPr>
            <p14:xfrm>
              <a:off x="3608363" y="4295757"/>
              <a:ext cx="36720" cy="77040"/>
            </p14:xfrm>
          </p:contentPart>
        </mc:Choice>
        <mc:Fallback>
          <p:pic>
            <p:nvPicPr>
              <p:cNvPr id="149" name="Ink 148">
                <a:extLst>
                  <a:ext uri="{FF2B5EF4-FFF2-40B4-BE49-F238E27FC236}">
                    <a16:creationId xmlns:a16="http://schemas.microsoft.com/office/drawing/2014/main" id="{7DB3C1EA-59C1-E5CC-92CD-0F77E6890834}"/>
                  </a:ext>
                </a:extLst>
              </p:cNvPr>
              <p:cNvPicPr/>
              <p:nvPr/>
            </p:nvPicPr>
            <p:blipFill>
              <a:blip r:embed="rId279"/>
              <a:stretch>
                <a:fillRect/>
              </a:stretch>
            </p:blipFill>
            <p:spPr>
              <a:xfrm>
                <a:off x="3593243" y="4280637"/>
                <a:ext cx="67320" cy="107640"/>
              </a:xfrm>
              <a:prstGeom prst="rect">
                <a:avLst/>
              </a:prstGeom>
            </p:spPr>
          </p:pic>
        </mc:Fallback>
      </mc:AlternateContent>
      <mc:AlternateContent xmlns:mc="http://schemas.openxmlformats.org/markup-compatibility/2006">
        <mc:Choice xmlns:p14="http://schemas.microsoft.com/office/powerpoint/2010/main" Requires="p14">
          <p:contentPart p14:bwMode="auto" r:id="rId280">
            <p14:nvContentPartPr>
              <p14:cNvPr id="150" name="Ink 149">
                <a:extLst>
                  <a:ext uri="{FF2B5EF4-FFF2-40B4-BE49-F238E27FC236}">
                    <a16:creationId xmlns:a16="http://schemas.microsoft.com/office/drawing/2014/main" id="{C34222E3-372C-E231-CD57-37E5E5D80933}"/>
                  </a:ext>
                </a:extLst>
              </p14:cNvPr>
              <p14:cNvContentPartPr/>
              <p14:nvPr/>
            </p14:nvContentPartPr>
            <p14:xfrm>
              <a:off x="3714923" y="4368477"/>
              <a:ext cx="37440" cy="122400"/>
            </p14:xfrm>
          </p:contentPart>
        </mc:Choice>
        <mc:Fallback>
          <p:pic>
            <p:nvPicPr>
              <p:cNvPr id="150" name="Ink 149">
                <a:extLst>
                  <a:ext uri="{FF2B5EF4-FFF2-40B4-BE49-F238E27FC236}">
                    <a16:creationId xmlns:a16="http://schemas.microsoft.com/office/drawing/2014/main" id="{C34222E3-372C-E231-CD57-37E5E5D80933}"/>
                  </a:ext>
                </a:extLst>
              </p:cNvPr>
              <p:cNvPicPr/>
              <p:nvPr/>
            </p:nvPicPr>
            <p:blipFill>
              <a:blip r:embed="rId281"/>
              <a:stretch>
                <a:fillRect/>
              </a:stretch>
            </p:blipFill>
            <p:spPr>
              <a:xfrm>
                <a:off x="3699803" y="4353357"/>
                <a:ext cx="68040" cy="152640"/>
              </a:xfrm>
              <a:prstGeom prst="rect">
                <a:avLst/>
              </a:prstGeom>
            </p:spPr>
          </p:pic>
        </mc:Fallback>
      </mc:AlternateContent>
      <mc:AlternateContent xmlns:mc="http://schemas.openxmlformats.org/markup-compatibility/2006">
        <mc:Choice xmlns:p14="http://schemas.microsoft.com/office/powerpoint/2010/main" Requires="p14">
          <p:contentPart p14:bwMode="auto" r:id="rId282">
            <p14:nvContentPartPr>
              <p14:cNvPr id="151" name="Ink 150">
                <a:extLst>
                  <a:ext uri="{FF2B5EF4-FFF2-40B4-BE49-F238E27FC236}">
                    <a16:creationId xmlns:a16="http://schemas.microsoft.com/office/drawing/2014/main" id="{50FF8D6E-7D47-F9AC-EEF4-8B45BDAE7FC0}"/>
                  </a:ext>
                </a:extLst>
              </p14:cNvPr>
              <p14:cNvContentPartPr/>
              <p14:nvPr/>
            </p14:nvContentPartPr>
            <p14:xfrm>
              <a:off x="3797363" y="4415637"/>
              <a:ext cx="64440" cy="65520"/>
            </p14:xfrm>
          </p:contentPart>
        </mc:Choice>
        <mc:Fallback>
          <p:pic>
            <p:nvPicPr>
              <p:cNvPr id="151" name="Ink 150">
                <a:extLst>
                  <a:ext uri="{FF2B5EF4-FFF2-40B4-BE49-F238E27FC236}">
                    <a16:creationId xmlns:a16="http://schemas.microsoft.com/office/drawing/2014/main" id="{50FF8D6E-7D47-F9AC-EEF4-8B45BDAE7FC0}"/>
                  </a:ext>
                </a:extLst>
              </p:cNvPr>
              <p:cNvPicPr/>
              <p:nvPr/>
            </p:nvPicPr>
            <p:blipFill>
              <a:blip r:embed="rId283"/>
              <a:stretch>
                <a:fillRect/>
              </a:stretch>
            </p:blipFill>
            <p:spPr>
              <a:xfrm>
                <a:off x="3782243" y="4400517"/>
                <a:ext cx="95040" cy="96120"/>
              </a:xfrm>
              <a:prstGeom prst="rect">
                <a:avLst/>
              </a:prstGeom>
            </p:spPr>
          </p:pic>
        </mc:Fallback>
      </mc:AlternateContent>
      <mc:AlternateContent xmlns:mc="http://schemas.openxmlformats.org/markup-compatibility/2006">
        <mc:Choice xmlns:p14="http://schemas.microsoft.com/office/powerpoint/2010/main" Requires="p14">
          <p:contentPart p14:bwMode="auto" r:id="rId284">
            <p14:nvContentPartPr>
              <p14:cNvPr id="152" name="Ink 151">
                <a:extLst>
                  <a:ext uri="{FF2B5EF4-FFF2-40B4-BE49-F238E27FC236}">
                    <a16:creationId xmlns:a16="http://schemas.microsoft.com/office/drawing/2014/main" id="{849CB4AA-0F85-F954-29E7-ED0717F45C48}"/>
                  </a:ext>
                </a:extLst>
              </p14:cNvPr>
              <p14:cNvContentPartPr/>
              <p14:nvPr/>
            </p14:nvContentPartPr>
            <p14:xfrm>
              <a:off x="4010123" y="4354437"/>
              <a:ext cx="65520" cy="68040"/>
            </p14:xfrm>
          </p:contentPart>
        </mc:Choice>
        <mc:Fallback>
          <p:pic>
            <p:nvPicPr>
              <p:cNvPr id="152" name="Ink 151">
                <a:extLst>
                  <a:ext uri="{FF2B5EF4-FFF2-40B4-BE49-F238E27FC236}">
                    <a16:creationId xmlns:a16="http://schemas.microsoft.com/office/drawing/2014/main" id="{849CB4AA-0F85-F954-29E7-ED0717F45C48}"/>
                  </a:ext>
                </a:extLst>
              </p:cNvPr>
              <p:cNvPicPr/>
              <p:nvPr/>
            </p:nvPicPr>
            <p:blipFill>
              <a:blip r:embed="rId285"/>
              <a:stretch>
                <a:fillRect/>
              </a:stretch>
            </p:blipFill>
            <p:spPr>
              <a:xfrm>
                <a:off x="3995003" y="4338957"/>
                <a:ext cx="95760" cy="98640"/>
              </a:xfrm>
              <a:prstGeom prst="rect">
                <a:avLst/>
              </a:prstGeom>
            </p:spPr>
          </p:pic>
        </mc:Fallback>
      </mc:AlternateContent>
      <mc:AlternateContent xmlns:mc="http://schemas.openxmlformats.org/markup-compatibility/2006">
        <mc:Choice xmlns:p14="http://schemas.microsoft.com/office/powerpoint/2010/main" Requires="p14">
          <p:contentPart p14:bwMode="auto" r:id="rId286">
            <p14:nvContentPartPr>
              <p14:cNvPr id="153" name="Ink 152">
                <a:extLst>
                  <a:ext uri="{FF2B5EF4-FFF2-40B4-BE49-F238E27FC236}">
                    <a16:creationId xmlns:a16="http://schemas.microsoft.com/office/drawing/2014/main" id="{10D4CB3C-C99C-6C69-B213-6E9ECA390B8A}"/>
                  </a:ext>
                </a:extLst>
              </p14:cNvPr>
              <p14:cNvContentPartPr/>
              <p14:nvPr/>
            </p14:nvContentPartPr>
            <p14:xfrm>
              <a:off x="3962603" y="4359837"/>
              <a:ext cx="109800" cy="83880"/>
            </p14:xfrm>
          </p:contentPart>
        </mc:Choice>
        <mc:Fallback>
          <p:pic>
            <p:nvPicPr>
              <p:cNvPr id="153" name="Ink 152">
                <a:extLst>
                  <a:ext uri="{FF2B5EF4-FFF2-40B4-BE49-F238E27FC236}">
                    <a16:creationId xmlns:a16="http://schemas.microsoft.com/office/drawing/2014/main" id="{10D4CB3C-C99C-6C69-B213-6E9ECA390B8A}"/>
                  </a:ext>
                </a:extLst>
              </p:cNvPr>
              <p:cNvPicPr/>
              <p:nvPr/>
            </p:nvPicPr>
            <p:blipFill>
              <a:blip r:embed="rId287"/>
              <a:stretch>
                <a:fillRect/>
              </a:stretch>
            </p:blipFill>
            <p:spPr>
              <a:xfrm>
                <a:off x="3947483" y="4344717"/>
                <a:ext cx="140400" cy="114480"/>
              </a:xfrm>
              <a:prstGeom prst="rect">
                <a:avLst/>
              </a:prstGeom>
            </p:spPr>
          </p:pic>
        </mc:Fallback>
      </mc:AlternateContent>
      <mc:AlternateContent xmlns:mc="http://schemas.openxmlformats.org/markup-compatibility/2006">
        <mc:Choice xmlns:p14="http://schemas.microsoft.com/office/powerpoint/2010/main" Requires="p14">
          <p:contentPart p14:bwMode="auto" r:id="rId288">
            <p14:nvContentPartPr>
              <p14:cNvPr id="154" name="Ink 153">
                <a:extLst>
                  <a:ext uri="{FF2B5EF4-FFF2-40B4-BE49-F238E27FC236}">
                    <a16:creationId xmlns:a16="http://schemas.microsoft.com/office/drawing/2014/main" id="{96C450C6-D4D7-0DEB-FAFF-B72ECA11FB1D}"/>
                  </a:ext>
                </a:extLst>
              </p14:cNvPr>
              <p14:cNvContentPartPr/>
              <p14:nvPr/>
            </p14:nvContentPartPr>
            <p14:xfrm>
              <a:off x="4115963" y="4370277"/>
              <a:ext cx="127080" cy="87480"/>
            </p14:xfrm>
          </p:contentPart>
        </mc:Choice>
        <mc:Fallback>
          <p:pic>
            <p:nvPicPr>
              <p:cNvPr id="154" name="Ink 153">
                <a:extLst>
                  <a:ext uri="{FF2B5EF4-FFF2-40B4-BE49-F238E27FC236}">
                    <a16:creationId xmlns:a16="http://schemas.microsoft.com/office/drawing/2014/main" id="{96C450C6-D4D7-0DEB-FAFF-B72ECA11FB1D}"/>
                  </a:ext>
                </a:extLst>
              </p:cNvPr>
              <p:cNvPicPr/>
              <p:nvPr/>
            </p:nvPicPr>
            <p:blipFill>
              <a:blip r:embed="rId289"/>
              <a:stretch>
                <a:fillRect/>
              </a:stretch>
            </p:blipFill>
            <p:spPr>
              <a:xfrm>
                <a:off x="4100843" y="4354797"/>
                <a:ext cx="157320" cy="117720"/>
              </a:xfrm>
              <a:prstGeom prst="rect">
                <a:avLst/>
              </a:prstGeom>
            </p:spPr>
          </p:pic>
        </mc:Fallback>
      </mc:AlternateContent>
      <mc:AlternateContent xmlns:mc="http://schemas.openxmlformats.org/markup-compatibility/2006">
        <mc:Choice xmlns:p14="http://schemas.microsoft.com/office/powerpoint/2010/main" Requires="p14">
          <p:contentPart p14:bwMode="auto" r:id="rId290">
            <p14:nvContentPartPr>
              <p14:cNvPr id="185" name="Ink 184">
                <a:extLst>
                  <a:ext uri="{FF2B5EF4-FFF2-40B4-BE49-F238E27FC236}">
                    <a16:creationId xmlns:a16="http://schemas.microsoft.com/office/drawing/2014/main" id="{2DB245FE-6D1D-6A74-7795-EE670F41ED57}"/>
                  </a:ext>
                </a:extLst>
              </p14:cNvPr>
              <p14:cNvContentPartPr/>
              <p14:nvPr/>
            </p14:nvContentPartPr>
            <p14:xfrm>
              <a:off x="2092403" y="4126917"/>
              <a:ext cx="466200" cy="547920"/>
            </p14:xfrm>
          </p:contentPart>
        </mc:Choice>
        <mc:Fallback>
          <p:pic>
            <p:nvPicPr>
              <p:cNvPr id="185" name="Ink 184">
                <a:extLst>
                  <a:ext uri="{FF2B5EF4-FFF2-40B4-BE49-F238E27FC236}">
                    <a16:creationId xmlns:a16="http://schemas.microsoft.com/office/drawing/2014/main" id="{2DB245FE-6D1D-6A74-7795-EE670F41ED57}"/>
                  </a:ext>
                </a:extLst>
              </p:cNvPr>
              <p:cNvPicPr/>
              <p:nvPr/>
            </p:nvPicPr>
            <p:blipFill>
              <a:blip r:embed="rId291"/>
              <a:stretch>
                <a:fillRect/>
              </a:stretch>
            </p:blipFill>
            <p:spPr>
              <a:xfrm>
                <a:off x="2076923" y="4111797"/>
                <a:ext cx="496440" cy="578520"/>
              </a:xfrm>
              <a:prstGeom prst="rect">
                <a:avLst/>
              </a:prstGeom>
            </p:spPr>
          </p:pic>
        </mc:Fallback>
      </mc:AlternateContent>
      <mc:AlternateContent xmlns:mc="http://schemas.openxmlformats.org/markup-compatibility/2006">
        <mc:Choice xmlns:p14="http://schemas.microsoft.com/office/powerpoint/2010/main" Requires="p14">
          <p:contentPart p14:bwMode="auto" r:id="rId292">
            <p14:nvContentPartPr>
              <p14:cNvPr id="187" name="Ink 186">
                <a:extLst>
                  <a:ext uri="{FF2B5EF4-FFF2-40B4-BE49-F238E27FC236}">
                    <a16:creationId xmlns:a16="http://schemas.microsoft.com/office/drawing/2014/main" id="{EA520340-2B21-1434-E8BD-E14C199DD147}"/>
                  </a:ext>
                </a:extLst>
              </p14:cNvPr>
              <p14:cNvContentPartPr/>
              <p14:nvPr/>
            </p14:nvContentPartPr>
            <p14:xfrm>
              <a:off x="4243763" y="4367397"/>
              <a:ext cx="89280" cy="115200"/>
            </p14:xfrm>
          </p:contentPart>
        </mc:Choice>
        <mc:Fallback>
          <p:pic>
            <p:nvPicPr>
              <p:cNvPr id="187" name="Ink 186">
                <a:extLst>
                  <a:ext uri="{FF2B5EF4-FFF2-40B4-BE49-F238E27FC236}">
                    <a16:creationId xmlns:a16="http://schemas.microsoft.com/office/drawing/2014/main" id="{EA520340-2B21-1434-E8BD-E14C199DD147}"/>
                  </a:ext>
                </a:extLst>
              </p:cNvPr>
              <p:cNvPicPr/>
              <p:nvPr/>
            </p:nvPicPr>
            <p:blipFill>
              <a:blip r:embed="rId293"/>
              <a:stretch>
                <a:fillRect/>
              </a:stretch>
            </p:blipFill>
            <p:spPr>
              <a:xfrm>
                <a:off x="4228643" y="4352277"/>
                <a:ext cx="119880" cy="145800"/>
              </a:xfrm>
              <a:prstGeom prst="rect">
                <a:avLst/>
              </a:prstGeom>
            </p:spPr>
          </p:pic>
        </mc:Fallback>
      </mc:AlternateContent>
      <mc:AlternateContent xmlns:mc="http://schemas.openxmlformats.org/markup-compatibility/2006">
        <mc:Choice xmlns:p14="http://schemas.microsoft.com/office/powerpoint/2010/main" Requires="p14">
          <p:contentPart p14:bwMode="auto" r:id="rId294">
            <p14:nvContentPartPr>
              <p14:cNvPr id="189" name="Ink 188">
                <a:extLst>
                  <a:ext uri="{FF2B5EF4-FFF2-40B4-BE49-F238E27FC236}">
                    <a16:creationId xmlns:a16="http://schemas.microsoft.com/office/drawing/2014/main" id="{8B0F87B7-E40B-3E81-62EB-9400E02AB30E}"/>
                  </a:ext>
                </a:extLst>
              </p14:cNvPr>
              <p14:cNvContentPartPr/>
              <p14:nvPr/>
            </p14:nvContentPartPr>
            <p14:xfrm>
              <a:off x="4025243" y="4196397"/>
              <a:ext cx="440280" cy="533520"/>
            </p14:xfrm>
          </p:contentPart>
        </mc:Choice>
        <mc:Fallback>
          <p:pic>
            <p:nvPicPr>
              <p:cNvPr id="189" name="Ink 188">
                <a:extLst>
                  <a:ext uri="{FF2B5EF4-FFF2-40B4-BE49-F238E27FC236}">
                    <a16:creationId xmlns:a16="http://schemas.microsoft.com/office/drawing/2014/main" id="{8B0F87B7-E40B-3E81-62EB-9400E02AB30E}"/>
                  </a:ext>
                </a:extLst>
              </p:cNvPr>
              <p:cNvPicPr/>
              <p:nvPr/>
            </p:nvPicPr>
            <p:blipFill>
              <a:blip r:embed="rId295"/>
              <a:stretch>
                <a:fillRect/>
              </a:stretch>
            </p:blipFill>
            <p:spPr>
              <a:xfrm>
                <a:off x="4010123" y="4181277"/>
                <a:ext cx="470880" cy="564120"/>
              </a:xfrm>
              <a:prstGeom prst="rect">
                <a:avLst/>
              </a:prstGeom>
            </p:spPr>
          </p:pic>
        </mc:Fallback>
      </mc:AlternateContent>
      <mc:AlternateContent xmlns:mc="http://schemas.openxmlformats.org/markup-compatibility/2006">
        <mc:Choice xmlns:p14="http://schemas.microsoft.com/office/powerpoint/2010/main" Requires="p14">
          <p:contentPart p14:bwMode="auto" r:id="rId296">
            <p14:nvContentPartPr>
              <p14:cNvPr id="276" name="Ink 275">
                <a:extLst>
                  <a:ext uri="{FF2B5EF4-FFF2-40B4-BE49-F238E27FC236}">
                    <a16:creationId xmlns:a16="http://schemas.microsoft.com/office/drawing/2014/main" id="{A320D26C-4CF4-3D63-9FF4-F49EC78BDD80}"/>
                  </a:ext>
                </a:extLst>
              </p14:cNvPr>
              <p14:cNvContentPartPr/>
              <p14:nvPr/>
            </p14:nvContentPartPr>
            <p14:xfrm>
              <a:off x="2171963" y="4182357"/>
              <a:ext cx="1642680" cy="469080"/>
            </p14:xfrm>
          </p:contentPart>
        </mc:Choice>
        <mc:Fallback>
          <p:pic>
            <p:nvPicPr>
              <p:cNvPr id="276" name="Ink 275">
                <a:extLst>
                  <a:ext uri="{FF2B5EF4-FFF2-40B4-BE49-F238E27FC236}">
                    <a16:creationId xmlns:a16="http://schemas.microsoft.com/office/drawing/2014/main" id="{A320D26C-4CF4-3D63-9FF4-F49EC78BDD80}"/>
                  </a:ext>
                </a:extLst>
              </p:cNvPr>
              <p:cNvPicPr/>
              <p:nvPr/>
            </p:nvPicPr>
            <p:blipFill>
              <a:blip r:embed="rId297"/>
              <a:stretch>
                <a:fillRect/>
              </a:stretch>
            </p:blipFill>
            <p:spPr>
              <a:xfrm>
                <a:off x="2156843" y="4166877"/>
                <a:ext cx="1673280" cy="499680"/>
              </a:xfrm>
              <a:prstGeom prst="rect">
                <a:avLst/>
              </a:prstGeom>
            </p:spPr>
          </p:pic>
        </mc:Fallback>
      </mc:AlternateContent>
      <mc:AlternateContent xmlns:mc="http://schemas.openxmlformats.org/markup-compatibility/2006">
        <mc:Choice xmlns:p14="http://schemas.microsoft.com/office/powerpoint/2010/main" Requires="p14">
          <p:contentPart p14:bwMode="auto" r:id="rId298">
            <p14:nvContentPartPr>
              <p14:cNvPr id="278" name="Ink 277">
                <a:extLst>
                  <a:ext uri="{FF2B5EF4-FFF2-40B4-BE49-F238E27FC236}">
                    <a16:creationId xmlns:a16="http://schemas.microsoft.com/office/drawing/2014/main" id="{8BF3A683-DC49-7260-6544-F15011E336B0}"/>
                  </a:ext>
                </a:extLst>
              </p14:cNvPr>
              <p14:cNvContentPartPr/>
              <p14:nvPr/>
            </p14:nvContentPartPr>
            <p14:xfrm>
              <a:off x="5106323" y="4315197"/>
              <a:ext cx="11520" cy="211680"/>
            </p14:xfrm>
          </p:contentPart>
        </mc:Choice>
        <mc:Fallback>
          <p:pic>
            <p:nvPicPr>
              <p:cNvPr id="278" name="Ink 277">
                <a:extLst>
                  <a:ext uri="{FF2B5EF4-FFF2-40B4-BE49-F238E27FC236}">
                    <a16:creationId xmlns:a16="http://schemas.microsoft.com/office/drawing/2014/main" id="{8BF3A683-DC49-7260-6544-F15011E336B0}"/>
                  </a:ext>
                </a:extLst>
              </p:cNvPr>
              <p:cNvPicPr/>
              <p:nvPr/>
            </p:nvPicPr>
            <p:blipFill>
              <a:blip r:embed="rId299"/>
              <a:stretch>
                <a:fillRect/>
              </a:stretch>
            </p:blipFill>
            <p:spPr>
              <a:xfrm>
                <a:off x="5090843" y="4300077"/>
                <a:ext cx="42120" cy="241920"/>
              </a:xfrm>
              <a:prstGeom prst="rect">
                <a:avLst/>
              </a:prstGeom>
            </p:spPr>
          </p:pic>
        </mc:Fallback>
      </mc:AlternateContent>
      <mc:AlternateContent xmlns:mc="http://schemas.openxmlformats.org/markup-compatibility/2006">
        <mc:Choice xmlns:p14="http://schemas.microsoft.com/office/powerpoint/2010/main" Requires="p14">
          <p:contentPart p14:bwMode="auto" r:id="rId300">
            <p14:nvContentPartPr>
              <p14:cNvPr id="279" name="Ink 278">
                <a:extLst>
                  <a:ext uri="{FF2B5EF4-FFF2-40B4-BE49-F238E27FC236}">
                    <a16:creationId xmlns:a16="http://schemas.microsoft.com/office/drawing/2014/main" id="{B1E7B387-C605-9523-E128-98829FEFE64B}"/>
                  </a:ext>
                </a:extLst>
              </p14:cNvPr>
              <p14:cNvContentPartPr/>
              <p14:nvPr/>
            </p14:nvContentPartPr>
            <p14:xfrm>
              <a:off x="5129003" y="4325277"/>
              <a:ext cx="122760" cy="199440"/>
            </p14:xfrm>
          </p:contentPart>
        </mc:Choice>
        <mc:Fallback>
          <p:pic>
            <p:nvPicPr>
              <p:cNvPr id="279" name="Ink 278">
                <a:extLst>
                  <a:ext uri="{FF2B5EF4-FFF2-40B4-BE49-F238E27FC236}">
                    <a16:creationId xmlns:a16="http://schemas.microsoft.com/office/drawing/2014/main" id="{B1E7B387-C605-9523-E128-98829FEFE64B}"/>
                  </a:ext>
                </a:extLst>
              </p:cNvPr>
              <p:cNvPicPr/>
              <p:nvPr/>
            </p:nvPicPr>
            <p:blipFill>
              <a:blip r:embed="rId301"/>
              <a:stretch>
                <a:fillRect/>
              </a:stretch>
            </p:blipFill>
            <p:spPr>
              <a:xfrm>
                <a:off x="5113883" y="4310157"/>
                <a:ext cx="153000" cy="229680"/>
              </a:xfrm>
              <a:prstGeom prst="rect">
                <a:avLst/>
              </a:prstGeom>
            </p:spPr>
          </p:pic>
        </mc:Fallback>
      </mc:AlternateContent>
      <mc:AlternateContent xmlns:mc="http://schemas.openxmlformats.org/markup-compatibility/2006">
        <mc:Choice xmlns:p14="http://schemas.microsoft.com/office/powerpoint/2010/main" Requires="p14">
          <p:contentPart p14:bwMode="auto" r:id="rId302">
            <p14:nvContentPartPr>
              <p14:cNvPr id="280" name="Ink 279">
                <a:extLst>
                  <a:ext uri="{FF2B5EF4-FFF2-40B4-BE49-F238E27FC236}">
                    <a16:creationId xmlns:a16="http://schemas.microsoft.com/office/drawing/2014/main" id="{6550F83A-9586-5D1B-F227-B6B51688A63B}"/>
                  </a:ext>
                </a:extLst>
              </p14:cNvPr>
              <p14:cNvContentPartPr/>
              <p14:nvPr/>
            </p14:nvContentPartPr>
            <p14:xfrm>
              <a:off x="5373083" y="4293237"/>
              <a:ext cx="105120" cy="154800"/>
            </p14:xfrm>
          </p:contentPart>
        </mc:Choice>
        <mc:Fallback>
          <p:pic>
            <p:nvPicPr>
              <p:cNvPr id="280" name="Ink 279">
                <a:extLst>
                  <a:ext uri="{FF2B5EF4-FFF2-40B4-BE49-F238E27FC236}">
                    <a16:creationId xmlns:a16="http://schemas.microsoft.com/office/drawing/2014/main" id="{6550F83A-9586-5D1B-F227-B6B51688A63B}"/>
                  </a:ext>
                </a:extLst>
              </p:cNvPr>
              <p:cNvPicPr/>
              <p:nvPr/>
            </p:nvPicPr>
            <p:blipFill>
              <a:blip r:embed="rId303"/>
              <a:stretch>
                <a:fillRect/>
              </a:stretch>
            </p:blipFill>
            <p:spPr>
              <a:xfrm>
                <a:off x="5357963" y="4277757"/>
                <a:ext cx="135360" cy="185040"/>
              </a:xfrm>
              <a:prstGeom prst="rect">
                <a:avLst/>
              </a:prstGeom>
            </p:spPr>
          </p:pic>
        </mc:Fallback>
      </mc:AlternateContent>
      <mc:AlternateContent xmlns:mc="http://schemas.openxmlformats.org/markup-compatibility/2006">
        <mc:Choice xmlns:p14="http://schemas.microsoft.com/office/powerpoint/2010/main" Requires="p14">
          <p:contentPart p14:bwMode="auto" r:id="rId304">
            <p14:nvContentPartPr>
              <p14:cNvPr id="281" name="Ink 280">
                <a:extLst>
                  <a:ext uri="{FF2B5EF4-FFF2-40B4-BE49-F238E27FC236}">
                    <a16:creationId xmlns:a16="http://schemas.microsoft.com/office/drawing/2014/main" id="{1232B635-0011-4884-8D3D-4B7868703482}"/>
                  </a:ext>
                </a:extLst>
              </p14:cNvPr>
              <p14:cNvContentPartPr/>
              <p14:nvPr/>
            </p14:nvContentPartPr>
            <p14:xfrm>
              <a:off x="5375243" y="4348317"/>
              <a:ext cx="91080" cy="96120"/>
            </p14:xfrm>
          </p:contentPart>
        </mc:Choice>
        <mc:Fallback>
          <p:pic>
            <p:nvPicPr>
              <p:cNvPr id="281" name="Ink 280">
                <a:extLst>
                  <a:ext uri="{FF2B5EF4-FFF2-40B4-BE49-F238E27FC236}">
                    <a16:creationId xmlns:a16="http://schemas.microsoft.com/office/drawing/2014/main" id="{1232B635-0011-4884-8D3D-4B7868703482}"/>
                  </a:ext>
                </a:extLst>
              </p:cNvPr>
              <p:cNvPicPr/>
              <p:nvPr/>
            </p:nvPicPr>
            <p:blipFill>
              <a:blip r:embed="rId305"/>
              <a:stretch>
                <a:fillRect/>
              </a:stretch>
            </p:blipFill>
            <p:spPr>
              <a:xfrm>
                <a:off x="5359763" y="4333197"/>
                <a:ext cx="121680" cy="126720"/>
              </a:xfrm>
              <a:prstGeom prst="rect">
                <a:avLst/>
              </a:prstGeom>
            </p:spPr>
          </p:pic>
        </mc:Fallback>
      </mc:AlternateContent>
      <mc:AlternateContent xmlns:mc="http://schemas.openxmlformats.org/markup-compatibility/2006">
        <mc:Choice xmlns:p14="http://schemas.microsoft.com/office/powerpoint/2010/main" Requires="p14">
          <p:contentPart p14:bwMode="auto" r:id="rId306">
            <p14:nvContentPartPr>
              <p14:cNvPr id="282" name="Ink 281">
                <a:extLst>
                  <a:ext uri="{FF2B5EF4-FFF2-40B4-BE49-F238E27FC236}">
                    <a16:creationId xmlns:a16="http://schemas.microsoft.com/office/drawing/2014/main" id="{EE128C31-3212-B78D-0538-C74115117AC2}"/>
                  </a:ext>
                </a:extLst>
              </p14:cNvPr>
              <p14:cNvContentPartPr/>
              <p14:nvPr/>
            </p14:nvContentPartPr>
            <p14:xfrm>
              <a:off x="5611403" y="4225197"/>
              <a:ext cx="169560" cy="207720"/>
            </p14:xfrm>
          </p:contentPart>
        </mc:Choice>
        <mc:Fallback>
          <p:pic>
            <p:nvPicPr>
              <p:cNvPr id="282" name="Ink 281">
                <a:extLst>
                  <a:ext uri="{FF2B5EF4-FFF2-40B4-BE49-F238E27FC236}">
                    <a16:creationId xmlns:a16="http://schemas.microsoft.com/office/drawing/2014/main" id="{EE128C31-3212-B78D-0538-C74115117AC2}"/>
                  </a:ext>
                </a:extLst>
              </p:cNvPr>
              <p:cNvPicPr/>
              <p:nvPr/>
            </p:nvPicPr>
            <p:blipFill>
              <a:blip r:embed="rId307"/>
              <a:stretch>
                <a:fillRect/>
              </a:stretch>
            </p:blipFill>
            <p:spPr>
              <a:xfrm>
                <a:off x="5596283" y="4210077"/>
                <a:ext cx="200160" cy="238320"/>
              </a:xfrm>
              <a:prstGeom prst="rect">
                <a:avLst/>
              </a:prstGeom>
            </p:spPr>
          </p:pic>
        </mc:Fallback>
      </mc:AlternateContent>
      <mc:AlternateContent xmlns:mc="http://schemas.openxmlformats.org/markup-compatibility/2006">
        <mc:Choice xmlns:p14="http://schemas.microsoft.com/office/powerpoint/2010/main" Requires="p14">
          <p:contentPart p14:bwMode="auto" r:id="rId308">
            <p14:nvContentPartPr>
              <p14:cNvPr id="283" name="Ink 282">
                <a:extLst>
                  <a:ext uri="{FF2B5EF4-FFF2-40B4-BE49-F238E27FC236}">
                    <a16:creationId xmlns:a16="http://schemas.microsoft.com/office/drawing/2014/main" id="{00E5AEFC-D104-9878-CCB2-FA6B1433512D}"/>
                  </a:ext>
                </a:extLst>
              </p14:cNvPr>
              <p14:cNvContentPartPr/>
              <p14:nvPr/>
            </p14:nvContentPartPr>
            <p14:xfrm>
              <a:off x="5881403" y="4200357"/>
              <a:ext cx="59040" cy="96120"/>
            </p14:xfrm>
          </p:contentPart>
        </mc:Choice>
        <mc:Fallback>
          <p:pic>
            <p:nvPicPr>
              <p:cNvPr id="283" name="Ink 282">
                <a:extLst>
                  <a:ext uri="{FF2B5EF4-FFF2-40B4-BE49-F238E27FC236}">
                    <a16:creationId xmlns:a16="http://schemas.microsoft.com/office/drawing/2014/main" id="{00E5AEFC-D104-9878-CCB2-FA6B1433512D}"/>
                  </a:ext>
                </a:extLst>
              </p:cNvPr>
              <p:cNvPicPr/>
              <p:nvPr/>
            </p:nvPicPr>
            <p:blipFill>
              <a:blip r:embed="rId309"/>
              <a:stretch>
                <a:fillRect/>
              </a:stretch>
            </p:blipFill>
            <p:spPr>
              <a:xfrm>
                <a:off x="5866283" y="4184877"/>
                <a:ext cx="89640" cy="126720"/>
              </a:xfrm>
              <a:prstGeom prst="rect">
                <a:avLst/>
              </a:prstGeom>
            </p:spPr>
          </p:pic>
        </mc:Fallback>
      </mc:AlternateContent>
      <mc:AlternateContent xmlns:mc="http://schemas.openxmlformats.org/markup-compatibility/2006">
        <mc:Choice xmlns:p14="http://schemas.microsoft.com/office/powerpoint/2010/main" Requires="p14">
          <p:contentPart p14:bwMode="auto" r:id="rId310">
            <p14:nvContentPartPr>
              <p14:cNvPr id="284" name="Ink 283">
                <a:extLst>
                  <a:ext uri="{FF2B5EF4-FFF2-40B4-BE49-F238E27FC236}">
                    <a16:creationId xmlns:a16="http://schemas.microsoft.com/office/drawing/2014/main" id="{DB7C579B-C7AC-9437-A3D4-DBD5A766E509}"/>
                  </a:ext>
                </a:extLst>
              </p14:cNvPr>
              <p14:cNvContentPartPr/>
              <p14:nvPr/>
            </p14:nvContentPartPr>
            <p14:xfrm>
              <a:off x="6055643" y="4248957"/>
              <a:ext cx="74880" cy="125280"/>
            </p14:xfrm>
          </p:contentPart>
        </mc:Choice>
        <mc:Fallback>
          <p:pic>
            <p:nvPicPr>
              <p:cNvPr id="284" name="Ink 283">
                <a:extLst>
                  <a:ext uri="{FF2B5EF4-FFF2-40B4-BE49-F238E27FC236}">
                    <a16:creationId xmlns:a16="http://schemas.microsoft.com/office/drawing/2014/main" id="{DB7C579B-C7AC-9437-A3D4-DBD5A766E509}"/>
                  </a:ext>
                </a:extLst>
              </p:cNvPr>
              <p:cNvPicPr/>
              <p:nvPr/>
            </p:nvPicPr>
            <p:blipFill>
              <a:blip r:embed="rId311"/>
              <a:stretch>
                <a:fillRect/>
              </a:stretch>
            </p:blipFill>
            <p:spPr>
              <a:xfrm>
                <a:off x="6040163" y="4233837"/>
                <a:ext cx="105480" cy="155880"/>
              </a:xfrm>
              <a:prstGeom prst="rect">
                <a:avLst/>
              </a:prstGeom>
            </p:spPr>
          </p:pic>
        </mc:Fallback>
      </mc:AlternateContent>
      <mc:AlternateContent xmlns:mc="http://schemas.openxmlformats.org/markup-compatibility/2006">
        <mc:Choice xmlns:p14="http://schemas.microsoft.com/office/powerpoint/2010/main" Requires="p14">
          <p:contentPart p14:bwMode="auto" r:id="rId312">
            <p14:nvContentPartPr>
              <p14:cNvPr id="285" name="Ink 284">
                <a:extLst>
                  <a:ext uri="{FF2B5EF4-FFF2-40B4-BE49-F238E27FC236}">
                    <a16:creationId xmlns:a16="http://schemas.microsoft.com/office/drawing/2014/main" id="{D3D58AB8-71C8-0818-2550-F784AC738608}"/>
                  </a:ext>
                </a:extLst>
              </p14:cNvPr>
              <p14:cNvContentPartPr/>
              <p14:nvPr/>
            </p14:nvContentPartPr>
            <p14:xfrm>
              <a:off x="6215483" y="4257597"/>
              <a:ext cx="90720" cy="116640"/>
            </p14:xfrm>
          </p:contentPart>
        </mc:Choice>
        <mc:Fallback>
          <p:pic>
            <p:nvPicPr>
              <p:cNvPr id="285" name="Ink 284">
                <a:extLst>
                  <a:ext uri="{FF2B5EF4-FFF2-40B4-BE49-F238E27FC236}">
                    <a16:creationId xmlns:a16="http://schemas.microsoft.com/office/drawing/2014/main" id="{D3D58AB8-71C8-0818-2550-F784AC738608}"/>
                  </a:ext>
                </a:extLst>
              </p:cNvPr>
              <p:cNvPicPr/>
              <p:nvPr/>
            </p:nvPicPr>
            <p:blipFill>
              <a:blip r:embed="rId313"/>
              <a:stretch>
                <a:fillRect/>
              </a:stretch>
            </p:blipFill>
            <p:spPr>
              <a:xfrm>
                <a:off x="6200363" y="4242117"/>
                <a:ext cx="121320" cy="147240"/>
              </a:xfrm>
              <a:prstGeom prst="rect">
                <a:avLst/>
              </a:prstGeom>
            </p:spPr>
          </p:pic>
        </mc:Fallback>
      </mc:AlternateContent>
      <mc:AlternateContent xmlns:mc="http://schemas.openxmlformats.org/markup-compatibility/2006">
        <mc:Choice xmlns:p14="http://schemas.microsoft.com/office/powerpoint/2010/main" Requires="p14">
          <p:contentPart p14:bwMode="auto" r:id="rId314">
            <p14:nvContentPartPr>
              <p14:cNvPr id="286" name="Ink 285">
                <a:extLst>
                  <a:ext uri="{FF2B5EF4-FFF2-40B4-BE49-F238E27FC236}">
                    <a16:creationId xmlns:a16="http://schemas.microsoft.com/office/drawing/2014/main" id="{F156F8C9-137A-4AF3-B95B-E57AF4DB600B}"/>
                  </a:ext>
                </a:extLst>
              </p14:cNvPr>
              <p14:cNvContentPartPr/>
              <p14:nvPr/>
            </p14:nvContentPartPr>
            <p14:xfrm>
              <a:off x="6206843" y="4288917"/>
              <a:ext cx="81000" cy="86400"/>
            </p14:xfrm>
          </p:contentPart>
        </mc:Choice>
        <mc:Fallback>
          <p:pic>
            <p:nvPicPr>
              <p:cNvPr id="286" name="Ink 285">
                <a:extLst>
                  <a:ext uri="{FF2B5EF4-FFF2-40B4-BE49-F238E27FC236}">
                    <a16:creationId xmlns:a16="http://schemas.microsoft.com/office/drawing/2014/main" id="{F156F8C9-137A-4AF3-B95B-E57AF4DB600B}"/>
                  </a:ext>
                </a:extLst>
              </p:cNvPr>
              <p:cNvPicPr/>
              <p:nvPr/>
            </p:nvPicPr>
            <p:blipFill>
              <a:blip r:embed="rId315"/>
              <a:stretch>
                <a:fillRect/>
              </a:stretch>
            </p:blipFill>
            <p:spPr>
              <a:xfrm>
                <a:off x="6191363" y="4273797"/>
                <a:ext cx="111600" cy="117000"/>
              </a:xfrm>
              <a:prstGeom prst="rect">
                <a:avLst/>
              </a:prstGeom>
            </p:spPr>
          </p:pic>
        </mc:Fallback>
      </mc:AlternateContent>
      <mc:AlternateContent xmlns:mc="http://schemas.openxmlformats.org/markup-compatibility/2006">
        <mc:Choice xmlns:p14="http://schemas.microsoft.com/office/powerpoint/2010/main" Requires="p14">
          <p:contentPart p14:bwMode="auto" r:id="rId316">
            <p14:nvContentPartPr>
              <p14:cNvPr id="287" name="Ink 286">
                <a:extLst>
                  <a:ext uri="{FF2B5EF4-FFF2-40B4-BE49-F238E27FC236}">
                    <a16:creationId xmlns:a16="http://schemas.microsoft.com/office/drawing/2014/main" id="{54BDF1B4-E954-3D42-9DDB-DDE0C7E12CFA}"/>
                  </a:ext>
                </a:extLst>
              </p14:cNvPr>
              <p14:cNvContentPartPr/>
              <p14:nvPr/>
            </p14:nvContentPartPr>
            <p14:xfrm>
              <a:off x="6390803" y="4205757"/>
              <a:ext cx="141480" cy="169920"/>
            </p14:xfrm>
          </p:contentPart>
        </mc:Choice>
        <mc:Fallback>
          <p:pic>
            <p:nvPicPr>
              <p:cNvPr id="287" name="Ink 286">
                <a:extLst>
                  <a:ext uri="{FF2B5EF4-FFF2-40B4-BE49-F238E27FC236}">
                    <a16:creationId xmlns:a16="http://schemas.microsoft.com/office/drawing/2014/main" id="{54BDF1B4-E954-3D42-9DDB-DDE0C7E12CFA}"/>
                  </a:ext>
                </a:extLst>
              </p:cNvPr>
              <p:cNvPicPr/>
              <p:nvPr/>
            </p:nvPicPr>
            <p:blipFill>
              <a:blip r:embed="rId317"/>
              <a:stretch>
                <a:fillRect/>
              </a:stretch>
            </p:blipFill>
            <p:spPr>
              <a:xfrm>
                <a:off x="6375683" y="4190277"/>
                <a:ext cx="172080" cy="200520"/>
              </a:xfrm>
              <a:prstGeom prst="rect">
                <a:avLst/>
              </a:prstGeom>
            </p:spPr>
          </p:pic>
        </mc:Fallback>
      </mc:AlternateContent>
      <mc:AlternateContent xmlns:mc="http://schemas.openxmlformats.org/markup-compatibility/2006">
        <mc:Choice xmlns:p14="http://schemas.microsoft.com/office/powerpoint/2010/main" Requires="p14">
          <p:contentPart p14:bwMode="auto" r:id="rId318">
            <p14:nvContentPartPr>
              <p14:cNvPr id="288" name="Ink 287">
                <a:extLst>
                  <a:ext uri="{FF2B5EF4-FFF2-40B4-BE49-F238E27FC236}">
                    <a16:creationId xmlns:a16="http://schemas.microsoft.com/office/drawing/2014/main" id="{C535819F-8E45-EA45-EE97-392453B30948}"/>
                  </a:ext>
                </a:extLst>
              </p14:cNvPr>
              <p14:cNvContentPartPr/>
              <p14:nvPr/>
            </p14:nvContentPartPr>
            <p14:xfrm>
              <a:off x="6542003" y="4189557"/>
              <a:ext cx="226440" cy="140400"/>
            </p14:xfrm>
          </p:contentPart>
        </mc:Choice>
        <mc:Fallback>
          <p:pic>
            <p:nvPicPr>
              <p:cNvPr id="288" name="Ink 287">
                <a:extLst>
                  <a:ext uri="{FF2B5EF4-FFF2-40B4-BE49-F238E27FC236}">
                    <a16:creationId xmlns:a16="http://schemas.microsoft.com/office/drawing/2014/main" id="{C535819F-8E45-EA45-EE97-392453B30948}"/>
                  </a:ext>
                </a:extLst>
              </p:cNvPr>
              <p:cNvPicPr/>
              <p:nvPr/>
            </p:nvPicPr>
            <p:blipFill>
              <a:blip r:embed="rId319"/>
              <a:stretch>
                <a:fillRect/>
              </a:stretch>
            </p:blipFill>
            <p:spPr>
              <a:xfrm>
                <a:off x="6526883" y="4174437"/>
                <a:ext cx="257040" cy="171000"/>
              </a:xfrm>
              <a:prstGeom prst="rect">
                <a:avLst/>
              </a:prstGeom>
            </p:spPr>
          </p:pic>
        </mc:Fallback>
      </mc:AlternateContent>
      <mc:AlternateContent xmlns:mc="http://schemas.openxmlformats.org/markup-compatibility/2006">
        <mc:Choice xmlns:p14="http://schemas.microsoft.com/office/powerpoint/2010/main" Requires="p14">
          <p:contentPart p14:bwMode="auto" r:id="rId320">
            <p14:nvContentPartPr>
              <p14:cNvPr id="289" name="Ink 288">
                <a:extLst>
                  <a:ext uri="{FF2B5EF4-FFF2-40B4-BE49-F238E27FC236}">
                    <a16:creationId xmlns:a16="http://schemas.microsoft.com/office/drawing/2014/main" id="{CCA2BC38-AE91-DE37-CC53-7C1B0F40BA72}"/>
                  </a:ext>
                </a:extLst>
              </p14:cNvPr>
              <p14:cNvContentPartPr/>
              <p14:nvPr/>
            </p14:nvContentPartPr>
            <p14:xfrm>
              <a:off x="6674483" y="4268037"/>
              <a:ext cx="86760" cy="104040"/>
            </p14:xfrm>
          </p:contentPart>
        </mc:Choice>
        <mc:Fallback>
          <p:pic>
            <p:nvPicPr>
              <p:cNvPr id="289" name="Ink 288">
                <a:extLst>
                  <a:ext uri="{FF2B5EF4-FFF2-40B4-BE49-F238E27FC236}">
                    <a16:creationId xmlns:a16="http://schemas.microsoft.com/office/drawing/2014/main" id="{CCA2BC38-AE91-DE37-CC53-7C1B0F40BA72}"/>
                  </a:ext>
                </a:extLst>
              </p:cNvPr>
              <p:cNvPicPr/>
              <p:nvPr/>
            </p:nvPicPr>
            <p:blipFill>
              <a:blip r:embed="rId321"/>
              <a:stretch>
                <a:fillRect/>
              </a:stretch>
            </p:blipFill>
            <p:spPr>
              <a:xfrm>
                <a:off x="6659363" y="4252917"/>
                <a:ext cx="117360" cy="134640"/>
              </a:xfrm>
              <a:prstGeom prst="rect">
                <a:avLst/>
              </a:prstGeom>
            </p:spPr>
          </p:pic>
        </mc:Fallback>
      </mc:AlternateContent>
      <mc:AlternateContent xmlns:mc="http://schemas.openxmlformats.org/markup-compatibility/2006">
        <mc:Choice xmlns:p14="http://schemas.microsoft.com/office/powerpoint/2010/main" Requires="p14">
          <p:contentPart p14:bwMode="auto" r:id="rId322">
            <p14:nvContentPartPr>
              <p14:cNvPr id="291" name="Ink 290">
                <a:extLst>
                  <a:ext uri="{FF2B5EF4-FFF2-40B4-BE49-F238E27FC236}">
                    <a16:creationId xmlns:a16="http://schemas.microsoft.com/office/drawing/2014/main" id="{38E0FFF4-A351-CAEE-E1CC-137981BF64F4}"/>
                  </a:ext>
                </a:extLst>
              </p14:cNvPr>
              <p14:cNvContentPartPr/>
              <p14:nvPr/>
            </p14:nvContentPartPr>
            <p14:xfrm>
              <a:off x="6737843" y="4289997"/>
              <a:ext cx="97200" cy="77040"/>
            </p14:xfrm>
          </p:contentPart>
        </mc:Choice>
        <mc:Fallback>
          <p:pic>
            <p:nvPicPr>
              <p:cNvPr id="291" name="Ink 290">
                <a:extLst>
                  <a:ext uri="{FF2B5EF4-FFF2-40B4-BE49-F238E27FC236}">
                    <a16:creationId xmlns:a16="http://schemas.microsoft.com/office/drawing/2014/main" id="{38E0FFF4-A351-CAEE-E1CC-137981BF64F4}"/>
                  </a:ext>
                </a:extLst>
              </p:cNvPr>
              <p:cNvPicPr/>
              <p:nvPr/>
            </p:nvPicPr>
            <p:blipFill>
              <a:blip r:embed="rId323"/>
              <a:stretch>
                <a:fillRect/>
              </a:stretch>
            </p:blipFill>
            <p:spPr>
              <a:xfrm>
                <a:off x="6722723" y="4274517"/>
                <a:ext cx="127800" cy="107640"/>
              </a:xfrm>
              <a:prstGeom prst="rect">
                <a:avLst/>
              </a:prstGeom>
            </p:spPr>
          </p:pic>
        </mc:Fallback>
      </mc:AlternateContent>
      <mc:AlternateContent xmlns:mc="http://schemas.openxmlformats.org/markup-compatibility/2006">
        <mc:Choice xmlns:p14="http://schemas.microsoft.com/office/powerpoint/2010/main" Requires="p14">
          <p:contentPart p14:bwMode="auto" r:id="rId324">
            <p14:nvContentPartPr>
              <p14:cNvPr id="292" name="Ink 291">
                <a:extLst>
                  <a:ext uri="{FF2B5EF4-FFF2-40B4-BE49-F238E27FC236}">
                    <a16:creationId xmlns:a16="http://schemas.microsoft.com/office/drawing/2014/main" id="{54237741-CEFB-5342-2E5A-D8EA6BB92E07}"/>
                  </a:ext>
                </a:extLst>
              </p14:cNvPr>
              <p14:cNvContentPartPr/>
              <p14:nvPr/>
            </p14:nvContentPartPr>
            <p14:xfrm>
              <a:off x="7042763" y="4244997"/>
              <a:ext cx="76680" cy="23400"/>
            </p14:xfrm>
          </p:contentPart>
        </mc:Choice>
        <mc:Fallback>
          <p:pic>
            <p:nvPicPr>
              <p:cNvPr id="292" name="Ink 291">
                <a:extLst>
                  <a:ext uri="{FF2B5EF4-FFF2-40B4-BE49-F238E27FC236}">
                    <a16:creationId xmlns:a16="http://schemas.microsoft.com/office/drawing/2014/main" id="{54237741-CEFB-5342-2E5A-D8EA6BB92E07}"/>
                  </a:ext>
                </a:extLst>
              </p:cNvPr>
              <p:cNvPicPr/>
              <p:nvPr/>
            </p:nvPicPr>
            <p:blipFill>
              <a:blip r:embed="rId325"/>
              <a:stretch>
                <a:fillRect/>
              </a:stretch>
            </p:blipFill>
            <p:spPr>
              <a:xfrm>
                <a:off x="7027283" y="4229877"/>
                <a:ext cx="107280" cy="53640"/>
              </a:xfrm>
              <a:prstGeom prst="rect">
                <a:avLst/>
              </a:prstGeom>
            </p:spPr>
          </p:pic>
        </mc:Fallback>
      </mc:AlternateContent>
      <mc:AlternateContent xmlns:mc="http://schemas.openxmlformats.org/markup-compatibility/2006">
        <mc:Choice xmlns:p14="http://schemas.microsoft.com/office/powerpoint/2010/main" Requires="p14">
          <p:contentPart p14:bwMode="auto" r:id="rId326">
            <p14:nvContentPartPr>
              <p14:cNvPr id="293" name="Ink 292">
                <a:extLst>
                  <a:ext uri="{FF2B5EF4-FFF2-40B4-BE49-F238E27FC236}">
                    <a16:creationId xmlns:a16="http://schemas.microsoft.com/office/drawing/2014/main" id="{463A769B-E6B1-1BE8-0492-E993F517DA37}"/>
                  </a:ext>
                </a:extLst>
              </p14:cNvPr>
              <p14:cNvContentPartPr/>
              <p14:nvPr/>
            </p14:nvContentPartPr>
            <p14:xfrm>
              <a:off x="7037723" y="4301157"/>
              <a:ext cx="10440" cy="6840"/>
            </p14:xfrm>
          </p:contentPart>
        </mc:Choice>
        <mc:Fallback>
          <p:pic>
            <p:nvPicPr>
              <p:cNvPr id="293" name="Ink 292">
                <a:extLst>
                  <a:ext uri="{FF2B5EF4-FFF2-40B4-BE49-F238E27FC236}">
                    <a16:creationId xmlns:a16="http://schemas.microsoft.com/office/drawing/2014/main" id="{463A769B-E6B1-1BE8-0492-E993F517DA37}"/>
                  </a:ext>
                </a:extLst>
              </p:cNvPr>
              <p:cNvPicPr/>
              <p:nvPr/>
            </p:nvPicPr>
            <p:blipFill>
              <a:blip r:embed="rId327"/>
              <a:stretch>
                <a:fillRect/>
              </a:stretch>
            </p:blipFill>
            <p:spPr>
              <a:xfrm>
                <a:off x="7022243" y="4286037"/>
                <a:ext cx="41040" cy="37440"/>
              </a:xfrm>
              <a:prstGeom prst="rect">
                <a:avLst/>
              </a:prstGeom>
            </p:spPr>
          </p:pic>
        </mc:Fallback>
      </mc:AlternateContent>
      <mc:AlternateContent xmlns:mc="http://schemas.openxmlformats.org/markup-compatibility/2006">
        <mc:Choice xmlns:p14="http://schemas.microsoft.com/office/powerpoint/2010/main" Requires="p14">
          <p:contentPart p14:bwMode="auto" r:id="rId328">
            <p14:nvContentPartPr>
              <p14:cNvPr id="294" name="Ink 293">
                <a:extLst>
                  <a:ext uri="{FF2B5EF4-FFF2-40B4-BE49-F238E27FC236}">
                    <a16:creationId xmlns:a16="http://schemas.microsoft.com/office/drawing/2014/main" id="{08CEFED4-C95B-EAEB-14F4-A0615A7ACD26}"/>
                  </a:ext>
                </a:extLst>
              </p14:cNvPr>
              <p14:cNvContentPartPr/>
              <p14:nvPr/>
            </p14:nvContentPartPr>
            <p14:xfrm>
              <a:off x="7003523" y="4181997"/>
              <a:ext cx="175320" cy="186480"/>
            </p14:xfrm>
          </p:contentPart>
        </mc:Choice>
        <mc:Fallback>
          <p:pic>
            <p:nvPicPr>
              <p:cNvPr id="294" name="Ink 293">
                <a:extLst>
                  <a:ext uri="{FF2B5EF4-FFF2-40B4-BE49-F238E27FC236}">
                    <a16:creationId xmlns:a16="http://schemas.microsoft.com/office/drawing/2014/main" id="{08CEFED4-C95B-EAEB-14F4-A0615A7ACD26}"/>
                  </a:ext>
                </a:extLst>
              </p:cNvPr>
              <p:cNvPicPr/>
              <p:nvPr/>
            </p:nvPicPr>
            <p:blipFill>
              <a:blip r:embed="rId329"/>
              <a:stretch>
                <a:fillRect/>
              </a:stretch>
            </p:blipFill>
            <p:spPr>
              <a:xfrm>
                <a:off x="6988043" y="4166517"/>
                <a:ext cx="205560" cy="217080"/>
              </a:xfrm>
              <a:prstGeom prst="rect">
                <a:avLst/>
              </a:prstGeom>
            </p:spPr>
          </p:pic>
        </mc:Fallback>
      </mc:AlternateContent>
      <mc:AlternateContent xmlns:mc="http://schemas.openxmlformats.org/markup-compatibility/2006">
        <mc:Choice xmlns:p14="http://schemas.microsoft.com/office/powerpoint/2010/main" Requires="p14">
          <p:contentPart p14:bwMode="auto" r:id="rId330">
            <p14:nvContentPartPr>
              <p14:cNvPr id="295" name="Ink 294">
                <a:extLst>
                  <a:ext uri="{FF2B5EF4-FFF2-40B4-BE49-F238E27FC236}">
                    <a16:creationId xmlns:a16="http://schemas.microsoft.com/office/drawing/2014/main" id="{E28CACD8-9845-07FD-5096-6DCF9EA220FD}"/>
                  </a:ext>
                </a:extLst>
              </p14:cNvPr>
              <p14:cNvContentPartPr/>
              <p14:nvPr/>
            </p14:nvContentPartPr>
            <p14:xfrm>
              <a:off x="7023683" y="4251117"/>
              <a:ext cx="90720" cy="123120"/>
            </p14:xfrm>
          </p:contentPart>
        </mc:Choice>
        <mc:Fallback>
          <p:pic>
            <p:nvPicPr>
              <p:cNvPr id="295" name="Ink 294">
                <a:extLst>
                  <a:ext uri="{FF2B5EF4-FFF2-40B4-BE49-F238E27FC236}">
                    <a16:creationId xmlns:a16="http://schemas.microsoft.com/office/drawing/2014/main" id="{E28CACD8-9845-07FD-5096-6DCF9EA220FD}"/>
                  </a:ext>
                </a:extLst>
              </p:cNvPr>
              <p:cNvPicPr/>
              <p:nvPr/>
            </p:nvPicPr>
            <p:blipFill>
              <a:blip r:embed="rId331"/>
              <a:stretch>
                <a:fillRect/>
              </a:stretch>
            </p:blipFill>
            <p:spPr>
              <a:xfrm>
                <a:off x="7008563" y="4235997"/>
                <a:ext cx="120960" cy="153720"/>
              </a:xfrm>
              <a:prstGeom prst="rect">
                <a:avLst/>
              </a:prstGeom>
            </p:spPr>
          </p:pic>
        </mc:Fallback>
      </mc:AlternateContent>
      <mc:AlternateContent xmlns:mc="http://schemas.openxmlformats.org/markup-compatibility/2006">
        <mc:Choice xmlns:p14="http://schemas.microsoft.com/office/powerpoint/2010/main" Requires="p14">
          <p:contentPart p14:bwMode="auto" r:id="rId332">
            <p14:nvContentPartPr>
              <p14:cNvPr id="296" name="Ink 295">
                <a:extLst>
                  <a:ext uri="{FF2B5EF4-FFF2-40B4-BE49-F238E27FC236}">
                    <a16:creationId xmlns:a16="http://schemas.microsoft.com/office/drawing/2014/main" id="{5E6F4CE1-0B3E-76C9-158A-6A9E0AFF88AA}"/>
                  </a:ext>
                </a:extLst>
              </p14:cNvPr>
              <p14:cNvContentPartPr/>
              <p14:nvPr/>
            </p14:nvContentPartPr>
            <p14:xfrm>
              <a:off x="7152203" y="4287477"/>
              <a:ext cx="92520" cy="136800"/>
            </p14:xfrm>
          </p:contentPart>
        </mc:Choice>
        <mc:Fallback>
          <p:pic>
            <p:nvPicPr>
              <p:cNvPr id="296" name="Ink 295">
                <a:extLst>
                  <a:ext uri="{FF2B5EF4-FFF2-40B4-BE49-F238E27FC236}">
                    <a16:creationId xmlns:a16="http://schemas.microsoft.com/office/drawing/2014/main" id="{5E6F4CE1-0B3E-76C9-158A-6A9E0AFF88AA}"/>
                  </a:ext>
                </a:extLst>
              </p:cNvPr>
              <p:cNvPicPr/>
              <p:nvPr/>
            </p:nvPicPr>
            <p:blipFill>
              <a:blip r:embed="rId333"/>
              <a:stretch>
                <a:fillRect/>
              </a:stretch>
            </p:blipFill>
            <p:spPr>
              <a:xfrm>
                <a:off x="7136723" y="4271997"/>
                <a:ext cx="123120" cy="167400"/>
              </a:xfrm>
              <a:prstGeom prst="rect">
                <a:avLst/>
              </a:prstGeom>
            </p:spPr>
          </p:pic>
        </mc:Fallback>
      </mc:AlternateContent>
      <mc:AlternateContent xmlns:mc="http://schemas.openxmlformats.org/markup-compatibility/2006">
        <mc:Choice xmlns:p14="http://schemas.microsoft.com/office/powerpoint/2010/main" Requires="p14">
          <p:contentPart p14:bwMode="auto" r:id="rId334">
            <p14:nvContentPartPr>
              <p14:cNvPr id="299" name="Ink 298">
                <a:extLst>
                  <a:ext uri="{FF2B5EF4-FFF2-40B4-BE49-F238E27FC236}">
                    <a16:creationId xmlns:a16="http://schemas.microsoft.com/office/drawing/2014/main" id="{75206FB0-3184-8A35-4F2C-1DA806377B10}"/>
                  </a:ext>
                </a:extLst>
              </p14:cNvPr>
              <p14:cNvContentPartPr/>
              <p14:nvPr/>
            </p14:nvContentPartPr>
            <p14:xfrm>
              <a:off x="4884203" y="4345077"/>
              <a:ext cx="136800" cy="463680"/>
            </p14:xfrm>
          </p:contentPart>
        </mc:Choice>
        <mc:Fallback>
          <p:pic>
            <p:nvPicPr>
              <p:cNvPr id="299" name="Ink 298">
                <a:extLst>
                  <a:ext uri="{FF2B5EF4-FFF2-40B4-BE49-F238E27FC236}">
                    <a16:creationId xmlns:a16="http://schemas.microsoft.com/office/drawing/2014/main" id="{75206FB0-3184-8A35-4F2C-1DA806377B10}"/>
                  </a:ext>
                </a:extLst>
              </p:cNvPr>
              <p:cNvPicPr/>
              <p:nvPr/>
            </p:nvPicPr>
            <p:blipFill>
              <a:blip r:embed="rId335"/>
              <a:stretch>
                <a:fillRect/>
              </a:stretch>
            </p:blipFill>
            <p:spPr>
              <a:xfrm>
                <a:off x="4869083" y="4329597"/>
                <a:ext cx="167400" cy="493920"/>
              </a:xfrm>
              <a:prstGeom prst="rect">
                <a:avLst/>
              </a:prstGeom>
            </p:spPr>
          </p:pic>
        </mc:Fallback>
      </mc:AlternateContent>
      <mc:AlternateContent xmlns:mc="http://schemas.openxmlformats.org/markup-compatibility/2006">
        <mc:Choice xmlns:p14="http://schemas.microsoft.com/office/powerpoint/2010/main" Requires="p14">
          <p:contentPart p14:bwMode="auto" r:id="rId336">
            <p14:nvContentPartPr>
              <p14:cNvPr id="307" name="Ink 306">
                <a:extLst>
                  <a:ext uri="{FF2B5EF4-FFF2-40B4-BE49-F238E27FC236}">
                    <a16:creationId xmlns:a16="http://schemas.microsoft.com/office/drawing/2014/main" id="{BBEADE86-B2E0-3BA3-2FF7-CBA903C4EB6E}"/>
                  </a:ext>
                </a:extLst>
              </p14:cNvPr>
              <p14:cNvContentPartPr/>
              <p14:nvPr/>
            </p14:nvContentPartPr>
            <p14:xfrm>
              <a:off x="2610803" y="3661077"/>
              <a:ext cx="2136600" cy="535320"/>
            </p14:xfrm>
          </p:contentPart>
        </mc:Choice>
        <mc:Fallback>
          <p:pic>
            <p:nvPicPr>
              <p:cNvPr id="307" name="Ink 306">
                <a:extLst>
                  <a:ext uri="{FF2B5EF4-FFF2-40B4-BE49-F238E27FC236}">
                    <a16:creationId xmlns:a16="http://schemas.microsoft.com/office/drawing/2014/main" id="{BBEADE86-B2E0-3BA3-2FF7-CBA903C4EB6E}"/>
                  </a:ext>
                </a:extLst>
              </p:cNvPr>
              <p:cNvPicPr/>
              <p:nvPr/>
            </p:nvPicPr>
            <p:blipFill>
              <a:blip r:embed="rId337"/>
              <a:stretch>
                <a:fillRect/>
              </a:stretch>
            </p:blipFill>
            <p:spPr>
              <a:xfrm>
                <a:off x="2595683" y="3645957"/>
                <a:ext cx="2167200" cy="565920"/>
              </a:xfrm>
              <a:prstGeom prst="rect">
                <a:avLst/>
              </a:prstGeom>
            </p:spPr>
          </p:pic>
        </mc:Fallback>
      </mc:AlternateContent>
      <p:grpSp>
        <p:nvGrpSpPr>
          <p:cNvPr id="310" name="Group 309">
            <a:extLst>
              <a:ext uri="{FF2B5EF4-FFF2-40B4-BE49-F238E27FC236}">
                <a16:creationId xmlns:a16="http://schemas.microsoft.com/office/drawing/2014/main" id="{AFE8FF0A-519F-EC13-85A6-9250CDF76271}"/>
              </a:ext>
            </a:extLst>
          </p:cNvPr>
          <p:cNvGrpSpPr/>
          <p:nvPr/>
        </p:nvGrpSpPr>
        <p:grpSpPr>
          <a:xfrm>
            <a:off x="2726363" y="3689517"/>
            <a:ext cx="1778040" cy="498960"/>
            <a:chOff x="2726363" y="3689517"/>
            <a:chExt cx="1778040" cy="498960"/>
          </a:xfrm>
        </p:grpSpPr>
        <mc:AlternateContent xmlns:mc="http://schemas.openxmlformats.org/markup-compatibility/2006">
          <mc:Choice xmlns:p14="http://schemas.microsoft.com/office/powerpoint/2010/main" Requires="p14">
            <p:contentPart p14:bwMode="auto" r:id="rId338">
              <p14:nvContentPartPr>
                <p14:cNvPr id="35" name="Ink 34">
                  <a:extLst>
                    <a:ext uri="{FF2B5EF4-FFF2-40B4-BE49-F238E27FC236}">
                      <a16:creationId xmlns:a16="http://schemas.microsoft.com/office/drawing/2014/main" id="{16CB924C-6194-5342-93FA-EA7DB4C94C8A}"/>
                    </a:ext>
                  </a:extLst>
                </p14:cNvPr>
                <p14:cNvContentPartPr/>
                <p14:nvPr/>
              </p14:nvContentPartPr>
              <p14:xfrm>
                <a:off x="2726363" y="3802197"/>
                <a:ext cx="163440" cy="245160"/>
              </p14:xfrm>
            </p:contentPart>
          </mc:Choice>
          <mc:Fallback>
            <p:pic>
              <p:nvPicPr>
                <p:cNvPr id="35" name="Ink 34">
                  <a:extLst>
                    <a:ext uri="{FF2B5EF4-FFF2-40B4-BE49-F238E27FC236}">
                      <a16:creationId xmlns:a16="http://schemas.microsoft.com/office/drawing/2014/main" id="{16CB924C-6194-5342-93FA-EA7DB4C94C8A}"/>
                    </a:ext>
                  </a:extLst>
                </p:cNvPr>
                <p:cNvPicPr/>
                <p:nvPr/>
              </p:nvPicPr>
              <p:blipFill>
                <a:blip r:embed="rId339"/>
                <a:stretch>
                  <a:fillRect/>
                </a:stretch>
              </p:blipFill>
              <p:spPr>
                <a:xfrm>
                  <a:off x="2711243" y="3786717"/>
                  <a:ext cx="193680" cy="275760"/>
                </a:xfrm>
                <a:prstGeom prst="rect">
                  <a:avLst/>
                </a:prstGeom>
              </p:spPr>
            </p:pic>
          </mc:Fallback>
        </mc:AlternateContent>
        <mc:AlternateContent xmlns:mc="http://schemas.openxmlformats.org/markup-compatibility/2006">
          <mc:Choice xmlns:p14="http://schemas.microsoft.com/office/powerpoint/2010/main" Requires="p14">
            <p:contentPart p14:bwMode="auto" r:id="rId340">
              <p14:nvContentPartPr>
                <p14:cNvPr id="36" name="Ink 35">
                  <a:extLst>
                    <a:ext uri="{FF2B5EF4-FFF2-40B4-BE49-F238E27FC236}">
                      <a16:creationId xmlns:a16="http://schemas.microsoft.com/office/drawing/2014/main" id="{58B054AB-6AB7-35A0-7A53-C64D8FFDF292}"/>
                    </a:ext>
                  </a:extLst>
                </p14:cNvPr>
                <p14:cNvContentPartPr/>
                <p14:nvPr/>
              </p14:nvContentPartPr>
              <p14:xfrm>
                <a:off x="2940203" y="3787437"/>
                <a:ext cx="72720" cy="114120"/>
              </p14:xfrm>
            </p:contentPart>
          </mc:Choice>
          <mc:Fallback>
            <p:pic>
              <p:nvPicPr>
                <p:cNvPr id="36" name="Ink 35">
                  <a:extLst>
                    <a:ext uri="{FF2B5EF4-FFF2-40B4-BE49-F238E27FC236}">
                      <a16:creationId xmlns:a16="http://schemas.microsoft.com/office/drawing/2014/main" id="{58B054AB-6AB7-35A0-7A53-C64D8FFDF292}"/>
                    </a:ext>
                  </a:extLst>
                </p:cNvPr>
                <p:cNvPicPr/>
                <p:nvPr/>
              </p:nvPicPr>
              <p:blipFill>
                <a:blip r:embed="rId341"/>
                <a:stretch>
                  <a:fillRect/>
                </a:stretch>
              </p:blipFill>
              <p:spPr>
                <a:xfrm>
                  <a:off x="2924723" y="3772317"/>
                  <a:ext cx="103320" cy="144360"/>
                </a:xfrm>
                <a:prstGeom prst="rect">
                  <a:avLst/>
                </a:prstGeom>
              </p:spPr>
            </p:pic>
          </mc:Fallback>
        </mc:AlternateContent>
        <mc:AlternateContent xmlns:mc="http://schemas.openxmlformats.org/markup-compatibility/2006">
          <mc:Choice xmlns:p14="http://schemas.microsoft.com/office/powerpoint/2010/main" Requires="p14">
            <p:contentPart p14:bwMode="auto" r:id="rId342">
              <p14:nvContentPartPr>
                <p14:cNvPr id="37" name="Ink 36">
                  <a:extLst>
                    <a:ext uri="{FF2B5EF4-FFF2-40B4-BE49-F238E27FC236}">
                      <a16:creationId xmlns:a16="http://schemas.microsoft.com/office/drawing/2014/main" id="{631A99FE-6DF8-F7EB-E4E1-F513C228D572}"/>
                    </a:ext>
                  </a:extLst>
                </p14:cNvPr>
                <p14:cNvContentPartPr/>
                <p14:nvPr/>
              </p14:nvContentPartPr>
              <p14:xfrm>
                <a:off x="3095003" y="3872037"/>
                <a:ext cx="88200" cy="122040"/>
              </p14:xfrm>
            </p:contentPart>
          </mc:Choice>
          <mc:Fallback>
            <p:pic>
              <p:nvPicPr>
                <p:cNvPr id="37" name="Ink 36">
                  <a:extLst>
                    <a:ext uri="{FF2B5EF4-FFF2-40B4-BE49-F238E27FC236}">
                      <a16:creationId xmlns:a16="http://schemas.microsoft.com/office/drawing/2014/main" id="{631A99FE-6DF8-F7EB-E4E1-F513C228D572}"/>
                    </a:ext>
                  </a:extLst>
                </p:cNvPr>
                <p:cNvPicPr/>
                <p:nvPr/>
              </p:nvPicPr>
              <p:blipFill>
                <a:blip r:embed="rId343"/>
                <a:stretch>
                  <a:fillRect/>
                </a:stretch>
              </p:blipFill>
              <p:spPr>
                <a:xfrm>
                  <a:off x="3079883" y="3856917"/>
                  <a:ext cx="118800" cy="152640"/>
                </a:xfrm>
                <a:prstGeom prst="rect">
                  <a:avLst/>
                </a:prstGeom>
              </p:spPr>
            </p:pic>
          </mc:Fallback>
        </mc:AlternateContent>
        <mc:AlternateContent xmlns:mc="http://schemas.openxmlformats.org/markup-compatibility/2006">
          <mc:Choice xmlns:p14="http://schemas.microsoft.com/office/powerpoint/2010/main" Requires="p14">
            <p:contentPart p14:bwMode="auto" r:id="rId344">
              <p14:nvContentPartPr>
                <p14:cNvPr id="38" name="Ink 37">
                  <a:extLst>
                    <a:ext uri="{FF2B5EF4-FFF2-40B4-BE49-F238E27FC236}">
                      <a16:creationId xmlns:a16="http://schemas.microsoft.com/office/drawing/2014/main" id="{12BF6161-E4F5-3F1B-6CEA-36BB8156A003}"/>
                    </a:ext>
                  </a:extLst>
                </p14:cNvPr>
                <p14:cNvContentPartPr/>
                <p14:nvPr/>
              </p14:nvContentPartPr>
              <p14:xfrm>
                <a:off x="3301283" y="3828117"/>
                <a:ext cx="106200" cy="141840"/>
              </p14:xfrm>
            </p:contentPart>
          </mc:Choice>
          <mc:Fallback>
            <p:pic>
              <p:nvPicPr>
                <p:cNvPr id="38" name="Ink 37">
                  <a:extLst>
                    <a:ext uri="{FF2B5EF4-FFF2-40B4-BE49-F238E27FC236}">
                      <a16:creationId xmlns:a16="http://schemas.microsoft.com/office/drawing/2014/main" id="{12BF6161-E4F5-3F1B-6CEA-36BB8156A003}"/>
                    </a:ext>
                  </a:extLst>
                </p:cNvPr>
                <p:cNvPicPr/>
                <p:nvPr/>
              </p:nvPicPr>
              <p:blipFill>
                <a:blip r:embed="rId345"/>
                <a:stretch>
                  <a:fillRect/>
                </a:stretch>
              </p:blipFill>
              <p:spPr>
                <a:xfrm>
                  <a:off x="3286163" y="3812637"/>
                  <a:ext cx="136440" cy="172440"/>
                </a:xfrm>
                <a:prstGeom prst="rect">
                  <a:avLst/>
                </a:prstGeom>
              </p:spPr>
            </p:pic>
          </mc:Fallback>
        </mc:AlternateContent>
        <mc:AlternateContent xmlns:mc="http://schemas.openxmlformats.org/markup-compatibility/2006">
          <mc:Choice xmlns:p14="http://schemas.microsoft.com/office/powerpoint/2010/main" Requires="p14">
            <p:contentPart p14:bwMode="auto" r:id="rId346">
              <p14:nvContentPartPr>
                <p14:cNvPr id="39" name="Ink 38">
                  <a:extLst>
                    <a:ext uri="{FF2B5EF4-FFF2-40B4-BE49-F238E27FC236}">
                      <a16:creationId xmlns:a16="http://schemas.microsoft.com/office/drawing/2014/main" id="{F8858E33-45D1-F9AC-1D6F-97346E2EFDAF}"/>
                    </a:ext>
                  </a:extLst>
                </p14:cNvPr>
                <p14:cNvContentPartPr/>
                <p14:nvPr/>
              </p14:nvContentPartPr>
              <p14:xfrm>
                <a:off x="3286523" y="3835677"/>
                <a:ext cx="106200" cy="170280"/>
              </p14:xfrm>
            </p:contentPart>
          </mc:Choice>
          <mc:Fallback>
            <p:pic>
              <p:nvPicPr>
                <p:cNvPr id="39" name="Ink 38">
                  <a:extLst>
                    <a:ext uri="{FF2B5EF4-FFF2-40B4-BE49-F238E27FC236}">
                      <a16:creationId xmlns:a16="http://schemas.microsoft.com/office/drawing/2014/main" id="{F8858E33-45D1-F9AC-1D6F-97346E2EFDAF}"/>
                    </a:ext>
                  </a:extLst>
                </p:cNvPr>
                <p:cNvPicPr/>
                <p:nvPr/>
              </p:nvPicPr>
              <p:blipFill>
                <a:blip r:embed="rId347"/>
                <a:stretch>
                  <a:fillRect/>
                </a:stretch>
              </p:blipFill>
              <p:spPr>
                <a:xfrm>
                  <a:off x="3271403" y="3820557"/>
                  <a:ext cx="136800" cy="200880"/>
                </a:xfrm>
                <a:prstGeom prst="rect">
                  <a:avLst/>
                </a:prstGeom>
              </p:spPr>
            </p:pic>
          </mc:Fallback>
        </mc:AlternateContent>
        <mc:AlternateContent xmlns:mc="http://schemas.openxmlformats.org/markup-compatibility/2006">
          <mc:Choice xmlns:p14="http://schemas.microsoft.com/office/powerpoint/2010/main" Requires="p14">
            <p:contentPart p14:bwMode="auto" r:id="rId348">
              <p14:nvContentPartPr>
                <p14:cNvPr id="42" name="Ink 41">
                  <a:extLst>
                    <a:ext uri="{FF2B5EF4-FFF2-40B4-BE49-F238E27FC236}">
                      <a16:creationId xmlns:a16="http://schemas.microsoft.com/office/drawing/2014/main" id="{F607D7FC-A577-B057-090D-A05D888EB376}"/>
                    </a:ext>
                  </a:extLst>
                </p14:cNvPr>
                <p14:cNvContentPartPr/>
                <p14:nvPr/>
              </p14:nvContentPartPr>
              <p14:xfrm>
                <a:off x="3571283" y="3819837"/>
                <a:ext cx="141120" cy="190440"/>
              </p14:xfrm>
            </p:contentPart>
          </mc:Choice>
          <mc:Fallback>
            <p:pic>
              <p:nvPicPr>
                <p:cNvPr id="42" name="Ink 41">
                  <a:extLst>
                    <a:ext uri="{FF2B5EF4-FFF2-40B4-BE49-F238E27FC236}">
                      <a16:creationId xmlns:a16="http://schemas.microsoft.com/office/drawing/2014/main" id="{F607D7FC-A577-B057-090D-A05D888EB376}"/>
                    </a:ext>
                  </a:extLst>
                </p:cNvPr>
                <p:cNvPicPr/>
                <p:nvPr/>
              </p:nvPicPr>
              <p:blipFill>
                <a:blip r:embed="rId349"/>
                <a:stretch>
                  <a:fillRect/>
                </a:stretch>
              </p:blipFill>
              <p:spPr>
                <a:xfrm>
                  <a:off x="3556163" y="3804357"/>
                  <a:ext cx="171720" cy="221040"/>
                </a:xfrm>
                <a:prstGeom prst="rect">
                  <a:avLst/>
                </a:prstGeom>
              </p:spPr>
            </p:pic>
          </mc:Fallback>
        </mc:AlternateContent>
        <mc:AlternateContent xmlns:mc="http://schemas.openxmlformats.org/markup-compatibility/2006">
          <mc:Choice xmlns:p14="http://schemas.microsoft.com/office/powerpoint/2010/main" Requires="p14">
            <p:contentPart p14:bwMode="auto" r:id="rId350">
              <p14:nvContentPartPr>
                <p14:cNvPr id="43" name="Ink 42">
                  <a:extLst>
                    <a:ext uri="{FF2B5EF4-FFF2-40B4-BE49-F238E27FC236}">
                      <a16:creationId xmlns:a16="http://schemas.microsoft.com/office/drawing/2014/main" id="{2AEECDA1-F857-7687-6D41-650B1B24EE06}"/>
                    </a:ext>
                  </a:extLst>
                </p14:cNvPr>
                <p14:cNvContentPartPr/>
                <p14:nvPr/>
              </p14:nvContentPartPr>
              <p14:xfrm>
                <a:off x="3743723" y="3797157"/>
                <a:ext cx="129600" cy="206640"/>
              </p14:xfrm>
            </p:contentPart>
          </mc:Choice>
          <mc:Fallback>
            <p:pic>
              <p:nvPicPr>
                <p:cNvPr id="43" name="Ink 42">
                  <a:extLst>
                    <a:ext uri="{FF2B5EF4-FFF2-40B4-BE49-F238E27FC236}">
                      <a16:creationId xmlns:a16="http://schemas.microsoft.com/office/drawing/2014/main" id="{2AEECDA1-F857-7687-6D41-650B1B24EE06}"/>
                    </a:ext>
                  </a:extLst>
                </p:cNvPr>
                <p:cNvPicPr/>
                <p:nvPr/>
              </p:nvPicPr>
              <p:blipFill>
                <a:blip r:embed="rId351"/>
                <a:stretch>
                  <a:fillRect/>
                </a:stretch>
              </p:blipFill>
              <p:spPr>
                <a:xfrm>
                  <a:off x="3728603" y="3782037"/>
                  <a:ext cx="160200" cy="237240"/>
                </a:xfrm>
                <a:prstGeom prst="rect">
                  <a:avLst/>
                </a:prstGeom>
              </p:spPr>
            </p:pic>
          </mc:Fallback>
        </mc:AlternateContent>
        <mc:AlternateContent xmlns:mc="http://schemas.openxmlformats.org/markup-compatibility/2006">
          <mc:Choice xmlns:p14="http://schemas.microsoft.com/office/powerpoint/2010/main" Requires="p14">
            <p:contentPart p14:bwMode="auto" r:id="rId352">
              <p14:nvContentPartPr>
                <p14:cNvPr id="44" name="Ink 43">
                  <a:extLst>
                    <a:ext uri="{FF2B5EF4-FFF2-40B4-BE49-F238E27FC236}">
                      <a16:creationId xmlns:a16="http://schemas.microsoft.com/office/drawing/2014/main" id="{9377526E-68B0-AEF3-FC64-619BAC90FD27}"/>
                    </a:ext>
                  </a:extLst>
                </p14:cNvPr>
                <p14:cNvContentPartPr/>
                <p14:nvPr/>
              </p14:nvContentPartPr>
              <p14:xfrm>
                <a:off x="3895283" y="3942237"/>
                <a:ext cx="72360" cy="82440"/>
              </p14:xfrm>
            </p:contentPart>
          </mc:Choice>
          <mc:Fallback>
            <p:pic>
              <p:nvPicPr>
                <p:cNvPr id="44" name="Ink 43">
                  <a:extLst>
                    <a:ext uri="{FF2B5EF4-FFF2-40B4-BE49-F238E27FC236}">
                      <a16:creationId xmlns:a16="http://schemas.microsoft.com/office/drawing/2014/main" id="{9377526E-68B0-AEF3-FC64-619BAC90FD27}"/>
                    </a:ext>
                  </a:extLst>
                </p:cNvPr>
                <p:cNvPicPr/>
                <p:nvPr/>
              </p:nvPicPr>
              <p:blipFill>
                <a:blip r:embed="rId353"/>
                <a:stretch>
                  <a:fillRect/>
                </a:stretch>
              </p:blipFill>
              <p:spPr>
                <a:xfrm>
                  <a:off x="3880163" y="3927117"/>
                  <a:ext cx="102960" cy="113040"/>
                </a:xfrm>
                <a:prstGeom prst="rect">
                  <a:avLst/>
                </a:prstGeom>
              </p:spPr>
            </p:pic>
          </mc:Fallback>
        </mc:AlternateContent>
        <mc:AlternateContent xmlns:mc="http://schemas.openxmlformats.org/markup-compatibility/2006">
          <mc:Choice xmlns:p14="http://schemas.microsoft.com/office/powerpoint/2010/main" Requires="p14">
            <p:contentPart p14:bwMode="auto" r:id="rId354">
              <p14:nvContentPartPr>
                <p14:cNvPr id="45" name="Ink 44">
                  <a:extLst>
                    <a:ext uri="{FF2B5EF4-FFF2-40B4-BE49-F238E27FC236}">
                      <a16:creationId xmlns:a16="http://schemas.microsoft.com/office/drawing/2014/main" id="{EB227737-AA1F-4D30-EEF1-46AEED350BC1}"/>
                    </a:ext>
                  </a:extLst>
                </p14:cNvPr>
                <p14:cNvContentPartPr/>
                <p14:nvPr/>
              </p14:nvContentPartPr>
              <p14:xfrm>
                <a:off x="4094363" y="3810477"/>
                <a:ext cx="119160" cy="150480"/>
              </p14:xfrm>
            </p:contentPart>
          </mc:Choice>
          <mc:Fallback>
            <p:pic>
              <p:nvPicPr>
                <p:cNvPr id="45" name="Ink 44">
                  <a:extLst>
                    <a:ext uri="{FF2B5EF4-FFF2-40B4-BE49-F238E27FC236}">
                      <a16:creationId xmlns:a16="http://schemas.microsoft.com/office/drawing/2014/main" id="{EB227737-AA1F-4D30-EEF1-46AEED350BC1}"/>
                    </a:ext>
                  </a:extLst>
                </p:cNvPr>
                <p:cNvPicPr/>
                <p:nvPr/>
              </p:nvPicPr>
              <p:blipFill>
                <a:blip r:embed="rId355"/>
                <a:stretch>
                  <a:fillRect/>
                </a:stretch>
              </p:blipFill>
              <p:spPr>
                <a:xfrm>
                  <a:off x="4078883" y="3794997"/>
                  <a:ext cx="149760" cy="181080"/>
                </a:xfrm>
                <a:prstGeom prst="rect">
                  <a:avLst/>
                </a:prstGeom>
              </p:spPr>
            </p:pic>
          </mc:Fallback>
        </mc:AlternateContent>
        <mc:AlternateContent xmlns:mc="http://schemas.openxmlformats.org/markup-compatibility/2006">
          <mc:Choice xmlns:p14="http://schemas.microsoft.com/office/powerpoint/2010/main" Requires="p14">
            <p:contentPart p14:bwMode="auto" r:id="rId356">
              <p14:nvContentPartPr>
                <p14:cNvPr id="46" name="Ink 45">
                  <a:extLst>
                    <a:ext uri="{FF2B5EF4-FFF2-40B4-BE49-F238E27FC236}">
                      <a16:creationId xmlns:a16="http://schemas.microsoft.com/office/drawing/2014/main" id="{CA28473A-C261-140F-52F2-3B0919F206E4}"/>
                    </a:ext>
                  </a:extLst>
                </p14:cNvPr>
                <p14:cNvContentPartPr/>
                <p14:nvPr/>
              </p14:nvContentPartPr>
              <p14:xfrm>
                <a:off x="4089323" y="3826677"/>
                <a:ext cx="115200" cy="139320"/>
              </p14:xfrm>
            </p:contentPart>
          </mc:Choice>
          <mc:Fallback>
            <p:pic>
              <p:nvPicPr>
                <p:cNvPr id="46" name="Ink 45">
                  <a:extLst>
                    <a:ext uri="{FF2B5EF4-FFF2-40B4-BE49-F238E27FC236}">
                      <a16:creationId xmlns:a16="http://schemas.microsoft.com/office/drawing/2014/main" id="{CA28473A-C261-140F-52F2-3B0919F206E4}"/>
                    </a:ext>
                  </a:extLst>
                </p:cNvPr>
                <p:cNvPicPr/>
                <p:nvPr/>
              </p:nvPicPr>
              <p:blipFill>
                <a:blip r:embed="rId357"/>
                <a:stretch>
                  <a:fillRect/>
                </a:stretch>
              </p:blipFill>
              <p:spPr>
                <a:xfrm>
                  <a:off x="4074203" y="3811197"/>
                  <a:ext cx="145800" cy="169920"/>
                </a:xfrm>
                <a:prstGeom prst="rect">
                  <a:avLst/>
                </a:prstGeom>
              </p:spPr>
            </p:pic>
          </mc:Fallback>
        </mc:AlternateContent>
        <mc:AlternateContent xmlns:mc="http://schemas.openxmlformats.org/markup-compatibility/2006">
          <mc:Choice xmlns:p14="http://schemas.microsoft.com/office/powerpoint/2010/main" Requires="p14">
            <p:contentPart p14:bwMode="auto" r:id="rId358">
              <p14:nvContentPartPr>
                <p14:cNvPr id="47" name="Ink 46">
                  <a:extLst>
                    <a:ext uri="{FF2B5EF4-FFF2-40B4-BE49-F238E27FC236}">
                      <a16:creationId xmlns:a16="http://schemas.microsoft.com/office/drawing/2014/main" id="{92FC1DF2-FE16-CD69-C0C6-BBDB8A0FA6F4}"/>
                    </a:ext>
                  </a:extLst>
                </p14:cNvPr>
                <p14:cNvContentPartPr/>
                <p14:nvPr/>
              </p14:nvContentPartPr>
              <p14:xfrm>
                <a:off x="4286603" y="3834237"/>
                <a:ext cx="213840" cy="102960"/>
              </p14:xfrm>
            </p:contentPart>
          </mc:Choice>
          <mc:Fallback>
            <p:pic>
              <p:nvPicPr>
                <p:cNvPr id="47" name="Ink 46">
                  <a:extLst>
                    <a:ext uri="{FF2B5EF4-FFF2-40B4-BE49-F238E27FC236}">
                      <a16:creationId xmlns:a16="http://schemas.microsoft.com/office/drawing/2014/main" id="{92FC1DF2-FE16-CD69-C0C6-BBDB8A0FA6F4}"/>
                    </a:ext>
                  </a:extLst>
                </p:cNvPr>
                <p:cNvPicPr/>
                <p:nvPr/>
              </p:nvPicPr>
              <p:blipFill>
                <a:blip r:embed="rId359"/>
                <a:stretch>
                  <a:fillRect/>
                </a:stretch>
              </p:blipFill>
              <p:spPr>
                <a:xfrm>
                  <a:off x="4271483" y="3818757"/>
                  <a:ext cx="244080" cy="133560"/>
                </a:xfrm>
                <a:prstGeom prst="rect">
                  <a:avLst/>
                </a:prstGeom>
              </p:spPr>
            </p:pic>
          </mc:Fallback>
        </mc:AlternateContent>
        <mc:AlternateContent xmlns:mc="http://schemas.openxmlformats.org/markup-compatibility/2006">
          <mc:Choice xmlns:p14="http://schemas.microsoft.com/office/powerpoint/2010/main" Requires="p14">
            <p:contentPart p14:bwMode="auto" r:id="rId360">
              <p14:nvContentPartPr>
                <p14:cNvPr id="249" name="Ink 248">
                  <a:extLst>
                    <a:ext uri="{FF2B5EF4-FFF2-40B4-BE49-F238E27FC236}">
                      <a16:creationId xmlns:a16="http://schemas.microsoft.com/office/drawing/2014/main" id="{3F4E99F2-1C81-7EDC-E7E3-8671272694CE}"/>
                    </a:ext>
                  </a:extLst>
                </p14:cNvPr>
                <p14:cNvContentPartPr/>
                <p14:nvPr/>
              </p14:nvContentPartPr>
              <p14:xfrm>
                <a:off x="4339883" y="4007397"/>
                <a:ext cx="164520" cy="11160"/>
              </p14:xfrm>
            </p:contentPart>
          </mc:Choice>
          <mc:Fallback>
            <p:pic>
              <p:nvPicPr>
                <p:cNvPr id="249" name="Ink 248">
                  <a:extLst>
                    <a:ext uri="{FF2B5EF4-FFF2-40B4-BE49-F238E27FC236}">
                      <a16:creationId xmlns:a16="http://schemas.microsoft.com/office/drawing/2014/main" id="{3F4E99F2-1C81-7EDC-E7E3-8671272694CE}"/>
                    </a:ext>
                  </a:extLst>
                </p:cNvPr>
                <p:cNvPicPr/>
                <p:nvPr/>
              </p:nvPicPr>
              <p:blipFill>
                <a:blip r:embed="rId361"/>
                <a:stretch>
                  <a:fillRect/>
                </a:stretch>
              </p:blipFill>
              <p:spPr>
                <a:xfrm>
                  <a:off x="4324403" y="3992277"/>
                  <a:ext cx="194760" cy="41760"/>
                </a:xfrm>
                <a:prstGeom prst="rect">
                  <a:avLst/>
                </a:prstGeom>
              </p:spPr>
            </p:pic>
          </mc:Fallback>
        </mc:AlternateContent>
        <mc:AlternateContent xmlns:mc="http://schemas.openxmlformats.org/markup-compatibility/2006">
          <mc:Choice xmlns:p14="http://schemas.microsoft.com/office/powerpoint/2010/main" Requires="p14">
            <p:contentPart p14:bwMode="auto" r:id="rId362">
              <p14:nvContentPartPr>
                <p14:cNvPr id="250" name="Ink 249">
                  <a:extLst>
                    <a:ext uri="{FF2B5EF4-FFF2-40B4-BE49-F238E27FC236}">
                      <a16:creationId xmlns:a16="http://schemas.microsoft.com/office/drawing/2014/main" id="{E5087629-3540-69A2-550B-AE8FA606405A}"/>
                    </a:ext>
                  </a:extLst>
                </p14:cNvPr>
                <p14:cNvContentPartPr/>
                <p14:nvPr/>
              </p14:nvContentPartPr>
              <p14:xfrm>
                <a:off x="4348163" y="4097757"/>
                <a:ext cx="155160" cy="16920"/>
              </p14:xfrm>
            </p:contentPart>
          </mc:Choice>
          <mc:Fallback>
            <p:pic>
              <p:nvPicPr>
                <p:cNvPr id="250" name="Ink 249">
                  <a:extLst>
                    <a:ext uri="{FF2B5EF4-FFF2-40B4-BE49-F238E27FC236}">
                      <a16:creationId xmlns:a16="http://schemas.microsoft.com/office/drawing/2014/main" id="{E5087629-3540-69A2-550B-AE8FA606405A}"/>
                    </a:ext>
                  </a:extLst>
                </p:cNvPr>
                <p:cNvPicPr/>
                <p:nvPr/>
              </p:nvPicPr>
              <p:blipFill>
                <a:blip r:embed="rId363"/>
                <a:stretch>
                  <a:fillRect/>
                </a:stretch>
              </p:blipFill>
              <p:spPr>
                <a:xfrm>
                  <a:off x="4333043" y="4082277"/>
                  <a:ext cx="185400" cy="47520"/>
                </a:xfrm>
                <a:prstGeom prst="rect">
                  <a:avLst/>
                </a:prstGeom>
              </p:spPr>
            </p:pic>
          </mc:Fallback>
        </mc:AlternateContent>
        <mc:AlternateContent xmlns:mc="http://schemas.openxmlformats.org/markup-compatibility/2006">
          <mc:Choice xmlns:p14="http://schemas.microsoft.com/office/powerpoint/2010/main" Requires="p14">
            <p:contentPart p14:bwMode="auto" r:id="rId364">
              <p14:nvContentPartPr>
                <p14:cNvPr id="309" name="Ink 308">
                  <a:extLst>
                    <a:ext uri="{FF2B5EF4-FFF2-40B4-BE49-F238E27FC236}">
                      <a16:creationId xmlns:a16="http://schemas.microsoft.com/office/drawing/2014/main" id="{0A3847D5-FFC1-DB4D-E4B7-2EB3669019EF}"/>
                    </a:ext>
                  </a:extLst>
                </p14:cNvPr>
                <p14:cNvContentPartPr/>
                <p14:nvPr/>
              </p14:nvContentPartPr>
              <p14:xfrm>
                <a:off x="3526643" y="3689517"/>
                <a:ext cx="527040" cy="498960"/>
              </p14:xfrm>
            </p:contentPart>
          </mc:Choice>
          <mc:Fallback>
            <p:pic>
              <p:nvPicPr>
                <p:cNvPr id="309" name="Ink 308">
                  <a:extLst>
                    <a:ext uri="{FF2B5EF4-FFF2-40B4-BE49-F238E27FC236}">
                      <a16:creationId xmlns:a16="http://schemas.microsoft.com/office/drawing/2014/main" id="{0A3847D5-FFC1-DB4D-E4B7-2EB3669019EF}"/>
                    </a:ext>
                  </a:extLst>
                </p:cNvPr>
                <p:cNvPicPr/>
                <p:nvPr/>
              </p:nvPicPr>
              <p:blipFill>
                <a:blip r:embed="rId365"/>
                <a:stretch>
                  <a:fillRect/>
                </a:stretch>
              </p:blipFill>
              <p:spPr>
                <a:xfrm>
                  <a:off x="3511523" y="3674397"/>
                  <a:ext cx="557640" cy="529560"/>
                </a:xfrm>
                <a:prstGeom prst="rect">
                  <a:avLst/>
                </a:prstGeom>
              </p:spPr>
            </p:pic>
          </mc:Fallback>
        </mc:AlternateContent>
      </p:gr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51"/>
        <p:cNvGrpSpPr/>
        <p:nvPr/>
      </p:nvGrpSpPr>
      <p:grpSpPr>
        <a:xfrm>
          <a:off x="0" y="0"/>
          <a:ext cx="0" cy="0"/>
          <a:chOff x="0" y="0"/>
          <a:chExt cx="0" cy="0"/>
        </a:xfrm>
      </p:grpSpPr>
      <p:sp>
        <p:nvSpPr>
          <p:cNvPr id="152" name="Google Shape;152;p15"/>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2800"/>
              <a:buNone/>
            </a:pPr>
            <a:r>
              <a:rPr lang="en"/>
              <a:t>Step 2</a:t>
            </a:r>
            <a:endParaRPr/>
          </a:p>
        </p:txBody>
      </p:sp>
      <p:pic>
        <p:nvPicPr>
          <p:cNvPr id="154" name="Google Shape;154;p15"/>
          <p:cNvPicPr preferRelativeResize="0"/>
          <p:nvPr/>
        </p:nvPicPr>
        <p:blipFill rotWithShape="1">
          <a:blip r:embed="rId3">
            <a:alphaModFix/>
          </a:blip>
          <a:srcRect/>
          <a:stretch/>
        </p:blipFill>
        <p:spPr>
          <a:xfrm>
            <a:off x="311700" y="1350600"/>
            <a:ext cx="8520603" cy="2442282"/>
          </a:xfrm>
          <a:prstGeom prst="rect">
            <a:avLst/>
          </a:prstGeom>
          <a:noFill/>
          <a:ln>
            <a:noFill/>
          </a:ln>
        </p:spPr>
      </p:pic>
      <p:grpSp>
        <p:nvGrpSpPr>
          <p:cNvPr id="6" name="Group 5">
            <a:extLst>
              <a:ext uri="{FF2B5EF4-FFF2-40B4-BE49-F238E27FC236}">
                <a16:creationId xmlns:a16="http://schemas.microsoft.com/office/drawing/2014/main" id="{D2855372-1990-6E74-D4C7-FBB9E30D7835}"/>
              </a:ext>
            </a:extLst>
          </p:cNvPr>
          <p:cNvGrpSpPr/>
          <p:nvPr/>
        </p:nvGrpSpPr>
        <p:grpSpPr>
          <a:xfrm>
            <a:off x="5308283" y="3202437"/>
            <a:ext cx="558000" cy="536400"/>
            <a:chOff x="5308283" y="3202437"/>
            <a:chExt cx="558000" cy="536400"/>
          </a:xfrm>
        </p:grpSpPr>
        <mc:AlternateContent xmlns:mc="http://schemas.openxmlformats.org/markup-compatibility/2006">
          <mc:Choice xmlns:p14="http://schemas.microsoft.com/office/powerpoint/2010/main" Requires="p14">
            <p:contentPart p14:bwMode="auto" r:id="rId4">
              <p14:nvContentPartPr>
                <p14:cNvPr id="2" name="Ink 1">
                  <a:extLst>
                    <a:ext uri="{FF2B5EF4-FFF2-40B4-BE49-F238E27FC236}">
                      <a16:creationId xmlns:a16="http://schemas.microsoft.com/office/drawing/2014/main" id="{56F3A06F-2BD7-37B8-B5F3-27BB18C88EE0}"/>
                    </a:ext>
                  </a:extLst>
                </p14:cNvPr>
                <p14:cNvContentPartPr/>
                <p14:nvPr/>
              </p14:nvContentPartPr>
              <p14:xfrm>
                <a:off x="5308283" y="3532197"/>
                <a:ext cx="7920" cy="206640"/>
              </p14:xfrm>
            </p:contentPart>
          </mc:Choice>
          <mc:Fallback>
            <p:pic>
              <p:nvPicPr>
                <p:cNvPr id="2" name="Ink 1">
                  <a:extLst>
                    <a:ext uri="{FF2B5EF4-FFF2-40B4-BE49-F238E27FC236}">
                      <a16:creationId xmlns:a16="http://schemas.microsoft.com/office/drawing/2014/main" id="{56F3A06F-2BD7-37B8-B5F3-27BB18C88EE0}"/>
                    </a:ext>
                  </a:extLst>
                </p:cNvPr>
                <p:cNvPicPr/>
                <p:nvPr/>
              </p:nvPicPr>
              <p:blipFill>
                <a:blip r:embed="rId5"/>
                <a:stretch>
                  <a:fillRect/>
                </a:stretch>
              </p:blipFill>
              <p:spPr>
                <a:xfrm>
                  <a:off x="5292803" y="3516717"/>
                  <a:ext cx="38160" cy="23724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3" name="Ink 2">
                  <a:extLst>
                    <a:ext uri="{FF2B5EF4-FFF2-40B4-BE49-F238E27FC236}">
                      <a16:creationId xmlns:a16="http://schemas.microsoft.com/office/drawing/2014/main" id="{DFA8D478-7F5B-F95B-AD98-D5C57D3593F8}"/>
                    </a:ext>
                  </a:extLst>
                </p14:cNvPr>
                <p14:cNvContentPartPr/>
                <p14:nvPr/>
              </p14:nvContentPartPr>
              <p14:xfrm>
                <a:off x="5347883" y="3521757"/>
                <a:ext cx="131040" cy="200880"/>
              </p14:xfrm>
            </p:contentPart>
          </mc:Choice>
          <mc:Fallback>
            <p:pic>
              <p:nvPicPr>
                <p:cNvPr id="3" name="Ink 2">
                  <a:extLst>
                    <a:ext uri="{FF2B5EF4-FFF2-40B4-BE49-F238E27FC236}">
                      <a16:creationId xmlns:a16="http://schemas.microsoft.com/office/drawing/2014/main" id="{DFA8D478-7F5B-F95B-AD98-D5C57D3593F8}"/>
                    </a:ext>
                  </a:extLst>
                </p:cNvPr>
                <p:cNvPicPr/>
                <p:nvPr/>
              </p:nvPicPr>
              <p:blipFill>
                <a:blip r:embed="rId7"/>
                <a:stretch>
                  <a:fillRect/>
                </a:stretch>
              </p:blipFill>
              <p:spPr>
                <a:xfrm>
                  <a:off x="5332403" y="3506637"/>
                  <a:ext cx="161640" cy="23148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4" name="Ink 3">
                  <a:extLst>
                    <a:ext uri="{FF2B5EF4-FFF2-40B4-BE49-F238E27FC236}">
                      <a16:creationId xmlns:a16="http://schemas.microsoft.com/office/drawing/2014/main" id="{206DD1BF-CE0A-D6BC-15DF-B45711F59DBC}"/>
                    </a:ext>
                  </a:extLst>
                </p14:cNvPr>
                <p14:cNvContentPartPr/>
                <p14:nvPr/>
              </p14:nvContentPartPr>
              <p14:xfrm>
                <a:off x="5345363" y="3202437"/>
                <a:ext cx="407160" cy="326520"/>
              </p14:xfrm>
            </p:contentPart>
          </mc:Choice>
          <mc:Fallback>
            <p:pic>
              <p:nvPicPr>
                <p:cNvPr id="4" name="Ink 3">
                  <a:extLst>
                    <a:ext uri="{FF2B5EF4-FFF2-40B4-BE49-F238E27FC236}">
                      <a16:creationId xmlns:a16="http://schemas.microsoft.com/office/drawing/2014/main" id="{206DD1BF-CE0A-D6BC-15DF-B45711F59DBC}"/>
                    </a:ext>
                  </a:extLst>
                </p:cNvPr>
                <p:cNvPicPr/>
                <p:nvPr/>
              </p:nvPicPr>
              <p:blipFill>
                <a:blip r:embed="rId9"/>
                <a:stretch>
                  <a:fillRect/>
                </a:stretch>
              </p:blipFill>
              <p:spPr>
                <a:xfrm>
                  <a:off x="5330243" y="3187317"/>
                  <a:ext cx="437760" cy="357120"/>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5" name="Ink 4">
                  <a:extLst>
                    <a:ext uri="{FF2B5EF4-FFF2-40B4-BE49-F238E27FC236}">
                      <a16:creationId xmlns:a16="http://schemas.microsoft.com/office/drawing/2014/main" id="{3EA219DC-04F6-3993-1C8C-4782B7CEA1B7}"/>
                    </a:ext>
                  </a:extLst>
                </p14:cNvPr>
                <p14:cNvContentPartPr/>
                <p14:nvPr/>
              </p14:nvContentPartPr>
              <p14:xfrm>
                <a:off x="5500163" y="3230517"/>
                <a:ext cx="366120" cy="293040"/>
              </p14:xfrm>
            </p:contentPart>
          </mc:Choice>
          <mc:Fallback>
            <p:pic>
              <p:nvPicPr>
                <p:cNvPr id="5" name="Ink 4">
                  <a:extLst>
                    <a:ext uri="{FF2B5EF4-FFF2-40B4-BE49-F238E27FC236}">
                      <a16:creationId xmlns:a16="http://schemas.microsoft.com/office/drawing/2014/main" id="{3EA219DC-04F6-3993-1C8C-4782B7CEA1B7}"/>
                    </a:ext>
                  </a:extLst>
                </p:cNvPr>
                <p:cNvPicPr/>
                <p:nvPr/>
              </p:nvPicPr>
              <p:blipFill>
                <a:blip r:embed="rId11"/>
                <a:stretch>
                  <a:fillRect/>
                </a:stretch>
              </p:blipFill>
              <p:spPr>
                <a:xfrm>
                  <a:off x="5484683" y="3215397"/>
                  <a:ext cx="396720" cy="323640"/>
                </a:xfrm>
                <a:prstGeom prst="rect">
                  <a:avLst/>
                </a:prstGeom>
              </p:spPr>
            </p:pic>
          </mc:Fallback>
        </mc:AlternateContent>
      </p:grpSp>
      <p:grpSp>
        <p:nvGrpSpPr>
          <p:cNvPr id="23" name="Group 22">
            <a:extLst>
              <a:ext uri="{FF2B5EF4-FFF2-40B4-BE49-F238E27FC236}">
                <a16:creationId xmlns:a16="http://schemas.microsoft.com/office/drawing/2014/main" id="{EAEAD89A-EA35-FE43-1B59-A4678748DD76}"/>
              </a:ext>
            </a:extLst>
          </p:cNvPr>
          <p:cNvGrpSpPr/>
          <p:nvPr/>
        </p:nvGrpSpPr>
        <p:grpSpPr>
          <a:xfrm>
            <a:off x="2761283" y="931917"/>
            <a:ext cx="1611720" cy="405000"/>
            <a:chOff x="2761283" y="931917"/>
            <a:chExt cx="1611720" cy="405000"/>
          </a:xfrm>
        </p:grpSpPr>
        <mc:AlternateContent xmlns:mc="http://schemas.openxmlformats.org/markup-compatibility/2006">
          <mc:Choice xmlns:p14="http://schemas.microsoft.com/office/powerpoint/2010/main" Requires="p14">
            <p:contentPart p14:bwMode="auto" r:id="rId12">
              <p14:nvContentPartPr>
                <p14:cNvPr id="7" name="Ink 6">
                  <a:extLst>
                    <a:ext uri="{FF2B5EF4-FFF2-40B4-BE49-F238E27FC236}">
                      <a16:creationId xmlns:a16="http://schemas.microsoft.com/office/drawing/2014/main" id="{56A86A4B-3ABA-C0A9-7432-75AA03568BF9}"/>
                    </a:ext>
                  </a:extLst>
                </p14:cNvPr>
                <p14:cNvContentPartPr/>
                <p14:nvPr/>
              </p14:nvContentPartPr>
              <p14:xfrm>
                <a:off x="2863163" y="1028397"/>
                <a:ext cx="35640" cy="180360"/>
              </p14:xfrm>
            </p:contentPart>
          </mc:Choice>
          <mc:Fallback>
            <p:pic>
              <p:nvPicPr>
                <p:cNvPr id="7" name="Ink 6">
                  <a:extLst>
                    <a:ext uri="{FF2B5EF4-FFF2-40B4-BE49-F238E27FC236}">
                      <a16:creationId xmlns:a16="http://schemas.microsoft.com/office/drawing/2014/main" id="{56A86A4B-3ABA-C0A9-7432-75AA03568BF9}"/>
                    </a:ext>
                  </a:extLst>
                </p:cNvPr>
                <p:cNvPicPr/>
                <p:nvPr/>
              </p:nvPicPr>
              <p:blipFill>
                <a:blip r:embed="rId13"/>
                <a:stretch>
                  <a:fillRect/>
                </a:stretch>
              </p:blipFill>
              <p:spPr>
                <a:xfrm>
                  <a:off x="2848043" y="1012917"/>
                  <a:ext cx="66240" cy="210960"/>
                </a:xfrm>
                <a:prstGeom prst="rect">
                  <a:avLst/>
                </a:prstGeom>
              </p:spPr>
            </p:pic>
          </mc:Fallback>
        </mc:AlternateContent>
        <mc:AlternateContent xmlns:mc="http://schemas.openxmlformats.org/markup-compatibility/2006">
          <mc:Choice xmlns:p14="http://schemas.microsoft.com/office/powerpoint/2010/main" Requires="p14">
            <p:contentPart p14:bwMode="auto" r:id="rId14">
              <p14:nvContentPartPr>
                <p14:cNvPr id="8" name="Ink 7">
                  <a:extLst>
                    <a:ext uri="{FF2B5EF4-FFF2-40B4-BE49-F238E27FC236}">
                      <a16:creationId xmlns:a16="http://schemas.microsoft.com/office/drawing/2014/main" id="{D999EA66-6BE1-2630-8BD1-AB25E6E798E0}"/>
                    </a:ext>
                  </a:extLst>
                </p14:cNvPr>
                <p14:cNvContentPartPr/>
                <p14:nvPr/>
              </p14:nvContentPartPr>
              <p14:xfrm>
                <a:off x="2953163" y="1064397"/>
                <a:ext cx="74520" cy="105840"/>
              </p14:xfrm>
            </p:contentPart>
          </mc:Choice>
          <mc:Fallback>
            <p:pic>
              <p:nvPicPr>
                <p:cNvPr id="8" name="Ink 7">
                  <a:extLst>
                    <a:ext uri="{FF2B5EF4-FFF2-40B4-BE49-F238E27FC236}">
                      <a16:creationId xmlns:a16="http://schemas.microsoft.com/office/drawing/2014/main" id="{D999EA66-6BE1-2630-8BD1-AB25E6E798E0}"/>
                    </a:ext>
                  </a:extLst>
                </p:cNvPr>
                <p:cNvPicPr/>
                <p:nvPr/>
              </p:nvPicPr>
              <p:blipFill>
                <a:blip r:embed="rId15"/>
                <a:stretch>
                  <a:fillRect/>
                </a:stretch>
              </p:blipFill>
              <p:spPr>
                <a:xfrm>
                  <a:off x="2937683" y="1049277"/>
                  <a:ext cx="104760" cy="136440"/>
                </a:xfrm>
                <a:prstGeom prst="rect">
                  <a:avLst/>
                </a:prstGeom>
              </p:spPr>
            </p:pic>
          </mc:Fallback>
        </mc:AlternateContent>
        <mc:AlternateContent xmlns:mc="http://schemas.openxmlformats.org/markup-compatibility/2006">
          <mc:Choice xmlns:p14="http://schemas.microsoft.com/office/powerpoint/2010/main" Requires="p14">
            <p:contentPart p14:bwMode="auto" r:id="rId16">
              <p14:nvContentPartPr>
                <p14:cNvPr id="9" name="Ink 8">
                  <a:extLst>
                    <a:ext uri="{FF2B5EF4-FFF2-40B4-BE49-F238E27FC236}">
                      <a16:creationId xmlns:a16="http://schemas.microsoft.com/office/drawing/2014/main" id="{E61D11A3-4905-C70D-8CA9-0243E3EAC49B}"/>
                    </a:ext>
                  </a:extLst>
                </p14:cNvPr>
                <p14:cNvContentPartPr/>
                <p14:nvPr/>
              </p14:nvContentPartPr>
              <p14:xfrm>
                <a:off x="2943443" y="1081317"/>
                <a:ext cx="89280" cy="124920"/>
              </p14:xfrm>
            </p:contentPart>
          </mc:Choice>
          <mc:Fallback>
            <p:pic>
              <p:nvPicPr>
                <p:cNvPr id="9" name="Ink 8">
                  <a:extLst>
                    <a:ext uri="{FF2B5EF4-FFF2-40B4-BE49-F238E27FC236}">
                      <a16:creationId xmlns:a16="http://schemas.microsoft.com/office/drawing/2014/main" id="{E61D11A3-4905-C70D-8CA9-0243E3EAC49B}"/>
                    </a:ext>
                  </a:extLst>
                </p:cNvPr>
                <p:cNvPicPr/>
                <p:nvPr/>
              </p:nvPicPr>
              <p:blipFill>
                <a:blip r:embed="rId17"/>
                <a:stretch>
                  <a:fillRect/>
                </a:stretch>
              </p:blipFill>
              <p:spPr>
                <a:xfrm>
                  <a:off x="2928323" y="1066197"/>
                  <a:ext cx="119520" cy="155520"/>
                </a:xfrm>
                <a:prstGeom prst="rect">
                  <a:avLst/>
                </a:prstGeom>
              </p:spPr>
            </p:pic>
          </mc:Fallback>
        </mc:AlternateContent>
        <mc:AlternateContent xmlns:mc="http://schemas.openxmlformats.org/markup-compatibility/2006">
          <mc:Choice xmlns:p14="http://schemas.microsoft.com/office/powerpoint/2010/main" Requires="p14">
            <p:contentPart p14:bwMode="auto" r:id="rId18">
              <p14:nvContentPartPr>
                <p14:cNvPr id="10" name="Ink 9">
                  <a:extLst>
                    <a:ext uri="{FF2B5EF4-FFF2-40B4-BE49-F238E27FC236}">
                      <a16:creationId xmlns:a16="http://schemas.microsoft.com/office/drawing/2014/main" id="{9D3C21C4-BE47-D551-310F-F121A1AB7A92}"/>
                    </a:ext>
                  </a:extLst>
                </p14:cNvPr>
                <p14:cNvContentPartPr/>
                <p14:nvPr/>
              </p14:nvContentPartPr>
              <p14:xfrm>
                <a:off x="3169163" y="1050717"/>
                <a:ext cx="28800" cy="156600"/>
              </p14:xfrm>
            </p:contentPart>
          </mc:Choice>
          <mc:Fallback>
            <p:pic>
              <p:nvPicPr>
                <p:cNvPr id="10" name="Ink 9">
                  <a:extLst>
                    <a:ext uri="{FF2B5EF4-FFF2-40B4-BE49-F238E27FC236}">
                      <a16:creationId xmlns:a16="http://schemas.microsoft.com/office/drawing/2014/main" id="{9D3C21C4-BE47-D551-310F-F121A1AB7A92}"/>
                    </a:ext>
                  </a:extLst>
                </p:cNvPr>
                <p:cNvPicPr/>
                <p:nvPr/>
              </p:nvPicPr>
              <p:blipFill>
                <a:blip r:embed="rId19"/>
                <a:stretch>
                  <a:fillRect/>
                </a:stretch>
              </p:blipFill>
              <p:spPr>
                <a:xfrm>
                  <a:off x="3154043" y="1035597"/>
                  <a:ext cx="59040" cy="187200"/>
                </a:xfrm>
                <a:prstGeom prst="rect">
                  <a:avLst/>
                </a:prstGeom>
              </p:spPr>
            </p:pic>
          </mc:Fallback>
        </mc:AlternateContent>
        <mc:AlternateContent xmlns:mc="http://schemas.openxmlformats.org/markup-compatibility/2006">
          <mc:Choice xmlns:p14="http://schemas.microsoft.com/office/powerpoint/2010/main" Requires="p14">
            <p:contentPart p14:bwMode="auto" r:id="rId20">
              <p14:nvContentPartPr>
                <p14:cNvPr id="11" name="Ink 10">
                  <a:extLst>
                    <a:ext uri="{FF2B5EF4-FFF2-40B4-BE49-F238E27FC236}">
                      <a16:creationId xmlns:a16="http://schemas.microsoft.com/office/drawing/2014/main" id="{384A3B28-6ACF-6236-1615-38DF1BD0D936}"/>
                    </a:ext>
                  </a:extLst>
                </p14:cNvPr>
                <p14:cNvContentPartPr/>
                <p14:nvPr/>
              </p14:nvContentPartPr>
              <p14:xfrm>
                <a:off x="3291203" y="1092117"/>
                <a:ext cx="99000" cy="70560"/>
              </p14:xfrm>
            </p:contentPart>
          </mc:Choice>
          <mc:Fallback>
            <p:pic>
              <p:nvPicPr>
                <p:cNvPr id="11" name="Ink 10">
                  <a:extLst>
                    <a:ext uri="{FF2B5EF4-FFF2-40B4-BE49-F238E27FC236}">
                      <a16:creationId xmlns:a16="http://schemas.microsoft.com/office/drawing/2014/main" id="{384A3B28-6ACF-6236-1615-38DF1BD0D936}"/>
                    </a:ext>
                  </a:extLst>
                </p:cNvPr>
                <p:cNvPicPr/>
                <p:nvPr/>
              </p:nvPicPr>
              <p:blipFill>
                <a:blip r:embed="rId21"/>
                <a:stretch>
                  <a:fillRect/>
                </a:stretch>
              </p:blipFill>
              <p:spPr>
                <a:xfrm>
                  <a:off x="3276083" y="1076997"/>
                  <a:ext cx="129240" cy="101160"/>
                </a:xfrm>
                <a:prstGeom prst="rect">
                  <a:avLst/>
                </a:prstGeom>
              </p:spPr>
            </p:pic>
          </mc:Fallback>
        </mc:AlternateContent>
        <mc:AlternateContent xmlns:mc="http://schemas.openxmlformats.org/markup-compatibility/2006">
          <mc:Choice xmlns:p14="http://schemas.microsoft.com/office/powerpoint/2010/main" Requires="p14">
            <p:contentPart p14:bwMode="auto" r:id="rId22">
              <p14:nvContentPartPr>
                <p14:cNvPr id="12" name="Ink 11">
                  <a:extLst>
                    <a:ext uri="{FF2B5EF4-FFF2-40B4-BE49-F238E27FC236}">
                      <a16:creationId xmlns:a16="http://schemas.microsoft.com/office/drawing/2014/main" id="{A8876ABA-79C3-4714-E231-9A09D3F41559}"/>
                    </a:ext>
                  </a:extLst>
                </p14:cNvPr>
                <p14:cNvContentPartPr/>
                <p14:nvPr/>
              </p14:nvContentPartPr>
              <p14:xfrm>
                <a:off x="3301643" y="1087437"/>
                <a:ext cx="73080" cy="110880"/>
              </p14:xfrm>
            </p:contentPart>
          </mc:Choice>
          <mc:Fallback>
            <p:pic>
              <p:nvPicPr>
                <p:cNvPr id="12" name="Ink 11">
                  <a:extLst>
                    <a:ext uri="{FF2B5EF4-FFF2-40B4-BE49-F238E27FC236}">
                      <a16:creationId xmlns:a16="http://schemas.microsoft.com/office/drawing/2014/main" id="{A8876ABA-79C3-4714-E231-9A09D3F41559}"/>
                    </a:ext>
                  </a:extLst>
                </p:cNvPr>
                <p:cNvPicPr/>
                <p:nvPr/>
              </p:nvPicPr>
              <p:blipFill>
                <a:blip r:embed="rId23"/>
                <a:stretch>
                  <a:fillRect/>
                </a:stretch>
              </p:blipFill>
              <p:spPr>
                <a:xfrm>
                  <a:off x="3286523" y="1072317"/>
                  <a:ext cx="103680" cy="141480"/>
                </a:xfrm>
                <a:prstGeom prst="rect">
                  <a:avLst/>
                </a:prstGeom>
              </p:spPr>
            </p:pic>
          </mc:Fallback>
        </mc:AlternateContent>
        <mc:AlternateContent xmlns:mc="http://schemas.openxmlformats.org/markup-compatibility/2006">
          <mc:Choice xmlns:p14="http://schemas.microsoft.com/office/powerpoint/2010/main" Requires="p14">
            <p:contentPart p14:bwMode="auto" r:id="rId24">
              <p14:nvContentPartPr>
                <p14:cNvPr id="13" name="Ink 12">
                  <a:extLst>
                    <a:ext uri="{FF2B5EF4-FFF2-40B4-BE49-F238E27FC236}">
                      <a16:creationId xmlns:a16="http://schemas.microsoft.com/office/drawing/2014/main" id="{8D11A715-57E2-7776-779F-EBA6D6653D17}"/>
                    </a:ext>
                  </a:extLst>
                </p14:cNvPr>
                <p14:cNvContentPartPr/>
                <p14:nvPr/>
              </p14:nvContentPartPr>
              <p14:xfrm>
                <a:off x="3484883" y="1072677"/>
                <a:ext cx="185400" cy="90360"/>
              </p14:xfrm>
            </p:contentPart>
          </mc:Choice>
          <mc:Fallback>
            <p:pic>
              <p:nvPicPr>
                <p:cNvPr id="13" name="Ink 12">
                  <a:extLst>
                    <a:ext uri="{FF2B5EF4-FFF2-40B4-BE49-F238E27FC236}">
                      <a16:creationId xmlns:a16="http://schemas.microsoft.com/office/drawing/2014/main" id="{8D11A715-57E2-7776-779F-EBA6D6653D17}"/>
                    </a:ext>
                  </a:extLst>
                </p:cNvPr>
                <p:cNvPicPr/>
                <p:nvPr/>
              </p:nvPicPr>
              <p:blipFill>
                <a:blip r:embed="rId25"/>
                <a:stretch>
                  <a:fillRect/>
                </a:stretch>
              </p:blipFill>
              <p:spPr>
                <a:xfrm>
                  <a:off x="3469763" y="1057557"/>
                  <a:ext cx="216000" cy="120960"/>
                </a:xfrm>
                <a:prstGeom prst="rect">
                  <a:avLst/>
                </a:prstGeom>
              </p:spPr>
            </p:pic>
          </mc:Fallback>
        </mc:AlternateContent>
        <mc:AlternateContent xmlns:mc="http://schemas.openxmlformats.org/markup-compatibility/2006">
          <mc:Choice xmlns:p14="http://schemas.microsoft.com/office/powerpoint/2010/main" Requires="p14">
            <p:contentPart p14:bwMode="auto" r:id="rId26">
              <p14:nvContentPartPr>
                <p14:cNvPr id="14" name="Ink 13">
                  <a:extLst>
                    <a:ext uri="{FF2B5EF4-FFF2-40B4-BE49-F238E27FC236}">
                      <a16:creationId xmlns:a16="http://schemas.microsoft.com/office/drawing/2014/main" id="{67B9AAA2-FB6F-E80B-554D-4EB8CB9E83FA}"/>
                    </a:ext>
                  </a:extLst>
                </p14:cNvPr>
                <p14:cNvContentPartPr/>
                <p14:nvPr/>
              </p14:nvContentPartPr>
              <p14:xfrm>
                <a:off x="2763803" y="981957"/>
                <a:ext cx="20520" cy="272520"/>
              </p14:xfrm>
            </p:contentPart>
          </mc:Choice>
          <mc:Fallback>
            <p:pic>
              <p:nvPicPr>
                <p:cNvPr id="14" name="Ink 13">
                  <a:extLst>
                    <a:ext uri="{FF2B5EF4-FFF2-40B4-BE49-F238E27FC236}">
                      <a16:creationId xmlns:a16="http://schemas.microsoft.com/office/drawing/2014/main" id="{67B9AAA2-FB6F-E80B-554D-4EB8CB9E83FA}"/>
                    </a:ext>
                  </a:extLst>
                </p:cNvPr>
                <p:cNvPicPr/>
                <p:nvPr/>
              </p:nvPicPr>
              <p:blipFill>
                <a:blip r:embed="rId27"/>
                <a:stretch>
                  <a:fillRect/>
                </a:stretch>
              </p:blipFill>
              <p:spPr>
                <a:xfrm>
                  <a:off x="2748323" y="966477"/>
                  <a:ext cx="51120" cy="303120"/>
                </a:xfrm>
                <a:prstGeom prst="rect">
                  <a:avLst/>
                </a:prstGeom>
              </p:spPr>
            </p:pic>
          </mc:Fallback>
        </mc:AlternateContent>
        <mc:AlternateContent xmlns:mc="http://schemas.openxmlformats.org/markup-compatibility/2006">
          <mc:Choice xmlns:p14="http://schemas.microsoft.com/office/powerpoint/2010/main" Requires="p14">
            <p:contentPart p14:bwMode="auto" r:id="rId28">
              <p14:nvContentPartPr>
                <p14:cNvPr id="15" name="Ink 14">
                  <a:extLst>
                    <a:ext uri="{FF2B5EF4-FFF2-40B4-BE49-F238E27FC236}">
                      <a16:creationId xmlns:a16="http://schemas.microsoft.com/office/drawing/2014/main" id="{1EC4F66F-7E4B-CDD2-D92C-6882CA7C4D93}"/>
                    </a:ext>
                  </a:extLst>
                </p14:cNvPr>
                <p14:cNvContentPartPr/>
                <p14:nvPr/>
              </p14:nvContentPartPr>
              <p14:xfrm>
                <a:off x="2761283" y="931917"/>
                <a:ext cx="1059480" cy="405000"/>
              </p14:xfrm>
            </p:contentPart>
          </mc:Choice>
          <mc:Fallback>
            <p:pic>
              <p:nvPicPr>
                <p:cNvPr id="15" name="Ink 14">
                  <a:extLst>
                    <a:ext uri="{FF2B5EF4-FFF2-40B4-BE49-F238E27FC236}">
                      <a16:creationId xmlns:a16="http://schemas.microsoft.com/office/drawing/2014/main" id="{1EC4F66F-7E4B-CDD2-D92C-6882CA7C4D93}"/>
                    </a:ext>
                  </a:extLst>
                </p:cNvPr>
                <p:cNvPicPr/>
                <p:nvPr/>
              </p:nvPicPr>
              <p:blipFill>
                <a:blip r:embed="rId29"/>
                <a:stretch>
                  <a:fillRect/>
                </a:stretch>
              </p:blipFill>
              <p:spPr>
                <a:xfrm>
                  <a:off x="2746163" y="916797"/>
                  <a:ext cx="1089720" cy="435240"/>
                </a:xfrm>
                <a:prstGeom prst="rect">
                  <a:avLst/>
                </a:prstGeom>
              </p:spPr>
            </p:pic>
          </mc:Fallback>
        </mc:AlternateContent>
        <mc:AlternateContent xmlns:mc="http://schemas.openxmlformats.org/markup-compatibility/2006">
          <mc:Choice xmlns:p14="http://schemas.microsoft.com/office/powerpoint/2010/main" Requires="p14">
            <p:contentPart p14:bwMode="auto" r:id="rId30">
              <p14:nvContentPartPr>
                <p14:cNvPr id="18" name="Ink 17">
                  <a:extLst>
                    <a:ext uri="{FF2B5EF4-FFF2-40B4-BE49-F238E27FC236}">
                      <a16:creationId xmlns:a16="http://schemas.microsoft.com/office/drawing/2014/main" id="{E9AE1821-E435-A318-B375-3D5F4586C939}"/>
                    </a:ext>
                  </a:extLst>
                </p14:cNvPr>
                <p14:cNvContentPartPr/>
                <p14:nvPr/>
              </p14:nvContentPartPr>
              <p14:xfrm>
                <a:off x="3967643" y="1070157"/>
                <a:ext cx="32400" cy="7920"/>
              </p14:xfrm>
            </p:contentPart>
          </mc:Choice>
          <mc:Fallback>
            <p:pic>
              <p:nvPicPr>
                <p:cNvPr id="18" name="Ink 17">
                  <a:extLst>
                    <a:ext uri="{FF2B5EF4-FFF2-40B4-BE49-F238E27FC236}">
                      <a16:creationId xmlns:a16="http://schemas.microsoft.com/office/drawing/2014/main" id="{E9AE1821-E435-A318-B375-3D5F4586C939}"/>
                    </a:ext>
                  </a:extLst>
                </p:cNvPr>
                <p:cNvPicPr/>
                <p:nvPr/>
              </p:nvPicPr>
              <p:blipFill>
                <a:blip r:embed="rId31"/>
                <a:stretch>
                  <a:fillRect/>
                </a:stretch>
              </p:blipFill>
              <p:spPr>
                <a:xfrm>
                  <a:off x="3952523" y="1055037"/>
                  <a:ext cx="63000" cy="38520"/>
                </a:xfrm>
                <a:prstGeom prst="rect">
                  <a:avLst/>
                </a:prstGeom>
              </p:spPr>
            </p:pic>
          </mc:Fallback>
        </mc:AlternateContent>
        <mc:AlternateContent xmlns:mc="http://schemas.openxmlformats.org/markup-compatibility/2006">
          <mc:Choice xmlns:p14="http://schemas.microsoft.com/office/powerpoint/2010/main" Requires="p14">
            <p:contentPart p14:bwMode="auto" r:id="rId32">
              <p14:nvContentPartPr>
                <p14:cNvPr id="19" name="Ink 18">
                  <a:extLst>
                    <a:ext uri="{FF2B5EF4-FFF2-40B4-BE49-F238E27FC236}">
                      <a16:creationId xmlns:a16="http://schemas.microsoft.com/office/drawing/2014/main" id="{96E6FBF2-0305-F8EC-2D64-539272E5C6E4}"/>
                    </a:ext>
                  </a:extLst>
                </p14:cNvPr>
                <p14:cNvContentPartPr/>
                <p14:nvPr/>
              </p14:nvContentPartPr>
              <p14:xfrm>
                <a:off x="3963683" y="1121637"/>
                <a:ext cx="92520" cy="8280"/>
              </p14:xfrm>
            </p:contentPart>
          </mc:Choice>
          <mc:Fallback>
            <p:pic>
              <p:nvPicPr>
                <p:cNvPr id="19" name="Ink 18">
                  <a:extLst>
                    <a:ext uri="{FF2B5EF4-FFF2-40B4-BE49-F238E27FC236}">
                      <a16:creationId xmlns:a16="http://schemas.microsoft.com/office/drawing/2014/main" id="{96E6FBF2-0305-F8EC-2D64-539272E5C6E4}"/>
                    </a:ext>
                  </a:extLst>
                </p:cNvPr>
                <p:cNvPicPr/>
                <p:nvPr/>
              </p:nvPicPr>
              <p:blipFill>
                <a:blip r:embed="rId33"/>
                <a:stretch>
                  <a:fillRect/>
                </a:stretch>
              </p:blipFill>
              <p:spPr>
                <a:xfrm>
                  <a:off x="3948563" y="1106517"/>
                  <a:ext cx="122760" cy="38880"/>
                </a:xfrm>
                <a:prstGeom prst="rect">
                  <a:avLst/>
                </a:prstGeom>
              </p:spPr>
            </p:pic>
          </mc:Fallback>
        </mc:AlternateContent>
        <mc:AlternateContent xmlns:mc="http://schemas.openxmlformats.org/markup-compatibility/2006">
          <mc:Choice xmlns:p14="http://schemas.microsoft.com/office/powerpoint/2010/main" Requires="p14">
            <p:contentPart p14:bwMode="auto" r:id="rId34">
              <p14:nvContentPartPr>
                <p14:cNvPr id="20" name="Ink 19">
                  <a:extLst>
                    <a:ext uri="{FF2B5EF4-FFF2-40B4-BE49-F238E27FC236}">
                      <a16:creationId xmlns:a16="http://schemas.microsoft.com/office/drawing/2014/main" id="{3B01A344-30F8-10DA-9798-ABB68B4FA8BC}"/>
                    </a:ext>
                  </a:extLst>
                </p14:cNvPr>
                <p14:cNvContentPartPr/>
                <p14:nvPr/>
              </p14:nvContentPartPr>
              <p14:xfrm>
                <a:off x="4229723" y="1014357"/>
                <a:ext cx="143280" cy="167040"/>
              </p14:xfrm>
            </p:contentPart>
          </mc:Choice>
          <mc:Fallback>
            <p:pic>
              <p:nvPicPr>
                <p:cNvPr id="20" name="Ink 19">
                  <a:extLst>
                    <a:ext uri="{FF2B5EF4-FFF2-40B4-BE49-F238E27FC236}">
                      <a16:creationId xmlns:a16="http://schemas.microsoft.com/office/drawing/2014/main" id="{3B01A344-30F8-10DA-9798-ABB68B4FA8BC}"/>
                    </a:ext>
                  </a:extLst>
                </p:cNvPr>
                <p:cNvPicPr/>
                <p:nvPr/>
              </p:nvPicPr>
              <p:blipFill>
                <a:blip r:embed="rId35"/>
                <a:stretch>
                  <a:fillRect/>
                </a:stretch>
              </p:blipFill>
              <p:spPr>
                <a:xfrm>
                  <a:off x="4214603" y="998877"/>
                  <a:ext cx="173880" cy="197280"/>
                </a:xfrm>
                <a:prstGeom prst="rect">
                  <a:avLst/>
                </a:prstGeom>
              </p:spPr>
            </p:pic>
          </mc:Fallback>
        </mc:AlternateContent>
        <mc:AlternateContent xmlns:mc="http://schemas.openxmlformats.org/markup-compatibility/2006">
          <mc:Choice xmlns:p14="http://schemas.microsoft.com/office/powerpoint/2010/main" Requires="p14">
            <p:contentPart p14:bwMode="auto" r:id="rId36">
              <p14:nvContentPartPr>
                <p14:cNvPr id="21" name="Ink 20">
                  <a:extLst>
                    <a:ext uri="{FF2B5EF4-FFF2-40B4-BE49-F238E27FC236}">
                      <a16:creationId xmlns:a16="http://schemas.microsoft.com/office/drawing/2014/main" id="{3547BE7C-0A4F-0F1C-BDCB-48D980B20187}"/>
                    </a:ext>
                  </a:extLst>
                </p14:cNvPr>
                <p14:cNvContentPartPr/>
                <p14:nvPr/>
              </p14:nvContentPartPr>
              <p14:xfrm>
                <a:off x="4170683" y="1239717"/>
                <a:ext cx="162360" cy="23760"/>
              </p14:xfrm>
            </p:contentPart>
          </mc:Choice>
          <mc:Fallback>
            <p:pic>
              <p:nvPicPr>
                <p:cNvPr id="21" name="Ink 20">
                  <a:extLst>
                    <a:ext uri="{FF2B5EF4-FFF2-40B4-BE49-F238E27FC236}">
                      <a16:creationId xmlns:a16="http://schemas.microsoft.com/office/drawing/2014/main" id="{3547BE7C-0A4F-0F1C-BDCB-48D980B20187}"/>
                    </a:ext>
                  </a:extLst>
                </p:cNvPr>
                <p:cNvPicPr/>
                <p:nvPr/>
              </p:nvPicPr>
              <p:blipFill>
                <a:blip r:embed="rId37"/>
                <a:stretch>
                  <a:fillRect/>
                </a:stretch>
              </p:blipFill>
              <p:spPr>
                <a:xfrm>
                  <a:off x="4155203" y="1224597"/>
                  <a:ext cx="192960" cy="54000"/>
                </a:xfrm>
                <a:prstGeom prst="rect">
                  <a:avLst/>
                </a:prstGeom>
              </p:spPr>
            </p:pic>
          </mc:Fallback>
        </mc:AlternateContent>
        <mc:AlternateContent xmlns:mc="http://schemas.openxmlformats.org/markup-compatibility/2006">
          <mc:Choice xmlns:p14="http://schemas.microsoft.com/office/powerpoint/2010/main" Requires="p14">
            <p:contentPart p14:bwMode="auto" r:id="rId38">
              <p14:nvContentPartPr>
                <p14:cNvPr id="22" name="Ink 21">
                  <a:extLst>
                    <a:ext uri="{FF2B5EF4-FFF2-40B4-BE49-F238E27FC236}">
                      <a16:creationId xmlns:a16="http://schemas.microsoft.com/office/drawing/2014/main" id="{B7C7573E-6C6D-6775-4636-C0529ED154C9}"/>
                    </a:ext>
                  </a:extLst>
                </p14:cNvPr>
                <p14:cNvContentPartPr/>
                <p14:nvPr/>
              </p14:nvContentPartPr>
              <p14:xfrm>
                <a:off x="4194083" y="1284717"/>
                <a:ext cx="176760" cy="22320"/>
              </p14:xfrm>
            </p:contentPart>
          </mc:Choice>
          <mc:Fallback>
            <p:pic>
              <p:nvPicPr>
                <p:cNvPr id="22" name="Ink 21">
                  <a:extLst>
                    <a:ext uri="{FF2B5EF4-FFF2-40B4-BE49-F238E27FC236}">
                      <a16:creationId xmlns:a16="http://schemas.microsoft.com/office/drawing/2014/main" id="{B7C7573E-6C6D-6775-4636-C0529ED154C9}"/>
                    </a:ext>
                  </a:extLst>
                </p:cNvPr>
                <p:cNvPicPr/>
                <p:nvPr/>
              </p:nvPicPr>
              <p:blipFill>
                <a:blip r:embed="rId39"/>
                <a:stretch>
                  <a:fillRect/>
                </a:stretch>
              </p:blipFill>
              <p:spPr>
                <a:xfrm>
                  <a:off x="4178963" y="1269237"/>
                  <a:ext cx="207000" cy="5292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40">
            <p14:nvContentPartPr>
              <p14:cNvPr id="39" name="Ink 38">
                <a:extLst>
                  <a:ext uri="{FF2B5EF4-FFF2-40B4-BE49-F238E27FC236}">
                    <a16:creationId xmlns:a16="http://schemas.microsoft.com/office/drawing/2014/main" id="{91E3A275-A929-F862-CEE1-9D40A835C00C}"/>
                  </a:ext>
                </a:extLst>
              </p14:cNvPr>
              <p14:cNvContentPartPr/>
              <p14:nvPr/>
            </p14:nvContentPartPr>
            <p14:xfrm>
              <a:off x="2731403" y="2658477"/>
              <a:ext cx="239040" cy="18360"/>
            </p14:xfrm>
          </p:contentPart>
        </mc:Choice>
        <mc:Fallback>
          <p:pic>
            <p:nvPicPr>
              <p:cNvPr id="39" name="Ink 38">
                <a:extLst>
                  <a:ext uri="{FF2B5EF4-FFF2-40B4-BE49-F238E27FC236}">
                    <a16:creationId xmlns:a16="http://schemas.microsoft.com/office/drawing/2014/main" id="{91E3A275-A929-F862-CEE1-9D40A835C00C}"/>
                  </a:ext>
                </a:extLst>
              </p:cNvPr>
              <p:cNvPicPr/>
              <p:nvPr/>
            </p:nvPicPr>
            <p:blipFill>
              <a:blip r:embed="rId41"/>
              <a:stretch>
                <a:fillRect/>
              </a:stretch>
            </p:blipFill>
            <p:spPr>
              <a:xfrm>
                <a:off x="2716283" y="2642997"/>
                <a:ext cx="269640" cy="48600"/>
              </a:xfrm>
              <a:prstGeom prst="rect">
                <a:avLst/>
              </a:prstGeom>
            </p:spPr>
          </p:pic>
        </mc:Fallback>
      </mc:AlternateContent>
      <p:grpSp>
        <p:nvGrpSpPr>
          <p:cNvPr id="50" name="Group 49">
            <a:extLst>
              <a:ext uri="{FF2B5EF4-FFF2-40B4-BE49-F238E27FC236}">
                <a16:creationId xmlns:a16="http://schemas.microsoft.com/office/drawing/2014/main" id="{D4C50442-1E53-8DB8-6DFE-CDB6EC060F5B}"/>
              </a:ext>
            </a:extLst>
          </p:cNvPr>
          <p:cNvGrpSpPr/>
          <p:nvPr/>
        </p:nvGrpSpPr>
        <p:grpSpPr>
          <a:xfrm>
            <a:off x="2826443" y="2871237"/>
            <a:ext cx="1483560" cy="280440"/>
            <a:chOff x="2826443" y="2871237"/>
            <a:chExt cx="1483560" cy="280440"/>
          </a:xfrm>
        </p:grpSpPr>
        <mc:AlternateContent xmlns:mc="http://schemas.openxmlformats.org/markup-compatibility/2006">
          <mc:Choice xmlns:p14="http://schemas.microsoft.com/office/powerpoint/2010/main" Requires="p14">
            <p:contentPart p14:bwMode="auto" r:id="rId42">
              <p14:nvContentPartPr>
                <p14:cNvPr id="40" name="Ink 39">
                  <a:extLst>
                    <a:ext uri="{FF2B5EF4-FFF2-40B4-BE49-F238E27FC236}">
                      <a16:creationId xmlns:a16="http://schemas.microsoft.com/office/drawing/2014/main" id="{DCF42C7E-F212-6A26-DFBE-FEF7083D96CD}"/>
                    </a:ext>
                  </a:extLst>
                </p14:cNvPr>
                <p14:cNvContentPartPr/>
                <p14:nvPr/>
              </p14:nvContentPartPr>
              <p14:xfrm>
                <a:off x="2826443" y="2905797"/>
                <a:ext cx="18720" cy="225720"/>
              </p14:xfrm>
            </p:contentPart>
          </mc:Choice>
          <mc:Fallback>
            <p:pic>
              <p:nvPicPr>
                <p:cNvPr id="40" name="Ink 39">
                  <a:extLst>
                    <a:ext uri="{FF2B5EF4-FFF2-40B4-BE49-F238E27FC236}">
                      <a16:creationId xmlns:a16="http://schemas.microsoft.com/office/drawing/2014/main" id="{DCF42C7E-F212-6A26-DFBE-FEF7083D96CD}"/>
                    </a:ext>
                  </a:extLst>
                </p:cNvPr>
                <p:cNvPicPr/>
                <p:nvPr/>
              </p:nvPicPr>
              <p:blipFill>
                <a:blip r:embed="rId43"/>
                <a:stretch>
                  <a:fillRect/>
                </a:stretch>
              </p:blipFill>
              <p:spPr>
                <a:xfrm>
                  <a:off x="2811323" y="2890677"/>
                  <a:ext cx="49320" cy="255960"/>
                </a:xfrm>
                <a:prstGeom prst="rect">
                  <a:avLst/>
                </a:prstGeom>
              </p:spPr>
            </p:pic>
          </mc:Fallback>
        </mc:AlternateContent>
        <mc:AlternateContent xmlns:mc="http://schemas.openxmlformats.org/markup-compatibility/2006">
          <mc:Choice xmlns:p14="http://schemas.microsoft.com/office/powerpoint/2010/main" Requires="p14">
            <p:contentPart p14:bwMode="auto" r:id="rId44">
              <p14:nvContentPartPr>
                <p14:cNvPr id="41" name="Ink 40">
                  <a:extLst>
                    <a:ext uri="{FF2B5EF4-FFF2-40B4-BE49-F238E27FC236}">
                      <a16:creationId xmlns:a16="http://schemas.microsoft.com/office/drawing/2014/main" id="{98B481A7-D851-B144-93D0-C518A9E2C857}"/>
                    </a:ext>
                  </a:extLst>
                </p14:cNvPr>
                <p14:cNvContentPartPr/>
                <p14:nvPr/>
              </p14:nvContentPartPr>
              <p14:xfrm>
                <a:off x="2840843" y="2956917"/>
                <a:ext cx="173880" cy="173520"/>
              </p14:xfrm>
            </p:contentPart>
          </mc:Choice>
          <mc:Fallback>
            <p:pic>
              <p:nvPicPr>
                <p:cNvPr id="41" name="Ink 40">
                  <a:extLst>
                    <a:ext uri="{FF2B5EF4-FFF2-40B4-BE49-F238E27FC236}">
                      <a16:creationId xmlns:a16="http://schemas.microsoft.com/office/drawing/2014/main" id="{98B481A7-D851-B144-93D0-C518A9E2C857}"/>
                    </a:ext>
                  </a:extLst>
                </p:cNvPr>
                <p:cNvPicPr/>
                <p:nvPr/>
              </p:nvPicPr>
              <p:blipFill>
                <a:blip r:embed="rId45"/>
                <a:stretch>
                  <a:fillRect/>
                </a:stretch>
              </p:blipFill>
              <p:spPr>
                <a:xfrm>
                  <a:off x="2825723" y="2941437"/>
                  <a:ext cx="204480" cy="204120"/>
                </a:xfrm>
                <a:prstGeom prst="rect">
                  <a:avLst/>
                </a:prstGeom>
              </p:spPr>
            </p:pic>
          </mc:Fallback>
        </mc:AlternateContent>
        <mc:AlternateContent xmlns:mc="http://schemas.openxmlformats.org/markup-compatibility/2006">
          <mc:Choice xmlns:p14="http://schemas.microsoft.com/office/powerpoint/2010/main" Requires="p14">
            <p:contentPart p14:bwMode="auto" r:id="rId46">
              <p14:nvContentPartPr>
                <p14:cNvPr id="42" name="Ink 41">
                  <a:extLst>
                    <a:ext uri="{FF2B5EF4-FFF2-40B4-BE49-F238E27FC236}">
                      <a16:creationId xmlns:a16="http://schemas.microsoft.com/office/drawing/2014/main" id="{7428E695-753C-A368-4219-9768C7C7D118}"/>
                    </a:ext>
                  </a:extLst>
                </p14:cNvPr>
                <p14:cNvContentPartPr/>
                <p14:nvPr/>
              </p14:nvContentPartPr>
              <p14:xfrm>
                <a:off x="3109403" y="2981037"/>
                <a:ext cx="84240" cy="129960"/>
              </p14:xfrm>
            </p:contentPart>
          </mc:Choice>
          <mc:Fallback>
            <p:pic>
              <p:nvPicPr>
                <p:cNvPr id="42" name="Ink 41">
                  <a:extLst>
                    <a:ext uri="{FF2B5EF4-FFF2-40B4-BE49-F238E27FC236}">
                      <a16:creationId xmlns:a16="http://schemas.microsoft.com/office/drawing/2014/main" id="{7428E695-753C-A368-4219-9768C7C7D118}"/>
                    </a:ext>
                  </a:extLst>
                </p:cNvPr>
                <p:cNvPicPr/>
                <p:nvPr/>
              </p:nvPicPr>
              <p:blipFill>
                <a:blip r:embed="rId47"/>
                <a:stretch>
                  <a:fillRect/>
                </a:stretch>
              </p:blipFill>
              <p:spPr>
                <a:xfrm>
                  <a:off x="3094283" y="2965917"/>
                  <a:ext cx="114840" cy="160560"/>
                </a:xfrm>
                <a:prstGeom prst="rect">
                  <a:avLst/>
                </a:prstGeom>
              </p:spPr>
            </p:pic>
          </mc:Fallback>
        </mc:AlternateContent>
        <mc:AlternateContent xmlns:mc="http://schemas.openxmlformats.org/markup-compatibility/2006">
          <mc:Choice xmlns:p14="http://schemas.microsoft.com/office/powerpoint/2010/main" Requires="p14">
            <p:contentPart p14:bwMode="auto" r:id="rId48">
              <p14:nvContentPartPr>
                <p14:cNvPr id="43" name="Ink 42">
                  <a:extLst>
                    <a:ext uri="{FF2B5EF4-FFF2-40B4-BE49-F238E27FC236}">
                      <a16:creationId xmlns:a16="http://schemas.microsoft.com/office/drawing/2014/main" id="{D9CECF0F-8676-F453-4E7D-02501CF97EA8}"/>
                    </a:ext>
                  </a:extLst>
                </p14:cNvPr>
                <p14:cNvContentPartPr/>
                <p14:nvPr/>
              </p14:nvContentPartPr>
              <p14:xfrm>
                <a:off x="3110843" y="3007677"/>
                <a:ext cx="114840" cy="144000"/>
              </p14:xfrm>
            </p:contentPart>
          </mc:Choice>
          <mc:Fallback>
            <p:pic>
              <p:nvPicPr>
                <p:cNvPr id="43" name="Ink 42">
                  <a:extLst>
                    <a:ext uri="{FF2B5EF4-FFF2-40B4-BE49-F238E27FC236}">
                      <a16:creationId xmlns:a16="http://schemas.microsoft.com/office/drawing/2014/main" id="{D9CECF0F-8676-F453-4E7D-02501CF97EA8}"/>
                    </a:ext>
                  </a:extLst>
                </p:cNvPr>
                <p:cNvPicPr/>
                <p:nvPr/>
              </p:nvPicPr>
              <p:blipFill>
                <a:blip r:embed="rId49"/>
                <a:stretch>
                  <a:fillRect/>
                </a:stretch>
              </p:blipFill>
              <p:spPr>
                <a:xfrm>
                  <a:off x="3095723" y="2992557"/>
                  <a:ext cx="145440" cy="174240"/>
                </a:xfrm>
                <a:prstGeom prst="rect">
                  <a:avLst/>
                </a:prstGeom>
              </p:spPr>
            </p:pic>
          </mc:Fallback>
        </mc:AlternateContent>
        <mc:AlternateContent xmlns:mc="http://schemas.openxmlformats.org/markup-compatibility/2006">
          <mc:Choice xmlns:p14="http://schemas.microsoft.com/office/powerpoint/2010/main" Requires="p14">
            <p:contentPart p14:bwMode="auto" r:id="rId50">
              <p14:nvContentPartPr>
                <p14:cNvPr id="44" name="Ink 43">
                  <a:extLst>
                    <a:ext uri="{FF2B5EF4-FFF2-40B4-BE49-F238E27FC236}">
                      <a16:creationId xmlns:a16="http://schemas.microsoft.com/office/drawing/2014/main" id="{547E27D4-1033-E595-965E-FB09FCF3129D}"/>
                    </a:ext>
                  </a:extLst>
                </p14:cNvPr>
                <p14:cNvContentPartPr/>
                <p14:nvPr/>
              </p14:nvContentPartPr>
              <p14:xfrm>
                <a:off x="3363563" y="2945757"/>
                <a:ext cx="137520" cy="150840"/>
              </p14:xfrm>
            </p:contentPart>
          </mc:Choice>
          <mc:Fallback>
            <p:pic>
              <p:nvPicPr>
                <p:cNvPr id="44" name="Ink 43">
                  <a:extLst>
                    <a:ext uri="{FF2B5EF4-FFF2-40B4-BE49-F238E27FC236}">
                      <a16:creationId xmlns:a16="http://schemas.microsoft.com/office/drawing/2014/main" id="{547E27D4-1033-E595-965E-FB09FCF3129D}"/>
                    </a:ext>
                  </a:extLst>
                </p:cNvPr>
                <p:cNvPicPr/>
                <p:nvPr/>
              </p:nvPicPr>
              <p:blipFill>
                <a:blip r:embed="rId51"/>
                <a:stretch>
                  <a:fillRect/>
                </a:stretch>
              </p:blipFill>
              <p:spPr>
                <a:xfrm>
                  <a:off x="3348443" y="2930637"/>
                  <a:ext cx="167760" cy="181080"/>
                </a:xfrm>
                <a:prstGeom prst="rect">
                  <a:avLst/>
                </a:prstGeom>
              </p:spPr>
            </p:pic>
          </mc:Fallback>
        </mc:AlternateContent>
        <mc:AlternateContent xmlns:mc="http://schemas.openxmlformats.org/markup-compatibility/2006">
          <mc:Choice xmlns:p14="http://schemas.microsoft.com/office/powerpoint/2010/main" Requires="p14">
            <p:contentPart p14:bwMode="auto" r:id="rId52">
              <p14:nvContentPartPr>
                <p14:cNvPr id="45" name="Ink 44">
                  <a:extLst>
                    <a:ext uri="{FF2B5EF4-FFF2-40B4-BE49-F238E27FC236}">
                      <a16:creationId xmlns:a16="http://schemas.microsoft.com/office/drawing/2014/main" id="{A6CC9E03-C009-9C2E-BFD0-04A4FCCC4AF0}"/>
                    </a:ext>
                  </a:extLst>
                </p14:cNvPr>
                <p14:cNvContentPartPr/>
                <p14:nvPr/>
              </p14:nvContentPartPr>
              <p14:xfrm>
                <a:off x="3570203" y="2942157"/>
                <a:ext cx="98640" cy="176760"/>
              </p14:xfrm>
            </p:contentPart>
          </mc:Choice>
          <mc:Fallback>
            <p:pic>
              <p:nvPicPr>
                <p:cNvPr id="45" name="Ink 44">
                  <a:extLst>
                    <a:ext uri="{FF2B5EF4-FFF2-40B4-BE49-F238E27FC236}">
                      <a16:creationId xmlns:a16="http://schemas.microsoft.com/office/drawing/2014/main" id="{A6CC9E03-C009-9C2E-BFD0-04A4FCCC4AF0}"/>
                    </a:ext>
                  </a:extLst>
                </p:cNvPr>
                <p:cNvPicPr/>
                <p:nvPr/>
              </p:nvPicPr>
              <p:blipFill>
                <a:blip r:embed="rId53"/>
                <a:stretch>
                  <a:fillRect/>
                </a:stretch>
              </p:blipFill>
              <p:spPr>
                <a:xfrm>
                  <a:off x="3554723" y="2927037"/>
                  <a:ext cx="128880" cy="207360"/>
                </a:xfrm>
                <a:prstGeom prst="rect">
                  <a:avLst/>
                </a:prstGeom>
              </p:spPr>
            </p:pic>
          </mc:Fallback>
        </mc:AlternateContent>
        <mc:AlternateContent xmlns:mc="http://schemas.openxmlformats.org/markup-compatibility/2006">
          <mc:Choice xmlns:p14="http://schemas.microsoft.com/office/powerpoint/2010/main" Requires="p14">
            <p:contentPart p14:bwMode="auto" r:id="rId54">
              <p14:nvContentPartPr>
                <p14:cNvPr id="46" name="Ink 45">
                  <a:extLst>
                    <a:ext uri="{FF2B5EF4-FFF2-40B4-BE49-F238E27FC236}">
                      <a16:creationId xmlns:a16="http://schemas.microsoft.com/office/drawing/2014/main" id="{E32EA1A4-C91E-A079-C8B7-AFAA49CCE8C8}"/>
                    </a:ext>
                  </a:extLst>
                </p14:cNvPr>
                <p14:cNvContentPartPr/>
                <p14:nvPr/>
              </p14:nvContentPartPr>
              <p14:xfrm>
                <a:off x="3755603" y="2871237"/>
                <a:ext cx="54000" cy="91800"/>
              </p14:xfrm>
            </p:contentPart>
          </mc:Choice>
          <mc:Fallback>
            <p:pic>
              <p:nvPicPr>
                <p:cNvPr id="46" name="Ink 45">
                  <a:extLst>
                    <a:ext uri="{FF2B5EF4-FFF2-40B4-BE49-F238E27FC236}">
                      <a16:creationId xmlns:a16="http://schemas.microsoft.com/office/drawing/2014/main" id="{E32EA1A4-C91E-A079-C8B7-AFAA49CCE8C8}"/>
                    </a:ext>
                  </a:extLst>
                </p:cNvPr>
                <p:cNvPicPr/>
                <p:nvPr/>
              </p:nvPicPr>
              <p:blipFill>
                <a:blip r:embed="rId55"/>
                <a:stretch>
                  <a:fillRect/>
                </a:stretch>
              </p:blipFill>
              <p:spPr>
                <a:xfrm>
                  <a:off x="3740483" y="2856117"/>
                  <a:ext cx="84600" cy="122400"/>
                </a:xfrm>
                <a:prstGeom prst="rect">
                  <a:avLst/>
                </a:prstGeom>
              </p:spPr>
            </p:pic>
          </mc:Fallback>
        </mc:AlternateContent>
        <mc:AlternateContent xmlns:mc="http://schemas.openxmlformats.org/markup-compatibility/2006">
          <mc:Choice xmlns:p14="http://schemas.microsoft.com/office/powerpoint/2010/main" Requires="p14">
            <p:contentPart p14:bwMode="auto" r:id="rId56">
              <p14:nvContentPartPr>
                <p14:cNvPr id="47" name="Ink 46">
                  <a:extLst>
                    <a:ext uri="{FF2B5EF4-FFF2-40B4-BE49-F238E27FC236}">
                      <a16:creationId xmlns:a16="http://schemas.microsoft.com/office/drawing/2014/main" id="{00786CA8-DF3F-06DA-6D97-4F130D5F4693}"/>
                    </a:ext>
                  </a:extLst>
                </p14:cNvPr>
                <p14:cNvContentPartPr/>
                <p14:nvPr/>
              </p14:nvContentPartPr>
              <p14:xfrm>
                <a:off x="3930563" y="2962677"/>
                <a:ext cx="116640" cy="125280"/>
              </p14:xfrm>
            </p:contentPart>
          </mc:Choice>
          <mc:Fallback>
            <p:pic>
              <p:nvPicPr>
                <p:cNvPr id="47" name="Ink 46">
                  <a:extLst>
                    <a:ext uri="{FF2B5EF4-FFF2-40B4-BE49-F238E27FC236}">
                      <a16:creationId xmlns:a16="http://schemas.microsoft.com/office/drawing/2014/main" id="{00786CA8-DF3F-06DA-6D97-4F130D5F4693}"/>
                    </a:ext>
                  </a:extLst>
                </p:cNvPr>
                <p:cNvPicPr/>
                <p:nvPr/>
              </p:nvPicPr>
              <p:blipFill>
                <a:blip r:embed="rId57"/>
                <a:stretch>
                  <a:fillRect/>
                </a:stretch>
              </p:blipFill>
              <p:spPr>
                <a:xfrm>
                  <a:off x="3915083" y="2947557"/>
                  <a:ext cx="146880" cy="155880"/>
                </a:xfrm>
                <a:prstGeom prst="rect">
                  <a:avLst/>
                </a:prstGeom>
              </p:spPr>
            </p:pic>
          </mc:Fallback>
        </mc:AlternateContent>
        <mc:AlternateContent xmlns:mc="http://schemas.openxmlformats.org/markup-compatibility/2006">
          <mc:Choice xmlns:p14="http://schemas.microsoft.com/office/powerpoint/2010/main" Requires="p14">
            <p:contentPart p14:bwMode="auto" r:id="rId58">
              <p14:nvContentPartPr>
                <p14:cNvPr id="48" name="Ink 47">
                  <a:extLst>
                    <a:ext uri="{FF2B5EF4-FFF2-40B4-BE49-F238E27FC236}">
                      <a16:creationId xmlns:a16="http://schemas.microsoft.com/office/drawing/2014/main" id="{25A375F4-7E53-1774-0402-B90F0A6089EA}"/>
                    </a:ext>
                  </a:extLst>
                </p14:cNvPr>
                <p14:cNvContentPartPr/>
                <p14:nvPr/>
              </p14:nvContentPartPr>
              <p14:xfrm>
                <a:off x="3965123" y="2974197"/>
                <a:ext cx="76320" cy="126720"/>
              </p14:xfrm>
            </p:contentPart>
          </mc:Choice>
          <mc:Fallback>
            <p:pic>
              <p:nvPicPr>
                <p:cNvPr id="48" name="Ink 47">
                  <a:extLst>
                    <a:ext uri="{FF2B5EF4-FFF2-40B4-BE49-F238E27FC236}">
                      <a16:creationId xmlns:a16="http://schemas.microsoft.com/office/drawing/2014/main" id="{25A375F4-7E53-1774-0402-B90F0A6089EA}"/>
                    </a:ext>
                  </a:extLst>
                </p:cNvPr>
                <p:cNvPicPr/>
                <p:nvPr/>
              </p:nvPicPr>
              <p:blipFill>
                <a:blip r:embed="rId59"/>
                <a:stretch>
                  <a:fillRect/>
                </a:stretch>
              </p:blipFill>
              <p:spPr>
                <a:xfrm>
                  <a:off x="3950003" y="2959077"/>
                  <a:ext cx="106920" cy="157320"/>
                </a:xfrm>
                <a:prstGeom prst="rect">
                  <a:avLst/>
                </a:prstGeom>
              </p:spPr>
            </p:pic>
          </mc:Fallback>
        </mc:AlternateContent>
        <mc:AlternateContent xmlns:mc="http://schemas.openxmlformats.org/markup-compatibility/2006">
          <mc:Choice xmlns:p14="http://schemas.microsoft.com/office/powerpoint/2010/main" Requires="p14">
            <p:contentPart p14:bwMode="auto" r:id="rId60">
              <p14:nvContentPartPr>
                <p14:cNvPr id="49" name="Ink 48">
                  <a:extLst>
                    <a:ext uri="{FF2B5EF4-FFF2-40B4-BE49-F238E27FC236}">
                      <a16:creationId xmlns:a16="http://schemas.microsoft.com/office/drawing/2014/main" id="{4DA8AD01-39AB-5B72-8713-5417CA0BC773}"/>
                    </a:ext>
                  </a:extLst>
                </p14:cNvPr>
                <p14:cNvContentPartPr/>
                <p14:nvPr/>
              </p14:nvContentPartPr>
              <p14:xfrm>
                <a:off x="4127483" y="2923797"/>
                <a:ext cx="182520" cy="204480"/>
              </p14:xfrm>
            </p:contentPart>
          </mc:Choice>
          <mc:Fallback>
            <p:pic>
              <p:nvPicPr>
                <p:cNvPr id="49" name="Ink 48">
                  <a:extLst>
                    <a:ext uri="{FF2B5EF4-FFF2-40B4-BE49-F238E27FC236}">
                      <a16:creationId xmlns:a16="http://schemas.microsoft.com/office/drawing/2014/main" id="{4DA8AD01-39AB-5B72-8713-5417CA0BC773}"/>
                    </a:ext>
                  </a:extLst>
                </p:cNvPr>
                <p:cNvPicPr/>
                <p:nvPr/>
              </p:nvPicPr>
              <p:blipFill>
                <a:blip r:embed="rId61"/>
                <a:stretch>
                  <a:fillRect/>
                </a:stretch>
              </p:blipFill>
              <p:spPr>
                <a:xfrm>
                  <a:off x="4112363" y="2908677"/>
                  <a:ext cx="213120" cy="234720"/>
                </a:xfrm>
                <a:prstGeom prst="rect">
                  <a:avLst/>
                </a:prstGeom>
              </p:spPr>
            </p:pic>
          </mc:Fallback>
        </mc:AlternateContent>
      </p:grpSp>
      <p:grpSp>
        <p:nvGrpSpPr>
          <p:cNvPr id="53" name="Group 52">
            <a:extLst>
              <a:ext uri="{FF2B5EF4-FFF2-40B4-BE49-F238E27FC236}">
                <a16:creationId xmlns:a16="http://schemas.microsoft.com/office/drawing/2014/main" id="{64D5081C-2426-702C-7EDA-4FEDFED85B9F}"/>
              </a:ext>
            </a:extLst>
          </p:cNvPr>
          <p:cNvGrpSpPr/>
          <p:nvPr/>
        </p:nvGrpSpPr>
        <p:grpSpPr>
          <a:xfrm>
            <a:off x="2869643" y="3343197"/>
            <a:ext cx="613440" cy="149760"/>
            <a:chOff x="2869643" y="3343197"/>
            <a:chExt cx="613440" cy="149760"/>
          </a:xfrm>
        </p:grpSpPr>
        <mc:AlternateContent xmlns:mc="http://schemas.openxmlformats.org/markup-compatibility/2006">
          <mc:Choice xmlns:p14="http://schemas.microsoft.com/office/powerpoint/2010/main" Requires="p14">
            <p:contentPart p14:bwMode="auto" r:id="rId62">
              <p14:nvContentPartPr>
                <p14:cNvPr id="51" name="Ink 50">
                  <a:extLst>
                    <a:ext uri="{FF2B5EF4-FFF2-40B4-BE49-F238E27FC236}">
                      <a16:creationId xmlns:a16="http://schemas.microsoft.com/office/drawing/2014/main" id="{6B29B4BF-57B4-6500-B56F-EB4141A9A231}"/>
                    </a:ext>
                  </a:extLst>
                </p14:cNvPr>
                <p14:cNvContentPartPr/>
                <p14:nvPr/>
              </p14:nvContentPartPr>
              <p14:xfrm>
                <a:off x="2869643" y="3343197"/>
                <a:ext cx="581400" cy="24480"/>
              </p14:xfrm>
            </p:contentPart>
          </mc:Choice>
          <mc:Fallback>
            <p:pic>
              <p:nvPicPr>
                <p:cNvPr id="51" name="Ink 50">
                  <a:extLst>
                    <a:ext uri="{FF2B5EF4-FFF2-40B4-BE49-F238E27FC236}">
                      <a16:creationId xmlns:a16="http://schemas.microsoft.com/office/drawing/2014/main" id="{6B29B4BF-57B4-6500-B56F-EB4141A9A231}"/>
                    </a:ext>
                  </a:extLst>
                </p:cNvPr>
                <p:cNvPicPr/>
                <p:nvPr/>
              </p:nvPicPr>
              <p:blipFill>
                <a:blip r:embed="rId63"/>
                <a:stretch>
                  <a:fillRect/>
                </a:stretch>
              </p:blipFill>
              <p:spPr>
                <a:xfrm>
                  <a:off x="2854163" y="3328077"/>
                  <a:ext cx="612000" cy="55080"/>
                </a:xfrm>
                <a:prstGeom prst="rect">
                  <a:avLst/>
                </a:prstGeom>
              </p:spPr>
            </p:pic>
          </mc:Fallback>
        </mc:AlternateContent>
        <mc:AlternateContent xmlns:mc="http://schemas.openxmlformats.org/markup-compatibility/2006">
          <mc:Choice xmlns:p14="http://schemas.microsoft.com/office/powerpoint/2010/main" Requires="p14">
            <p:contentPart p14:bwMode="auto" r:id="rId64">
              <p14:nvContentPartPr>
                <p14:cNvPr id="52" name="Ink 51">
                  <a:extLst>
                    <a:ext uri="{FF2B5EF4-FFF2-40B4-BE49-F238E27FC236}">
                      <a16:creationId xmlns:a16="http://schemas.microsoft.com/office/drawing/2014/main" id="{B3932999-AC59-717D-4724-687ED503D265}"/>
                    </a:ext>
                  </a:extLst>
                </p14:cNvPr>
                <p14:cNvContentPartPr/>
                <p14:nvPr/>
              </p14:nvContentPartPr>
              <p14:xfrm>
                <a:off x="2915723" y="3429597"/>
                <a:ext cx="567360" cy="63360"/>
              </p14:xfrm>
            </p:contentPart>
          </mc:Choice>
          <mc:Fallback>
            <p:pic>
              <p:nvPicPr>
                <p:cNvPr id="52" name="Ink 51">
                  <a:extLst>
                    <a:ext uri="{FF2B5EF4-FFF2-40B4-BE49-F238E27FC236}">
                      <a16:creationId xmlns:a16="http://schemas.microsoft.com/office/drawing/2014/main" id="{B3932999-AC59-717D-4724-687ED503D265}"/>
                    </a:ext>
                  </a:extLst>
                </p:cNvPr>
                <p:cNvPicPr/>
                <p:nvPr/>
              </p:nvPicPr>
              <p:blipFill>
                <a:blip r:embed="rId65"/>
                <a:stretch>
                  <a:fillRect/>
                </a:stretch>
              </p:blipFill>
              <p:spPr>
                <a:xfrm>
                  <a:off x="2900603" y="3414117"/>
                  <a:ext cx="597600" cy="93960"/>
                </a:xfrm>
                <a:prstGeom prst="rect">
                  <a:avLst/>
                </a:prstGeom>
              </p:spPr>
            </p:pic>
          </mc:Fallback>
        </mc:AlternateContent>
      </p:grpSp>
      <p:grpSp>
        <p:nvGrpSpPr>
          <p:cNvPr id="57" name="Group 56">
            <a:extLst>
              <a:ext uri="{FF2B5EF4-FFF2-40B4-BE49-F238E27FC236}">
                <a16:creationId xmlns:a16="http://schemas.microsoft.com/office/drawing/2014/main" id="{B2F8046C-7724-6FC7-C182-7C71D3B904D4}"/>
              </a:ext>
            </a:extLst>
          </p:cNvPr>
          <p:cNvGrpSpPr/>
          <p:nvPr/>
        </p:nvGrpSpPr>
        <p:grpSpPr>
          <a:xfrm>
            <a:off x="2784323" y="1492437"/>
            <a:ext cx="2325960" cy="1191960"/>
            <a:chOff x="2784323" y="1492437"/>
            <a:chExt cx="2325960" cy="1191960"/>
          </a:xfrm>
        </p:grpSpPr>
        <mc:AlternateContent xmlns:mc="http://schemas.openxmlformats.org/markup-compatibility/2006">
          <mc:Choice xmlns:p14="http://schemas.microsoft.com/office/powerpoint/2010/main" Requires="p14">
            <p:contentPart p14:bwMode="auto" r:id="rId66">
              <p14:nvContentPartPr>
                <p14:cNvPr id="16" name="Ink 15">
                  <a:extLst>
                    <a:ext uri="{FF2B5EF4-FFF2-40B4-BE49-F238E27FC236}">
                      <a16:creationId xmlns:a16="http://schemas.microsoft.com/office/drawing/2014/main" id="{BF7436BA-F9C0-641D-7BCE-E98C97572EB9}"/>
                    </a:ext>
                  </a:extLst>
                </p14:cNvPr>
                <p14:cNvContentPartPr/>
                <p14:nvPr/>
              </p14:nvContentPartPr>
              <p14:xfrm>
                <a:off x="3014363" y="1504677"/>
                <a:ext cx="45720" cy="11520"/>
              </p14:xfrm>
            </p:contentPart>
          </mc:Choice>
          <mc:Fallback>
            <p:pic>
              <p:nvPicPr>
                <p:cNvPr id="16" name="Ink 15">
                  <a:extLst>
                    <a:ext uri="{FF2B5EF4-FFF2-40B4-BE49-F238E27FC236}">
                      <a16:creationId xmlns:a16="http://schemas.microsoft.com/office/drawing/2014/main" id="{BF7436BA-F9C0-641D-7BCE-E98C97572EB9}"/>
                    </a:ext>
                  </a:extLst>
                </p:cNvPr>
                <p:cNvPicPr/>
                <p:nvPr/>
              </p:nvPicPr>
              <p:blipFill>
                <a:blip r:embed="rId67"/>
                <a:stretch>
                  <a:fillRect/>
                </a:stretch>
              </p:blipFill>
              <p:spPr>
                <a:xfrm>
                  <a:off x="2999243" y="1489557"/>
                  <a:ext cx="76320" cy="42120"/>
                </a:xfrm>
                <a:prstGeom prst="rect">
                  <a:avLst/>
                </a:prstGeom>
              </p:spPr>
            </p:pic>
          </mc:Fallback>
        </mc:AlternateContent>
        <mc:AlternateContent xmlns:mc="http://schemas.openxmlformats.org/markup-compatibility/2006">
          <mc:Choice xmlns:p14="http://schemas.microsoft.com/office/powerpoint/2010/main" Requires="p14">
            <p:contentPart p14:bwMode="auto" r:id="rId68">
              <p14:nvContentPartPr>
                <p14:cNvPr id="17" name="Ink 16">
                  <a:extLst>
                    <a:ext uri="{FF2B5EF4-FFF2-40B4-BE49-F238E27FC236}">
                      <a16:creationId xmlns:a16="http://schemas.microsoft.com/office/drawing/2014/main" id="{CAA193B4-87AB-5511-3787-84C6BDBB3F80}"/>
                    </a:ext>
                  </a:extLst>
                </p14:cNvPr>
                <p14:cNvContentPartPr/>
                <p14:nvPr/>
              </p14:nvContentPartPr>
              <p14:xfrm>
                <a:off x="3039563" y="1562277"/>
                <a:ext cx="121320" cy="18000"/>
              </p14:xfrm>
            </p:contentPart>
          </mc:Choice>
          <mc:Fallback>
            <p:pic>
              <p:nvPicPr>
                <p:cNvPr id="17" name="Ink 16">
                  <a:extLst>
                    <a:ext uri="{FF2B5EF4-FFF2-40B4-BE49-F238E27FC236}">
                      <a16:creationId xmlns:a16="http://schemas.microsoft.com/office/drawing/2014/main" id="{CAA193B4-87AB-5511-3787-84C6BDBB3F80}"/>
                    </a:ext>
                  </a:extLst>
                </p:cNvPr>
                <p:cNvPicPr/>
                <p:nvPr/>
              </p:nvPicPr>
              <p:blipFill>
                <a:blip r:embed="rId69"/>
                <a:stretch>
                  <a:fillRect/>
                </a:stretch>
              </p:blipFill>
              <p:spPr>
                <a:xfrm>
                  <a:off x="3024083" y="1547157"/>
                  <a:ext cx="151560" cy="48600"/>
                </a:xfrm>
                <a:prstGeom prst="rect">
                  <a:avLst/>
                </a:prstGeom>
              </p:spPr>
            </p:pic>
          </mc:Fallback>
        </mc:AlternateContent>
        <mc:AlternateContent xmlns:mc="http://schemas.openxmlformats.org/markup-compatibility/2006">
          <mc:Choice xmlns:p14="http://schemas.microsoft.com/office/powerpoint/2010/main" Requires="p14">
            <p:contentPart p14:bwMode="auto" r:id="rId70">
              <p14:nvContentPartPr>
                <p14:cNvPr id="25" name="Ink 24">
                  <a:extLst>
                    <a:ext uri="{FF2B5EF4-FFF2-40B4-BE49-F238E27FC236}">
                      <a16:creationId xmlns:a16="http://schemas.microsoft.com/office/drawing/2014/main" id="{5F394967-4B99-3243-137D-EDAF2D1462AB}"/>
                    </a:ext>
                  </a:extLst>
                </p14:cNvPr>
                <p14:cNvContentPartPr/>
                <p14:nvPr/>
              </p14:nvContentPartPr>
              <p14:xfrm>
                <a:off x="2930483" y="1818237"/>
                <a:ext cx="14400" cy="6840"/>
              </p14:xfrm>
            </p:contentPart>
          </mc:Choice>
          <mc:Fallback>
            <p:pic>
              <p:nvPicPr>
                <p:cNvPr id="25" name="Ink 24">
                  <a:extLst>
                    <a:ext uri="{FF2B5EF4-FFF2-40B4-BE49-F238E27FC236}">
                      <a16:creationId xmlns:a16="http://schemas.microsoft.com/office/drawing/2014/main" id="{5F394967-4B99-3243-137D-EDAF2D1462AB}"/>
                    </a:ext>
                  </a:extLst>
                </p:cNvPr>
                <p:cNvPicPr/>
                <p:nvPr/>
              </p:nvPicPr>
              <p:blipFill>
                <a:blip r:embed="rId71"/>
                <a:stretch>
                  <a:fillRect/>
                </a:stretch>
              </p:blipFill>
              <p:spPr>
                <a:xfrm>
                  <a:off x="2915363" y="1802757"/>
                  <a:ext cx="44640" cy="37440"/>
                </a:xfrm>
                <a:prstGeom prst="rect">
                  <a:avLst/>
                </a:prstGeom>
              </p:spPr>
            </p:pic>
          </mc:Fallback>
        </mc:AlternateContent>
        <mc:AlternateContent xmlns:mc="http://schemas.openxmlformats.org/markup-compatibility/2006">
          <mc:Choice xmlns:p14="http://schemas.microsoft.com/office/powerpoint/2010/main" Requires="p14">
            <p:contentPart p14:bwMode="auto" r:id="rId72">
              <p14:nvContentPartPr>
                <p14:cNvPr id="26" name="Ink 25">
                  <a:extLst>
                    <a:ext uri="{FF2B5EF4-FFF2-40B4-BE49-F238E27FC236}">
                      <a16:creationId xmlns:a16="http://schemas.microsoft.com/office/drawing/2014/main" id="{46331325-03AB-DE28-AED7-64ED58CE896F}"/>
                    </a:ext>
                  </a:extLst>
                </p14:cNvPr>
                <p14:cNvContentPartPr/>
                <p14:nvPr/>
              </p14:nvContentPartPr>
              <p14:xfrm>
                <a:off x="2790083" y="1806357"/>
                <a:ext cx="95400" cy="372960"/>
              </p14:xfrm>
            </p:contentPart>
          </mc:Choice>
          <mc:Fallback>
            <p:pic>
              <p:nvPicPr>
                <p:cNvPr id="26" name="Ink 25">
                  <a:extLst>
                    <a:ext uri="{FF2B5EF4-FFF2-40B4-BE49-F238E27FC236}">
                      <a16:creationId xmlns:a16="http://schemas.microsoft.com/office/drawing/2014/main" id="{46331325-03AB-DE28-AED7-64ED58CE896F}"/>
                    </a:ext>
                  </a:extLst>
                </p:cNvPr>
                <p:cNvPicPr/>
                <p:nvPr/>
              </p:nvPicPr>
              <p:blipFill>
                <a:blip r:embed="rId73"/>
                <a:stretch>
                  <a:fillRect/>
                </a:stretch>
              </p:blipFill>
              <p:spPr>
                <a:xfrm>
                  <a:off x="2774603" y="1790877"/>
                  <a:ext cx="125640" cy="403200"/>
                </a:xfrm>
                <a:prstGeom prst="rect">
                  <a:avLst/>
                </a:prstGeom>
              </p:spPr>
            </p:pic>
          </mc:Fallback>
        </mc:AlternateContent>
        <mc:AlternateContent xmlns:mc="http://schemas.openxmlformats.org/markup-compatibility/2006">
          <mc:Choice xmlns:p14="http://schemas.microsoft.com/office/powerpoint/2010/main" Requires="p14">
            <p:contentPart p14:bwMode="auto" r:id="rId74">
              <p14:nvContentPartPr>
                <p14:cNvPr id="27" name="Ink 26">
                  <a:extLst>
                    <a:ext uri="{FF2B5EF4-FFF2-40B4-BE49-F238E27FC236}">
                      <a16:creationId xmlns:a16="http://schemas.microsoft.com/office/drawing/2014/main" id="{6107857F-95E7-F082-A28C-7880F372A04C}"/>
                    </a:ext>
                  </a:extLst>
                </p14:cNvPr>
                <p14:cNvContentPartPr/>
                <p14:nvPr/>
              </p14:nvContentPartPr>
              <p14:xfrm>
                <a:off x="2790083" y="1798437"/>
                <a:ext cx="413280" cy="418320"/>
              </p14:xfrm>
            </p:contentPart>
          </mc:Choice>
          <mc:Fallback>
            <p:pic>
              <p:nvPicPr>
                <p:cNvPr id="27" name="Ink 26">
                  <a:extLst>
                    <a:ext uri="{FF2B5EF4-FFF2-40B4-BE49-F238E27FC236}">
                      <a16:creationId xmlns:a16="http://schemas.microsoft.com/office/drawing/2014/main" id="{6107857F-95E7-F082-A28C-7880F372A04C}"/>
                    </a:ext>
                  </a:extLst>
                </p:cNvPr>
                <p:cNvPicPr/>
                <p:nvPr/>
              </p:nvPicPr>
              <p:blipFill>
                <a:blip r:embed="rId75"/>
                <a:stretch>
                  <a:fillRect/>
                </a:stretch>
              </p:blipFill>
              <p:spPr>
                <a:xfrm>
                  <a:off x="2774963" y="1783317"/>
                  <a:ext cx="443880" cy="448560"/>
                </a:xfrm>
                <a:prstGeom prst="rect">
                  <a:avLst/>
                </a:prstGeom>
              </p:spPr>
            </p:pic>
          </mc:Fallback>
        </mc:AlternateContent>
        <mc:AlternateContent xmlns:mc="http://schemas.openxmlformats.org/markup-compatibility/2006">
          <mc:Choice xmlns:p14="http://schemas.microsoft.com/office/powerpoint/2010/main" Requires="p14">
            <p:contentPart p14:bwMode="auto" r:id="rId76">
              <p14:nvContentPartPr>
                <p14:cNvPr id="28" name="Ink 27">
                  <a:extLst>
                    <a:ext uri="{FF2B5EF4-FFF2-40B4-BE49-F238E27FC236}">
                      <a16:creationId xmlns:a16="http://schemas.microsoft.com/office/drawing/2014/main" id="{73162747-011B-49DF-9A45-C317B754B9AC}"/>
                    </a:ext>
                  </a:extLst>
                </p14:cNvPr>
                <p14:cNvContentPartPr/>
                <p14:nvPr/>
              </p14:nvContentPartPr>
              <p14:xfrm>
                <a:off x="3353843" y="1806717"/>
                <a:ext cx="9360" cy="326520"/>
              </p14:xfrm>
            </p:contentPart>
          </mc:Choice>
          <mc:Fallback>
            <p:pic>
              <p:nvPicPr>
                <p:cNvPr id="28" name="Ink 27">
                  <a:extLst>
                    <a:ext uri="{FF2B5EF4-FFF2-40B4-BE49-F238E27FC236}">
                      <a16:creationId xmlns:a16="http://schemas.microsoft.com/office/drawing/2014/main" id="{73162747-011B-49DF-9A45-C317B754B9AC}"/>
                    </a:ext>
                  </a:extLst>
                </p:cNvPr>
                <p:cNvPicPr/>
                <p:nvPr/>
              </p:nvPicPr>
              <p:blipFill>
                <a:blip r:embed="rId77"/>
                <a:stretch>
                  <a:fillRect/>
                </a:stretch>
              </p:blipFill>
              <p:spPr>
                <a:xfrm>
                  <a:off x="3338723" y="1791597"/>
                  <a:ext cx="39960" cy="357120"/>
                </a:xfrm>
                <a:prstGeom prst="rect">
                  <a:avLst/>
                </a:prstGeom>
              </p:spPr>
            </p:pic>
          </mc:Fallback>
        </mc:AlternateContent>
        <mc:AlternateContent xmlns:mc="http://schemas.openxmlformats.org/markup-compatibility/2006">
          <mc:Choice xmlns:p14="http://schemas.microsoft.com/office/powerpoint/2010/main" Requires="p14">
            <p:contentPart p14:bwMode="auto" r:id="rId78">
              <p14:nvContentPartPr>
                <p14:cNvPr id="29" name="Ink 28">
                  <a:extLst>
                    <a:ext uri="{FF2B5EF4-FFF2-40B4-BE49-F238E27FC236}">
                      <a16:creationId xmlns:a16="http://schemas.microsoft.com/office/drawing/2014/main" id="{A939571B-813D-146F-FDF3-46B0325CA355}"/>
                    </a:ext>
                  </a:extLst>
                </p14:cNvPr>
                <p14:cNvContentPartPr/>
                <p14:nvPr/>
              </p14:nvContentPartPr>
              <p14:xfrm>
                <a:off x="3366083" y="1777197"/>
                <a:ext cx="424440" cy="398160"/>
              </p14:xfrm>
            </p:contentPart>
          </mc:Choice>
          <mc:Fallback>
            <p:pic>
              <p:nvPicPr>
                <p:cNvPr id="29" name="Ink 28">
                  <a:extLst>
                    <a:ext uri="{FF2B5EF4-FFF2-40B4-BE49-F238E27FC236}">
                      <a16:creationId xmlns:a16="http://schemas.microsoft.com/office/drawing/2014/main" id="{A939571B-813D-146F-FDF3-46B0325CA355}"/>
                    </a:ext>
                  </a:extLst>
                </p:cNvPr>
                <p:cNvPicPr/>
                <p:nvPr/>
              </p:nvPicPr>
              <p:blipFill>
                <a:blip r:embed="rId79"/>
                <a:stretch>
                  <a:fillRect/>
                </a:stretch>
              </p:blipFill>
              <p:spPr>
                <a:xfrm>
                  <a:off x="3350963" y="1761717"/>
                  <a:ext cx="455040" cy="428760"/>
                </a:xfrm>
                <a:prstGeom prst="rect">
                  <a:avLst/>
                </a:prstGeom>
              </p:spPr>
            </p:pic>
          </mc:Fallback>
        </mc:AlternateContent>
        <mc:AlternateContent xmlns:mc="http://schemas.openxmlformats.org/markup-compatibility/2006">
          <mc:Choice xmlns:p14="http://schemas.microsoft.com/office/powerpoint/2010/main" Requires="p14">
            <p:contentPart p14:bwMode="auto" r:id="rId80">
              <p14:nvContentPartPr>
                <p14:cNvPr id="30" name="Ink 29">
                  <a:extLst>
                    <a:ext uri="{FF2B5EF4-FFF2-40B4-BE49-F238E27FC236}">
                      <a16:creationId xmlns:a16="http://schemas.microsoft.com/office/drawing/2014/main" id="{C30A93FB-65FB-F9D2-C003-B77B250A6836}"/>
                    </a:ext>
                  </a:extLst>
                </p14:cNvPr>
                <p14:cNvContentPartPr/>
                <p14:nvPr/>
              </p14:nvContentPartPr>
              <p14:xfrm>
                <a:off x="4197323" y="1498557"/>
                <a:ext cx="116640" cy="182520"/>
              </p14:xfrm>
            </p:contentPart>
          </mc:Choice>
          <mc:Fallback>
            <p:pic>
              <p:nvPicPr>
                <p:cNvPr id="30" name="Ink 29">
                  <a:extLst>
                    <a:ext uri="{FF2B5EF4-FFF2-40B4-BE49-F238E27FC236}">
                      <a16:creationId xmlns:a16="http://schemas.microsoft.com/office/drawing/2014/main" id="{C30A93FB-65FB-F9D2-C003-B77B250A6836}"/>
                    </a:ext>
                  </a:extLst>
                </p:cNvPr>
                <p:cNvPicPr/>
                <p:nvPr/>
              </p:nvPicPr>
              <p:blipFill>
                <a:blip r:embed="rId81"/>
                <a:stretch>
                  <a:fillRect/>
                </a:stretch>
              </p:blipFill>
              <p:spPr>
                <a:xfrm>
                  <a:off x="4181843" y="1483077"/>
                  <a:ext cx="147240" cy="213120"/>
                </a:xfrm>
                <a:prstGeom prst="rect">
                  <a:avLst/>
                </a:prstGeom>
              </p:spPr>
            </p:pic>
          </mc:Fallback>
        </mc:AlternateContent>
        <mc:AlternateContent xmlns:mc="http://schemas.openxmlformats.org/markup-compatibility/2006">
          <mc:Choice xmlns:p14="http://schemas.microsoft.com/office/powerpoint/2010/main" Requires="p14">
            <p:contentPart p14:bwMode="auto" r:id="rId82">
              <p14:nvContentPartPr>
                <p14:cNvPr id="31" name="Ink 30">
                  <a:extLst>
                    <a:ext uri="{FF2B5EF4-FFF2-40B4-BE49-F238E27FC236}">
                      <a16:creationId xmlns:a16="http://schemas.microsoft.com/office/drawing/2014/main" id="{4F34FA71-9150-E58F-0AAE-2B5396D8F660}"/>
                    </a:ext>
                  </a:extLst>
                </p14:cNvPr>
                <p14:cNvContentPartPr/>
                <p14:nvPr/>
              </p14:nvContentPartPr>
              <p14:xfrm>
                <a:off x="4354283" y="1492437"/>
                <a:ext cx="131760" cy="57240"/>
              </p14:xfrm>
            </p:contentPart>
          </mc:Choice>
          <mc:Fallback>
            <p:pic>
              <p:nvPicPr>
                <p:cNvPr id="31" name="Ink 30">
                  <a:extLst>
                    <a:ext uri="{FF2B5EF4-FFF2-40B4-BE49-F238E27FC236}">
                      <a16:creationId xmlns:a16="http://schemas.microsoft.com/office/drawing/2014/main" id="{4F34FA71-9150-E58F-0AAE-2B5396D8F660}"/>
                    </a:ext>
                  </a:extLst>
                </p:cNvPr>
                <p:cNvPicPr/>
                <p:nvPr/>
              </p:nvPicPr>
              <p:blipFill>
                <a:blip r:embed="rId83"/>
                <a:stretch>
                  <a:fillRect/>
                </a:stretch>
              </p:blipFill>
              <p:spPr>
                <a:xfrm>
                  <a:off x="4338803" y="1477317"/>
                  <a:ext cx="162360" cy="87840"/>
                </a:xfrm>
                <a:prstGeom prst="rect">
                  <a:avLst/>
                </a:prstGeom>
              </p:spPr>
            </p:pic>
          </mc:Fallback>
        </mc:AlternateContent>
        <mc:AlternateContent xmlns:mc="http://schemas.openxmlformats.org/markup-compatibility/2006">
          <mc:Choice xmlns:p14="http://schemas.microsoft.com/office/powerpoint/2010/main" Requires="p14">
            <p:contentPart p14:bwMode="auto" r:id="rId84">
              <p14:nvContentPartPr>
                <p14:cNvPr id="32" name="Ink 31">
                  <a:extLst>
                    <a:ext uri="{FF2B5EF4-FFF2-40B4-BE49-F238E27FC236}">
                      <a16:creationId xmlns:a16="http://schemas.microsoft.com/office/drawing/2014/main" id="{A741FEB5-BA1B-D8B1-BDC3-1DCC352F551C}"/>
                    </a:ext>
                  </a:extLst>
                </p14:cNvPr>
                <p14:cNvContentPartPr/>
                <p14:nvPr/>
              </p14:nvContentPartPr>
              <p14:xfrm>
                <a:off x="4533203" y="1492797"/>
                <a:ext cx="57600" cy="126360"/>
              </p14:xfrm>
            </p:contentPart>
          </mc:Choice>
          <mc:Fallback>
            <p:pic>
              <p:nvPicPr>
                <p:cNvPr id="32" name="Ink 31">
                  <a:extLst>
                    <a:ext uri="{FF2B5EF4-FFF2-40B4-BE49-F238E27FC236}">
                      <a16:creationId xmlns:a16="http://schemas.microsoft.com/office/drawing/2014/main" id="{A741FEB5-BA1B-D8B1-BDC3-1DCC352F551C}"/>
                    </a:ext>
                  </a:extLst>
                </p:cNvPr>
                <p:cNvPicPr/>
                <p:nvPr/>
              </p:nvPicPr>
              <p:blipFill>
                <a:blip r:embed="rId85"/>
                <a:stretch>
                  <a:fillRect/>
                </a:stretch>
              </p:blipFill>
              <p:spPr>
                <a:xfrm>
                  <a:off x="4518083" y="1477677"/>
                  <a:ext cx="88200" cy="156600"/>
                </a:xfrm>
                <a:prstGeom prst="rect">
                  <a:avLst/>
                </a:prstGeom>
              </p:spPr>
            </p:pic>
          </mc:Fallback>
        </mc:AlternateContent>
        <mc:AlternateContent xmlns:mc="http://schemas.openxmlformats.org/markup-compatibility/2006">
          <mc:Choice xmlns:p14="http://schemas.microsoft.com/office/powerpoint/2010/main" Requires="p14">
            <p:contentPart p14:bwMode="auto" r:id="rId86">
              <p14:nvContentPartPr>
                <p14:cNvPr id="33" name="Ink 32">
                  <a:extLst>
                    <a:ext uri="{FF2B5EF4-FFF2-40B4-BE49-F238E27FC236}">
                      <a16:creationId xmlns:a16="http://schemas.microsoft.com/office/drawing/2014/main" id="{671C40F6-C227-2164-4A80-88952C39DD0D}"/>
                    </a:ext>
                  </a:extLst>
                </p14:cNvPr>
                <p14:cNvContentPartPr/>
                <p14:nvPr/>
              </p14:nvContentPartPr>
              <p14:xfrm>
                <a:off x="4556243" y="1505037"/>
                <a:ext cx="126720" cy="160200"/>
              </p14:xfrm>
            </p:contentPart>
          </mc:Choice>
          <mc:Fallback>
            <p:pic>
              <p:nvPicPr>
                <p:cNvPr id="33" name="Ink 32">
                  <a:extLst>
                    <a:ext uri="{FF2B5EF4-FFF2-40B4-BE49-F238E27FC236}">
                      <a16:creationId xmlns:a16="http://schemas.microsoft.com/office/drawing/2014/main" id="{671C40F6-C227-2164-4A80-88952C39DD0D}"/>
                    </a:ext>
                  </a:extLst>
                </p:cNvPr>
                <p:cNvPicPr/>
                <p:nvPr/>
              </p:nvPicPr>
              <p:blipFill>
                <a:blip r:embed="rId87"/>
                <a:stretch>
                  <a:fillRect/>
                </a:stretch>
              </p:blipFill>
              <p:spPr>
                <a:xfrm>
                  <a:off x="4540763" y="1489917"/>
                  <a:ext cx="157320" cy="190800"/>
                </a:xfrm>
                <a:prstGeom prst="rect">
                  <a:avLst/>
                </a:prstGeom>
              </p:spPr>
            </p:pic>
          </mc:Fallback>
        </mc:AlternateContent>
        <mc:AlternateContent xmlns:mc="http://schemas.openxmlformats.org/markup-compatibility/2006">
          <mc:Choice xmlns:p14="http://schemas.microsoft.com/office/powerpoint/2010/main" Requires="p14">
            <p:contentPart p14:bwMode="auto" r:id="rId88">
              <p14:nvContentPartPr>
                <p14:cNvPr id="34" name="Ink 33">
                  <a:extLst>
                    <a:ext uri="{FF2B5EF4-FFF2-40B4-BE49-F238E27FC236}">
                      <a16:creationId xmlns:a16="http://schemas.microsoft.com/office/drawing/2014/main" id="{85CA9E43-D510-BB21-2D89-37AED8450D5F}"/>
                    </a:ext>
                  </a:extLst>
                </p14:cNvPr>
                <p14:cNvContentPartPr/>
                <p14:nvPr/>
              </p14:nvContentPartPr>
              <p14:xfrm>
                <a:off x="4765403" y="1544997"/>
                <a:ext cx="57960" cy="69120"/>
              </p14:xfrm>
            </p:contentPart>
          </mc:Choice>
          <mc:Fallback>
            <p:pic>
              <p:nvPicPr>
                <p:cNvPr id="34" name="Ink 33">
                  <a:extLst>
                    <a:ext uri="{FF2B5EF4-FFF2-40B4-BE49-F238E27FC236}">
                      <a16:creationId xmlns:a16="http://schemas.microsoft.com/office/drawing/2014/main" id="{85CA9E43-D510-BB21-2D89-37AED8450D5F}"/>
                    </a:ext>
                  </a:extLst>
                </p:cNvPr>
                <p:cNvPicPr/>
                <p:nvPr/>
              </p:nvPicPr>
              <p:blipFill>
                <a:blip r:embed="rId89"/>
                <a:stretch>
                  <a:fillRect/>
                </a:stretch>
              </p:blipFill>
              <p:spPr>
                <a:xfrm>
                  <a:off x="4749923" y="1529517"/>
                  <a:ext cx="88560" cy="99720"/>
                </a:xfrm>
                <a:prstGeom prst="rect">
                  <a:avLst/>
                </a:prstGeom>
              </p:spPr>
            </p:pic>
          </mc:Fallback>
        </mc:AlternateContent>
        <mc:AlternateContent xmlns:mc="http://schemas.openxmlformats.org/markup-compatibility/2006">
          <mc:Choice xmlns:p14="http://schemas.microsoft.com/office/powerpoint/2010/main" Requires="p14">
            <p:contentPart p14:bwMode="auto" r:id="rId90">
              <p14:nvContentPartPr>
                <p14:cNvPr id="35" name="Ink 34">
                  <a:extLst>
                    <a:ext uri="{FF2B5EF4-FFF2-40B4-BE49-F238E27FC236}">
                      <a16:creationId xmlns:a16="http://schemas.microsoft.com/office/drawing/2014/main" id="{22396C4B-D50B-19CE-0896-7CC3420A19FB}"/>
                    </a:ext>
                  </a:extLst>
                </p14:cNvPr>
                <p14:cNvContentPartPr/>
                <p14:nvPr/>
              </p14:nvContentPartPr>
              <p14:xfrm>
                <a:off x="4770443" y="1550037"/>
                <a:ext cx="69840" cy="78840"/>
              </p14:xfrm>
            </p:contentPart>
          </mc:Choice>
          <mc:Fallback>
            <p:pic>
              <p:nvPicPr>
                <p:cNvPr id="35" name="Ink 34">
                  <a:extLst>
                    <a:ext uri="{FF2B5EF4-FFF2-40B4-BE49-F238E27FC236}">
                      <a16:creationId xmlns:a16="http://schemas.microsoft.com/office/drawing/2014/main" id="{22396C4B-D50B-19CE-0896-7CC3420A19FB}"/>
                    </a:ext>
                  </a:extLst>
                </p:cNvPr>
                <p:cNvPicPr/>
                <p:nvPr/>
              </p:nvPicPr>
              <p:blipFill>
                <a:blip r:embed="rId91"/>
                <a:stretch>
                  <a:fillRect/>
                </a:stretch>
              </p:blipFill>
              <p:spPr>
                <a:xfrm>
                  <a:off x="4755323" y="1534917"/>
                  <a:ext cx="100440" cy="109440"/>
                </a:xfrm>
                <a:prstGeom prst="rect">
                  <a:avLst/>
                </a:prstGeom>
              </p:spPr>
            </p:pic>
          </mc:Fallback>
        </mc:AlternateContent>
        <mc:AlternateContent xmlns:mc="http://schemas.openxmlformats.org/markup-compatibility/2006">
          <mc:Choice xmlns:p14="http://schemas.microsoft.com/office/powerpoint/2010/main" Requires="p14">
            <p:contentPart p14:bwMode="auto" r:id="rId92">
              <p14:nvContentPartPr>
                <p14:cNvPr id="36" name="Ink 35">
                  <a:extLst>
                    <a:ext uri="{FF2B5EF4-FFF2-40B4-BE49-F238E27FC236}">
                      <a16:creationId xmlns:a16="http://schemas.microsoft.com/office/drawing/2014/main" id="{170AD945-96B6-AFCA-A44F-423E844FE083}"/>
                    </a:ext>
                  </a:extLst>
                </p14:cNvPr>
                <p14:cNvContentPartPr/>
                <p14:nvPr/>
              </p14:nvContentPartPr>
              <p14:xfrm>
                <a:off x="4927043" y="1516917"/>
                <a:ext cx="183240" cy="159120"/>
              </p14:xfrm>
            </p:contentPart>
          </mc:Choice>
          <mc:Fallback>
            <p:pic>
              <p:nvPicPr>
                <p:cNvPr id="36" name="Ink 35">
                  <a:extLst>
                    <a:ext uri="{FF2B5EF4-FFF2-40B4-BE49-F238E27FC236}">
                      <a16:creationId xmlns:a16="http://schemas.microsoft.com/office/drawing/2014/main" id="{170AD945-96B6-AFCA-A44F-423E844FE083}"/>
                    </a:ext>
                  </a:extLst>
                </p:cNvPr>
                <p:cNvPicPr/>
                <p:nvPr/>
              </p:nvPicPr>
              <p:blipFill>
                <a:blip r:embed="rId93"/>
                <a:stretch>
                  <a:fillRect/>
                </a:stretch>
              </p:blipFill>
              <p:spPr>
                <a:xfrm>
                  <a:off x="4911563" y="1501797"/>
                  <a:ext cx="213480" cy="189720"/>
                </a:xfrm>
                <a:prstGeom prst="rect">
                  <a:avLst/>
                </a:prstGeom>
              </p:spPr>
            </p:pic>
          </mc:Fallback>
        </mc:AlternateContent>
        <mc:AlternateContent xmlns:mc="http://schemas.openxmlformats.org/markup-compatibility/2006">
          <mc:Choice xmlns:p14="http://schemas.microsoft.com/office/powerpoint/2010/main" Requires="p14">
            <p:contentPart p14:bwMode="auto" r:id="rId94">
              <p14:nvContentPartPr>
                <p14:cNvPr id="54" name="Ink 53">
                  <a:extLst>
                    <a:ext uri="{FF2B5EF4-FFF2-40B4-BE49-F238E27FC236}">
                      <a16:creationId xmlns:a16="http://schemas.microsoft.com/office/drawing/2014/main" id="{0D5F9246-74DA-E280-6E57-5A21FE709E6D}"/>
                    </a:ext>
                  </a:extLst>
                </p14:cNvPr>
                <p14:cNvContentPartPr/>
                <p14:nvPr/>
              </p14:nvContentPartPr>
              <p14:xfrm>
                <a:off x="2784323" y="2629677"/>
                <a:ext cx="1611720" cy="54720"/>
              </p14:xfrm>
            </p:contentPart>
          </mc:Choice>
          <mc:Fallback>
            <p:pic>
              <p:nvPicPr>
                <p:cNvPr id="54" name="Ink 53">
                  <a:extLst>
                    <a:ext uri="{FF2B5EF4-FFF2-40B4-BE49-F238E27FC236}">
                      <a16:creationId xmlns:a16="http://schemas.microsoft.com/office/drawing/2014/main" id="{0D5F9246-74DA-E280-6E57-5A21FE709E6D}"/>
                    </a:ext>
                  </a:extLst>
                </p:cNvPr>
                <p:cNvPicPr/>
                <p:nvPr/>
              </p:nvPicPr>
              <p:blipFill>
                <a:blip r:embed="rId95"/>
                <a:stretch>
                  <a:fillRect/>
                </a:stretch>
              </p:blipFill>
              <p:spPr>
                <a:xfrm>
                  <a:off x="2769203" y="2614557"/>
                  <a:ext cx="1641960" cy="85320"/>
                </a:xfrm>
                <a:prstGeom prst="rect">
                  <a:avLst/>
                </a:prstGeom>
              </p:spPr>
            </p:pic>
          </mc:Fallback>
        </mc:AlternateContent>
        <mc:AlternateContent xmlns:mc="http://schemas.openxmlformats.org/markup-compatibility/2006">
          <mc:Choice xmlns:p14="http://schemas.microsoft.com/office/powerpoint/2010/main" Requires="p14">
            <p:contentPart p14:bwMode="auto" r:id="rId96">
              <p14:nvContentPartPr>
                <p14:cNvPr id="55" name="Ink 54">
                  <a:extLst>
                    <a:ext uri="{FF2B5EF4-FFF2-40B4-BE49-F238E27FC236}">
                      <a16:creationId xmlns:a16="http://schemas.microsoft.com/office/drawing/2014/main" id="{A5E0087C-7423-5BF9-0682-EE18D0FAFAC2}"/>
                    </a:ext>
                  </a:extLst>
                </p14:cNvPr>
                <p14:cNvContentPartPr/>
                <p14:nvPr/>
              </p14:nvContentPartPr>
              <p14:xfrm>
                <a:off x="2785763" y="2275077"/>
                <a:ext cx="10800" cy="300960"/>
              </p14:xfrm>
            </p:contentPart>
          </mc:Choice>
          <mc:Fallback>
            <p:pic>
              <p:nvPicPr>
                <p:cNvPr id="55" name="Ink 54">
                  <a:extLst>
                    <a:ext uri="{FF2B5EF4-FFF2-40B4-BE49-F238E27FC236}">
                      <a16:creationId xmlns:a16="http://schemas.microsoft.com/office/drawing/2014/main" id="{A5E0087C-7423-5BF9-0682-EE18D0FAFAC2}"/>
                    </a:ext>
                  </a:extLst>
                </p:cNvPr>
                <p:cNvPicPr/>
                <p:nvPr/>
              </p:nvPicPr>
              <p:blipFill>
                <a:blip r:embed="rId97"/>
                <a:stretch>
                  <a:fillRect/>
                </a:stretch>
              </p:blipFill>
              <p:spPr>
                <a:xfrm>
                  <a:off x="2770643" y="2259597"/>
                  <a:ext cx="41400" cy="331560"/>
                </a:xfrm>
                <a:prstGeom prst="rect">
                  <a:avLst/>
                </a:prstGeom>
              </p:spPr>
            </p:pic>
          </mc:Fallback>
        </mc:AlternateContent>
        <mc:AlternateContent xmlns:mc="http://schemas.openxmlformats.org/markup-compatibility/2006">
          <mc:Choice xmlns:p14="http://schemas.microsoft.com/office/powerpoint/2010/main" Requires="p14">
            <p:contentPart p14:bwMode="auto" r:id="rId98">
              <p14:nvContentPartPr>
                <p14:cNvPr id="56" name="Ink 55">
                  <a:extLst>
                    <a:ext uri="{FF2B5EF4-FFF2-40B4-BE49-F238E27FC236}">
                      <a16:creationId xmlns:a16="http://schemas.microsoft.com/office/drawing/2014/main" id="{EF3DB241-6B28-2864-BB75-3041F60BAD5A}"/>
                    </a:ext>
                  </a:extLst>
                </p14:cNvPr>
                <p14:cNvContentPartPr/>
                <p14:nvPr/>
              </p14:nvContentPartPr>
              <p14:xfrm>
                <a:off x="2796923" y="2216037"/>
                <a:ext cx="1981440" cy="432720"/>
              </p14:xfrm>
            </p:contentPart>
          </mc:Choice>
          <mc:Fallback>
            <p:pic>
              <p:nvPicPr>
                <p:cNvPr id="56" name="Ink 55">
                  <a:extLst>
                    <a:ext uri="{FF2B5EF4-FFF2-40B4-BE49-F238E27FC236}">
                      <a16:creationId xmlns:a16="http://schemas.microsoft.com/office/drawing/2014/main" id="{EF3DB241-6B28-2864-BB75-3041F60BAD5A}"/>
                    </a:ext>
                  </a:extLst>
                </p:cNvPr>
                <p:cNvPicPr/>
                <p:nvPr/>
              </p:nvPicPr>
              <p:blipFill>
                <a:blip r:embed="rId99"/>
                <a:stretch>
                  <a:fillRect/>
                </a:stretch>
              </p:blipFill>
              <p:spPr>
                <a:xfrm>
                  <a:off x="2781443" y="2200917"/>
                  <a:ext cx="2011680" cy="463320"/>
                </a:xfrm>
                <a:prstGeom prst="rect">
                  <a:avLst/>
                </a:prstGeom>
              </p:spPr>
            </p:pic>
          </mc:Fallback>
        </mc:AlternateContent>
      </p:grpSp>
      <p:grpSp>
        <p:nvGrpSpPr>
          <p:cNvPr id="61" name="Group 60">
            <a:extLst>
              <a:ext uri="{FF2B5EF4-FFF2-40B4-BE49-F238E27FC236}">
                <a16:creationId xmlns:a16="http://schemas.microsoft.com/office/drawing/2014/main" id="{602E0084-4B87-B536-0E6B-C3578DE7684B}"/>
              </a:ext>
            </a:extLst>
          </p:cNvPr>
          <p:cNvGrpSpPr/>
          <p:nvPr/>
        </p:nvGrpSpPr>
        <p:grpSpPr>
          <a:xfrm>
            <a:off x="5036483" y="2853597"/>
            <a:ext cx="2246040" cy="1042920"/>
            <a:chOff x="5036483" y="2853597"/>
            <a:chExt cx="2246040" cy="1042920"/>
          </a:xfrm>
        </p:grpSpPr>
        <mc:AlternateContent xmlns:mc="http://schemas.openxmlformats.org/markup-compatibility/2006">
          <mc:Choice xmlns:p14="http://schemas.microsoft.com/office/powerpoint/2010/main" Requires="p14">
            <p:contentPart p14:bwMode="auto" r:id="rId100">
              <p14:nvContentPartPr>
                <p14:cNvPr id="58" name="Ink 57">
                  <a:extLst>
                    <a:ext uri="{FF2B5EF4-FFF2-40B4-BE49-F238E27FC236}">
                      <a16:creationId xmlns:a16="http://schemas.microsoft.com/office/drawing/2014/main" id="{AB6E9797-C16C-D906-1FF4-06516E448408}"/>
                    </a:ext>
                  </a:extLst>
                </p14:cNvPr>
                <p14:cNvContentPartPr/>
                <p14:nvPr/>
              </p14:nvContentPartPr>
              <p14:xfrm>
                <a:off x="5036483" y="3064197"/>
                <a:ext cx="892440" cy="783720"/>
              </p14:xfrm>
            </p:contentPart>
          </mc:Choice>
          <mc:Fallback>
            <p:pic>
              <p:nvPicPr>
                <p:cNvPr id="58" name="Ink 57">
                  <a:extLst>
                    <a:ext uri="{FF2B5EF4-FFF2-40B4-BE49-F238E27FC236}">
                      <a16:creationId xmlns:a16="http://schemas.microsoft.com/office/drawing/2014/main" id="{AB6E9797-C16C-D906-1FF4-06516E448408}"/>
                    </a:ext>
                  </a:extLst>
                </p:cNvPr>
                <p:cNvPicPr/>
                <p:nvPr/>
              </p:nvPicPr>
              <p:blipFill>
                <a:blip r:embed="rId101"/>
                <a:stretch>
                  <a:fillRect/>
                </a:stretch>
              </p:blipFill>
              <p:spPr>
                <a:xfrm>
                  <a:off x="5021363" y="3048717"/>
                  <a:ext cx="923040" cy="814320"/>
                </a:xfrm>
                <a:prstGeom prst="rect">
                  <a:avLst/>
                </a:prstGeom>
              </p:spPr>
            </p:pic>
          </mc:Fallback>
        </mc:AlternateContent>
        <mc:AlternateContent xmlns:mc="http://schemas.openxmlformats.org/markup-compatibility/2006">
          <mc:Choice xmlns:p14="http://schemas.microsoft.com/office/powerpoint/2010/main" Requires="p14">
            <p:contentPart p14:bwMode="auto" r:id="rId102">
              <p14:nvContentPartPr>
                <p14:cNvPr id="59" name="Ink 58">
                  <a:extLst>
                    <a:ext uri="{FF2B5EF4-FFF2-40B4-BE49-F238E27FC236}">
                      <a16:creationId xmlns:a16="http://schemas.microsoft.com/office/drawing/2014/main" id="{C6C41837-6C2C-5EA4-73E2-AE85236E8F5A}"/>
                    </a:ext>
                  </a:extLst>
                </p14:cNvPr>
                <p14:cNvContentPartPr/>
                <p14:nvPr/>
              </p14:nvContentPartPr>
              <p14:xfrm>
                <a:off x="5917763" y="3059157"/>
                <a:ext cx="759960" cy="837360"/>
              </p14:xfrm>
            </p:contentPart>
          </mc:Choice>
          <mc:Fallback>
            <p:pic>
              <p:nvPicPr>
                <p:cNvPr id="59" name="Ink 58">
                  <a:extLst>
                    <a:ext uri="{FF2B5EF4-FFF2-40B4-BE49-F238E27FC236}">
                      <a16:creationId xmlns:a16="http://schemas.microsoft.com/office/drawing/2014/main" id="{C6C41837-6C2C-5EA4-73E2-AE85236E8F5A}"/>
                    </a:ext>
                  </a:extLst>
                </p:cNvPr>
                <p:cNvPicPr/>
                <p:nvPr/>
              </p:nvPicPr>
              <p:blipFill>
                <a:blip r:embed="rId103"/>
                <a:stretch>
                  <a:fillRect/>
                </a:stretch>
              </p:blipFill>
              <p:spPr>
                <a:xfrm>
                  <a:off x="5902643" y="3043677"/>
                  <a:ext cx="790200" cy="867960"/>
                </a:xfrm>
                <a:prstGeom prst="rect">
                  <a:avLst/>
                </a:prstGeom>
              </p:spPr>
            </p:pic>
          </mc:Fallback>
        </mc:AlternateContent>
        <mc:AlternateContent xmlns:mc="http://schemas.openxmlformats.org/markup-compatibility/2006">
          <mc:Choice xmlns:p14="http://schemas.microsoft.com/office/powerpoint/2010/main" Requires="p14">
            <p:contentPart p14:bwMode="auto" r:id="rId104">
              <p14:nvContentPartPr>
                <p14:cNvPr id="60" name="Ink 59">
                  <a:extLst>
                    <a:ext uri="{FF2B5EF4-FFF2-40B4-BE49-F238E27FC236}">
                      <a16:creationId xmlns:a16="http://schemas.microsoft.com/office/drawing/2014/main" id="{4A64F7D7-39F2-4E68-8ECB-E1DB15227CA0}"/>
                    </a:ext>
                  </a:extLst>
                </p14:cNvPr>
                <p14:cNvContentPartPr/>
                <p14:nvPr/>
              </p14:nvContentPartPr>
              <p14:xfrm>
                <a:off x="6525803" y="2853597"/>
                <a:ext cx="756720" cy="1006200"/>
              </p14:xfrm>
            </p:contentPart>
          </mc:Choice>
          <mc:Fallback>
            <p:pic>
              <p:nvPicPr>
                <p:cNvPr id="60" name="Ink 59">
                  <a:extLst>
                    <a:ext uri="{FF2B5EF4-FFF2-40B4-BE49-F238E27FC236}">
                      <a16:creationId xmlns:a16="http://schemas.microsoft.com/office/drawing/2014/main" id="{4A64F7D7-39F2-4E68-8ECB-E1DB15227CA0}"/>
                    </a:ext>
                  </a:extLst>
                </p:cNvPr>
                <p:cNvPicPr/>
                <p:nvPr/>
              </p:nvPicPr>
              <p:blipFill>
                <a:blip r:embed="rId105"/>
                <a:stretch>
                  <a:fillRect/>
                </a:stretch>
              </p:blipFill>
              <p:spPr>
                <a:xfrm>
                  <a:off x="6510683" y="2838117"/>
                  <a:ext cx="787320" cy="1036440"/>
                </a:xfrm>
                <a:prstGeom prst="rect">
                  <a:avLst/>
                </a:prstGeom>
              </p:spPr>
            </p:pic>
          </mc:Fallback>
        </mc:AlternateContent>
      </p:gr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58"/>
        <p:cNvGrpSpPr/>
        <p:nvPr/>
      </p:nvGrpSpPr>
      <p:grpSpPr>
        <a:xfrm>
          <a:off x="0" y="0"/>
          <a:ext cx="0" cy="0"/>
          <a:chOff x="0" y="0"/>
          <a:chExt cx="0" cy="0"/>
        </a:xfrm>
      </p:grpSpPr>
      <p:sp>
        <p:nvSpPr>
          <p:cNvPr id="159" name="Google Shape;159;p16"/>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2800"/>
              <a:buNone/>
            </a:pPr>
            <a:r>
              <a:rPr lang="en"/>
              <a:t>Comparison</a:t>
            </a:r>
            <a:endParaRPr/>
          </a:p>
        </p:txBody>
      </p:sp>
      <p:pic>
        <p:nvPicPr>
          <p:cNvPr id="161" name="Google Shape;161;p16"/>
          <p:cNvPicPr preferRelativeResize="0"/>
          <p:nvPr/>
        </p:nvPicPr>
        <p:blipFill rotWithShape="1">
          <a:blip r:embed="rId3">
            <a:alphaModFix/>
          </a:blip>
          <a:srcRect/>
          <a:stretch/>
        </p:blipFill>
        <p:spPr>
          <a:xfrm>
            <a:off x="165703" y="1017725"/>
            <a:ext cx="8378942" cy="3571389"/>
          </a:xfrm>
          <a:prstGeom prst="rect">
            <a:avLst/>
          </a:prstGeom>
          <a:noFill/>
          <a:ln>
            <a:noFill/>
          </a:ln>
        </p:spPr>
      </p:pic>
      <p:grpSp>
        <p:nvGrpSpPr>
          <p:cNvPr id="4" name="Group 3">
            <a:extLst>
              <a:ext uri="{FF2B5EF4-FFF2-40B4-BE49-F238E27FC236}">
                <a16:creationId xmlns:a16="http://schemas.microsoft.com/office/drawing/2014/main" id="{E67291D3-62F0-4FA3-AF9F-1B008107D620}"/>
              </a:ext>
            </a:extLst>
          </p:cNvPr>
          <p:cNvGrpSpPr/>
          <p:nvPr/>
        </p:nvGrpSpPr>
        <p:grpSpPr>
          <a:xfrm>
            <a:off x="2286803" y="1108317"/>
            <a:ext cx="2167560" cy="208800"/>
            <a:chOff x="2286803" y="1108317"/>
            <a:chExt cx="2167560" cy="208800"/>
          </a:xfrm>
        </p:grpSpPr>
        <mc:AlternateContent xmlns:mc="http://schemas.openxmlformats.org/markup-compatibility/2006">
          <mc:Choice xmlns:p14="http://schemas.microsoft.com/office/powerpoint/2010/main" Requires="p14">
            <p:contentPart p14:bwMode="auto" r:id="rId4">
              <p14:nvContentPartPr>
                <p14:cNvPr id="2" name="Ink 1">
                  <a:extLst>
                    <a:ext uri="{FF2B5EF4-FFF2-40B4-BE49-F238E27FC236}">
                      <a16:creationId xmlns:a16="http://schemas.microsoft.com/office/drawing/2014/main" id="{1DACFA2A-54BD-1539-8E7E-5951DEB51792}"/>
                    </a:ext>
                  </a:extLst>
                </p14:cNvPr>
                <p14:cNvContentPartPr/>
                <p14:nvPr/>
              </p14:nvContentPartPr>
              <p14:xfrm>
                <a:off x="2286803" y="1174917"/>
                <a:ext cx="24840" cy="142200"/>
              </p14:xfrm>
            </p:contentPart>
          </mc:Choice>
          <mc:Fallback>
            <p:pic>
              <p:nvPicPr>
                <p:cNvPr id="2" name="Ink 1">
                  <a:extLst>
                    <a:ext uri="{FF2B5EF4-FFF2-40B4-BE49-F238E27FC236}">
                      <a16:creationId xmlns:a16="http://schemas.microsoft.com/office/drawing/2014/main" id="{1DACFA2A-54BD-1539-8E7E-5951DEB51792}"/>
                    </a:ext>
                  </a:extLst>
                </p:cNvPr>
                <p:cNvPicPr/>
                <p:nvPr/>
              </p:nvPicPr>
              <p:blipFill>
                <a:blip r:embed="rId5"/>
                <a:stretch>
                  <a:fillRect/>
                </a:stretch>
              </p:blipFill>
              <p:spPr>
                <a:xfrm>
                  <a:off x="2271683" y="1159437"/>
                  <a:ext cx="55080" cy="17244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3" name="Ink 2">
                  <a:extLst>
                    <a:ext uri="{FF2B5EF4-FFF2-40B4-BE49-F238E27FC236}">
                      <a16:creationId xmlns:a16="http://schemas.microsoft.com/office/drawing/2014/main" id="{5154192B-EBA5-1673-DE28-39C06CFC9CD2}"/>
                    </a:ext>
                  </a:extLst>
                </p14:cNvPr>
                <p14:cNvContentPartPr/>
                <p14:nvPr/>
              </p14:nvContentPartPr>
              <p14:xfrm>
                <a:off x="2313803" y="1108317"/>
                <a:ext cx="2140560" cy="179280"/>
              </p14:xfrm>
            </p:contentPart>
          </mc:Choice>
          <mc:Fallback>
            <p:pic>
              <p:nvPicPr>
                <p:cNvPr id="3" name="Ink 2">
                  <a:extLst>
                    <a:ext uri="{FF2B5EF4-FFF2-40B4-BE49-F238E27FC236}">
                      <a16:creationId xmlns:a16="http://schemas.microsoft.com/office/drawing/2014/main" id="{5154192B-EBA5-1673-DE28-39C06CFC9CD2}"/>
                    </a:ext>
                  </a:extLst>
                </p:cNvPr>
                <p:cNvPicPr/>
                <p:nvPr/>
              </p:nvPicPr>
              <p:blipFill>
                <a:blip r:embed="rId7"/>
                <a:stretch>
                  <a:fillRect/>
                </a:stretch>
              </p:blipFill>
              <p:spPr>
                <a:xfrm>
                  <a:off x="2298683" y="1093197"/>
                  <a:ext cx="2171160" cy="20988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8">
            <p14:nvContentPartPr>
              <p14:cNvPr id="5" name="Ink 4">
                <a:extLst>
                  <a:ext uri="{FF2B5EF4-FFF2-40B4-BE49-F238E27FC236}">
                    <a16:creationId xmlns:a16="http://schemas.microsoft.com/office/drawing/2014/main" id="{E46507E2-3C70-6096-7F3B-CED04172C03B}"/>
                  </a:ext>
                </a:extLst>
              </p14:cNvPr>
              <p14:cNvContentPartPr/>
              <p14:nvPr/>
            </p14:nvContentPartPr>
            <p14:xfrm>
              <a:off x="2557163" y="1815357"/>
              <a:ext cx="1631880" cy="170640"/>
            </p14:xfrm>
          </p:contentPart>
        </mc:Choice>
        <mc:Fallback>
          <p:pic>
            <p:nvPicPr>
              <p:cNvPr id="5" name="Ink 4">
                <a:extLst>
                  <a:ext uri="{FF2B5EF4-FFF2-40B4-BE49-F238E27FC236}">
                    <a16:creationId xmlns:a16="http://schemas.microsoft.com/office/drawing/2014/main" id="{E46507E2-3C70-6096-7F3B-CED04172C03B}"/>
                  </a:ext>
                </a:extLst>
              </p:cNvPr>
              <p:cNvPicPr/>
              <p:nvPr/>
            </p:nvPicPr>
            <p:blipFill>
              <a:blip r:embed="rId9"/>
              <a:stretch>
                <a:fillRect/>
              </a:stretch>
            </p:blipFill>
            <p:spPr>
              <a:xfrm>
                <a:off x="2541683" y="1799877"/>
                <a:ext cx="1662480" cy="200880"/>
              </a:xfrm>
              <a:prstGeom prst="rect">
                <a:avLst/>
              </a:prstGeom>
            </p:spPr>
          </p:pic>
        </mc:Fallback>
      </mc:AlternateContent>
      <p:grpSp>
        <p:nvGrpSpPr>
          <p:cNvPr id="9" name="Group 8">
            <a:extLst>
              <a:ext uri="{FF2B5EF4-FFF2-40B4-BE49-F238E27FC236}">
                <a16:creationId xmlns:a16="http://schemas.microsoft.com/office/drawing/2014/main" id="{1020DC02-5FB1-6B6B-85EB-C511829B7C6A}"/>
              </a:ext>
            </a:extLst>
          </p:cNvPr>
          <p:cNvGrpSpPr/>
          <p:nvPr/>
        </p:nvGrpSpPr>
        <p:grpSpPr>
          <a:xfrm>
            <a:off x="5634083" y="1150437"/>
            <a:ext cx="308160" cy="351000"/>
            <a:chOff x="5634083" y="1150437"/>
            <a:chExt cx="308160" cy="351000"/>
          </a:xfrm>
        </p:grpSpPr>
        <mc:AlternateContent xmlns:mc="http://schemas.openxmlformats.org/markup-compatibility/2006">
          <mc:Choice xmlns:p14="http://schemas.microsoft.com/office/powerpoint/2010/main" Requires="p14">
            <p:contentPart p14:bwMode="auto" r:id="rId10">
              <p14:nvContentPartPr>
                <p14:cNvPr id="6" name="Ink 5">
                  <a:extLst>
                    <a:ext uri="{FF2B5EF4-FFF2-40B4-BE49-F238E27FC236}">
                      <a16:creationId xmlns:a16="http://schemas.microsoft.com/office/drawing/2014/main" id="{56ED9724-51FB-C1CF-F333-A67E5CEC553D}"/>
                    </a:ext>
                  </a:extLst>
                </p14:cNvPr>
                <p14:cNvContentPartPr/>
                <p14:nvPr/>
              </p14:nvContentPartPr>
              <p14:xfrm>
                <a:off x="5890403" y="1150437"/>
                <a:ext cx="51840" cy="10440"/>
              </p14:xfrm>
            </p:contentPart>
          </mc:Choice>
          <mc:Fallback>
            <p:pic>
              <p:nvPicPr>
                <p:cNvPr id="6" name="Ink 5">
                  <a:extLst>
                    <a:ext uri="{FF2B5EF4-FFF2-40B4-BE49-F238E27FC236}">
                      <a16:creationId xmlns:a16="http://schemas.microsoft.com/office/drawing/2014/main" id="{56ED9724-51FB-C1CF-F333-A67E5CEC553D}"/>
                    </a:ext>
                  </a:extLst>
                </p:cNvPr>
                <p:cNvPicPr/>
                <p:nvPr/>
              </p:nvPicPr>
              <p:blipFill>
                <a:blip r:embed="rId11"/>
                <a:stretch>
                  <a:fillRect/>
                </a:stretch>
              </p:blipFill>
              <p:spPr>
                <a:xfrm>
                  <a:off x="5875283" y="1134957"/>
                  <a:ext cx="82080" cy="4104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7" name="Ink 6">
                  <a:extLst>
                    <a:ext uri="{FF2B5EF4-FFF2-40B4-BE49-F238E27FC236}">
                      <a16:creationId xmlns:a16="http://schemas.microsoft.com/office/drawing/2014/main" id="{E4245A82-B5E0-D25B-6074-CB81DA95DD3E}"/>
                    </a:ext>
                  </a:extLst>
                </p14:cNvPr>
                <p14:cNvContentPartPr/>
                <p14:nvPr/>
              </p14:nvContentPartPr>
              <p14:xfrm>
                <a:off x="5634083" y="1178517"/>
                <a:ext cx="17280" cy="322920"/>
              </p14:xfrm>
            </p:contentPart>
          </mc:Choice>
          <mc:Fallback>
            <p:pic>
              <p:nvPicPr>
                <p:cNvPr id="7" name="Ink 6">
                  <a:extLst>
                    <a:ext uri="{FF2B5EF4-FFF2-40B4-BE49-F238E27FC236}">
                      <a16:creationId xmlns:a16="http://schemas.microsoft.com/office/drawing/2014/main" id="{E4245A82-B5E0-D25B-6074-CB81DA95DD3E}"/>
                    </a:ext>
                  </a:extLst>
                </p:cNvPr>
                <p:cNvPicPr/>
                <p:nvPr/>
              </p:nvPicPr>
              <p:blipFill>
                <a:blip r:embed="rId13"/>
                <a:stretch>
                  <a:fillRect/>
                </a:stretch>
              </p:blipFill>
              <p:spPr>
                <a:xfrm>
                  <a:off x="5618603" y="1163037"/>
                  <a:ext cx="47880" cy="35352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14">
            <p14:nvContentPartPr>
              <p14:cNvPr id="8" name="Ink 7">
                <a:extLst>
                  <a:ext uri="{FF2B5EF4-FFF2-40B4-BE49-F238E27FC236}">
                    <a16:creationId xmlns:a16="http://schemas.microsoft.com/office/drawing/2014/main" id="{CABCC9BA-3911-3978-2C65-E679AA9969C2}"/>
                  </a:ext>
                </a:extLst>
              </p14:cNvPr>
              <p14:cNvContentPartPr/>
              <p14:nvPr/>
            </p14:nvContentPartPr>
            <p14:xfrm>
              <a:off x="7537763" y="1167717"/>
              <a:ext cx="161640" cy="419040"/>
            </p14:xfrm>
          </p:contentPart>
        </mc:Choice>
        <mc:Fallback>
          <p:pic>
            <p:nvPicPr>
              <p:cNvPr id="8" name="Ink 7">
                <a:extLst>
                  <a:ext uri="{FF2B5EF4-FFF2-40B4-BE49-F238E27FC236}">
                    <a16:creationId xmlns:a16="http://schemas.microsoft.com/office/drawing/2014/main" id="{CABCC9BA-3911-3978-2C65-E679AA9969C2}"/>
                  </a:ext>
                </a:extLst>
              </p:cNvPr>
              <p:cNvPicPr/>
              <p:nvPr/>
            </p:nvPicPr>
            <p:blipFill>
              <a:blip r:embed="rId15"/>
              <a:stretch>
                <a:fillRect/>
              </a:stretch>
            </p:blipFill>
            <p:spPr>
              <a:xfrm>
                <a:off x="7522643" y="1152597"/>
                <a:ext cx="192240" cy="449640"/>
              </a:xfrm>
              <a:prstGeom prst="rect">
                <a:avLst/>
              </a:prstGeom>
            </p:spPr>
          </p:pic>
        </mc:Fallback>
      </mc:AlternateContent>
      <p:grpSp>
        <p:nvGrpSpPr>
          <p:cNvPr id="33" name="Group 32">
            <a:extLst>
              <a:ext uri="{FF2B5EF4-FFF2-40B4-BE49-F238E27FC236}">
                <a16:creationId xmlns:a16="http://schemas.microsoft.com/office/drawing/2014/main" id="{EDCC64AE-CFFA-AEB9-247E-84C2A0586EFB}"/>
              </a:ext>
            </a:extLst>
          </p:cNvPr>
          <p:cNvGrpSpPr/>
          <p:nvPr/>
        </p:nvGrpSpPr>
        <p:grpSpPr>
          <a:xfrm>
            <a:off x="6949523" y="727437"/>
            <a:ext cx="228240" cy="165600"/>
            <a:chOff x="6949523" y="727437"/>
            <a:chExt cx="228240" cy="165600"/>
          </a:xfrm>
        </p:grpSpPr>
        <mc:AlternateContent xmlns:mc="http://schemas.openxmlformats.org/markup-compatibility/2006">
          <mc:Choice xmlns:p14="http://schemas.microsoft.com/office/powerpoint/2010/main" Requires="p14">
            <p:contentPart p14:bwMode="auto" r:id="rId16">
              <p14:nvContentPartPr>
                <p14:cNvPr id="30" name="Ink 29">
                  <a:extLst>
                    <a:ext uri="{FF2B5EF4-FFF2-40B4-BE49-F238E27FC236}">
                      <a16:creationId xmlns:a16="http://schemas.microsoft.com/office/drawing/2014/main" id="{8BADC94B-1343-516D-8C66-E1B51905F344}"/>
                    </a:ext>
                  </a:extLst>
                </p14:cNvPr>
                <p14:cNvContentPartPr/>
                <p14:nvPr/>
              </p14:nvContentPartPr>
              <p14:xfrm>
                <a:off x="6949523" y="727437"/>
                <a:ext cx="31680" cy="165600"/>
              </p14:xfrm>
            </p:contentPart>
          </mc:Choice>
          <mc:Fallback>
            <p:pic>
              <p:nvPicPr>
                <p:cNvPr id="30" name="Ink 29">
                  <a:extLst>
                    <a:ext uri="{FF2B5EF4-FFF2-40B4-BE49-F238E27FC236}">
                      <a16:creationId xmlns:a16="http://schemas.microsoft.com/office/drawing/2014/main" id="{8BADC94B-1343-516D-8C66-E1B51905F344}"/>
                    </a:ext>
                  </a:extLst>
                </p:cNvPr>
                <p:cNvPicPr/>
                <p:nvPr/>
              </p:nvPicPr>
              <p:blipFill>
                <a:blip r:embed="rId17"/>
                <a:stretch>
                  <a:fillRect/>
                </a:stretch>
              </p:blipFill>
              <p:spPr>
                <a:xfrm>
                  <a:off x="6934403" y="712317"/>
                  <a:ext cx="62280" cy="196200"/>
                </a:xfrm>
                <a:prstGeom prst="rect">
                  <a:avLst/>
                </a:prstGeom>
              </p:spPr>
            </p:pic>
          </mc:Fallback>
        </mc:AlternateContent>
        <mc:AlternateContent xmlns:mc="http://schemas.openxmlformats.org/markup-compatibility/2006">
          <mc:Choice xmlns:p14="http://schemas.microsoft.com/office/powerpoint/2010/main" Requires="p14">
            <p:contentPart p14:bwMode="auto" r:id="rId18">
              <p14:nvContentPartPr>
                <p14:cNvPr id="31" name="Ink 30">
                  <a:extLst>
                    <a:ext uri="{FF2B5EF4-FFF2-40B4-BE49-F238E27FC236}">
                      <a16:creationId xmlns:a16="http://schemas.microsoft.com/office/drawing/2014/main" id="{834A610E-5046-541D-F8A6-424BBB569280}"/>
                    </a:ext>
                  </a:extLst>
                </p14:cNvPr>
                <p14:cNvContentPartPr/>
                <p14:nvPr/>
              </p14:nvContentPartPr>
              <p14:xfrm>
                <a:off x="6971483" y="761277"/>
                <a:ext cx="110160" cy="104760"/>
              </p14:xfrm>
            </p:contentPart>
          </mc:Choice>
          <mc:Fallback>
            <p:pic>
              <p:nvPicPr>
                <p:cNvPr id="31" name="Ink 30">
                  <a:extLst>
                    <a:ext uri="{FF2B5EF4-FFF2-40B4-BE49-F238E27FC236}">
                      <a16:creationId xmlns:a16="http://schemas.microsoft.com/office/drawing/2014/main" id="{834A610E-5046-541D-F8A6-424BBB569280}"/>
                    </a:ext>
                  </a:extLst>
                </p:cNvPr>
                <p:cNvPicPr/>
                <p:nvPr/>
              </p:nvPicPr>
              <p:blipFill>
                <a:blip r:embed="rId19"/>
                <a:stretch>
                  <a:fillRect/>
                </a:stretch>
              </p:blipFill>
              <p:spPr>
                <a:xfrm>
                  <a:off x="6956363" y="746157"/>
                  <a:ext cx="140400" cy="135000"/>
                </a:xfrm>
                <a:prstGeom prst="rect">
                  <a:avLst/>
                </a:prstGeom>
              </p:spPr>
            </p:pic>
          </mc:Fallback>
        </mc:AlternateContent>
        <mc:AlternateContent xmlns:mc="http://schemas.openxmlformats.org/markup-compatibility/2006">
          <mc:Choice xmlns:p14="http://schemas.microsoft.com/office/powerpoint/2010/main" Requires="p14">
            <p:contentPart p14:bwMode="auto" r:id="rId20">
              <p14:nvContentPartPr>
                <p14:cNvPr id="32" name="Ink 31">
                  <a:extLst>
                    <a:ext uri="{FF2B5EF4-FFF2-40B4-BE49-F238E27FC236}">
                      <a16:creationId xmlns:a16="http://schemas.microsoft.com/office/drawing/2014/main" id="{0109374F-5A38-36CD-78F4-D655EAD48FFB}"/>
                    </a:ext>
                  </a:extLst>
                </p14:cNvPr>
                <p14:cNvContentPartPr/>
                <p14:nvPr/>
              </p14:nvContentPartPr>
              <p14:xfrm>
                <a:off x="7160843" y="828957"/>
                <a:ext cx="16920" cy="17280"/>
              </p14:xfrm>
            </p:contentPart>
          </mc:Choice>
          <mc:Fallback>
            <p:pic>
              <p:nvPicPr>
                <p:cNvPr id="32" name="Ink 31">
                  <a:extLst>
                    <a:ext uri="{FF2B5EF4-FFF2-40B4-BE49-F238E27FC236}">
                      <a16:creationId xmlns:a16="http://schemas.microsoft.com/office/drawing/2014/main" id="{0109374F-5A38-36CD-78F4-D655EAD48FFB}"/>
                    </a:ext>
                  </a:extLst>
                </p:cNvPr>
                <p:cNvPicPr/>
                <p:nvPr/>
              </p:nvPicPr>
              <p:blipFill>
                <a:blip r:embed="rId21"/>
                <a:stretch>
                  <a:fillRect/>
                </a:stretch>
              </p:blipFill>
              <p:spPr>
                <a:xfrm>
                  <a:off x="7145363" y="813477"/>
                  <a:ext cx="47520" cy="4752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22">
            <p14:nvContentPartPr>
              <p14:cNvPr id="34" name="Ink 33">
                <a:extLst>
                  <a:ext uri="{FF2B5EF4-FFF2-40B4-BE49-F238E27FC236}">
                    <a16:creationId xmlns:a16="http://schemas.microsoft.com/office/drawing/2014/main" id="{B818FDAE-D669-FAC6-924B-1492B98BC5DE}"/>
                  </a:ext>
                </a:extLst>
              </p14:cNvPr>
              <p14:cNvContentPartPr/>
              <p14:nvPr/>
            </p14:nvContentPartPr>
            <p14:xfrm>
              <a:off x="7335083" y="776757"/>
              <a:ext cx="116280" cy="137160"/>
            </p14:xfrm>
          </p:contentPart>
        </mc:Choice>
        <mc:Fallback>
          <p:pic>
            <p:nvPicPr>
              <p:cNvPr id="34" name="Ink 33">
                <a:extLst>
                  <a:ext uri="{FF2B5EF4-FFF2-40B4-BE49-F238E27FC236}">
                    <a16:creationId xmlns:a16="http://schemas.microsoft.com/office/drawing/2014/main" id="{B818FDAE-D669-FAC6-924B-1492B98BC5DE}"/>
                  </a:ext>
                </a:extLst>
              </p:cNvPr>
              <p:cNvPicPr/>
              <p:nvPr/>
            </p:nvPicPr>
            <p:blipFill>
              <a:blip r:embed="rId23"/>
              <a:stretch>
                <a:fillRect/>
              </a:stretch>
            </p:blipFill>
            <p:spPr>
              <a:xfrm>
                <a:off x="7319603" y="761637"/>
                <a:ext cx="146520" cy="167760"/>
              </a:xfrm>
              <a:prstGeom prst="rect">
                <a:avLst/>
              </a:prstGeom>
            </p:spPr>
          </p:pic>
        </mc:Fallback>
      </mc:AlternateContent>
      <mc:AlternateContent xmlns:mc="http://schemas.openxmlformats.org/markup-compatibility/2006">
        <mc:Choice xmlns:p14="http://schemas.microsoft.com/office/powerpoint/2010/main" Requires="p14">
          <p:contentPart p14:bwMode="auto" r:id="rId24">
            <p14:nvContentPartPr>
              <p14:cNvPr id="35" name="Ink 34">
                <a:extLst>
                  <a:ext uri="{FF2B5EF4-FFF2-40B4-BE49-F238E27FC236}">
                    <a16:creationId xmlns:a16="http://schemas.microsoft.com/office/drawing/2014/main" id="{67E698AA-7272-E9B2-7F73-A201839024D0}"/>
                  </a:ext>
                </a:extLst>
              </p14:cNvPr>
              <p14:cNvContentPartPr/>
              <p14:nvPr/>
            </p14:nvContentPartPr>
            <p14:xfrm>
              <a:off x="7485203" y="711237"/>
              <a:ext cx="59760" cy="97560"/>
            </p14:xfrm>
          </p:contentPart>
        </mc:Choice>
        <mc:Fallback>
          <p:pic>
            <p:nvPicPr>
              <p:cNvPr id="35" name="Ink 34">
                <a:extLst>
                  <a:ext uri="{FF2B5EF4-FFF2-40B4-BE49-F238E27FC236}">
                    <a16:creationId xmlns:a16="http://schemas.microsoft.com/office/drawing/2014/main" id="{67E698AA-7272-E9B2-7F73-A201839024D0}"/>
                  </a:ext>
                </a:extLst>
              </p:cNvPr>
              <p:cNvPicPr/>
              <p:nvPr/>
            </p:nvPicPr>
            <p:blipFill>
              <a:blip r:embed="rId25"/>
              <a:stretch>
                <a:fillRect/>
              </a:stretch>
            </p:blipFill>
            <p:spPr>
              <a:xfrm>
                <a:off x="7469723" y="696117"/>
                <a:ext cx="90360" cy="128160"/>
              </a:xfrm>
              <a:prstGeom prst="rect">
                <a:avLst/>
              </a:prstGeom>
            </p:spPr>
          </p:pic>
        </mc:Fallback>
      </mc:AlternateContent>
      <mc:AlternateContent xmlns:mc="http://schemas.openxmlformats.org/markup-compatibility/2006">
        <mc:Choice xmlns:p14="http://schemas.microsoft.com/office/powerpoint/2010/main" Requires="p14">
          <p:contentPart p14:bwMode="auto" r:id="rId26">
            <p14:nvContentPartPr>
              <p14:cNvPr id="36" name="Ink 35">
                <a:extLst>
                  <a:ext uri="{FF2B5EF4-FFF2-40B4-BE49-F238E27FC236}">
                    <a16:creationId xmlns:a16="http://schemas.microsoft.com/office/drawing/2014/main" id="{8BFA4E7E-F685-4713-B99F-D8545549F707}"/>
                  </a:ext>
                </a:extLst>
              </p14:cNvPr>
              <p14:cNvContentPartPr/>
              <p14:nvPr/>
            </p14:nvContentPartPr>
            <p14:xfrm>
              <a:off x="7617683" y="779997"/>
              <a:ext cx="76320" cy="132840"/>
            </p14:xfrm>
          </p:contentPart>
        </mc:Choice>
        <mc:Fallback>
          <p:pic>
            <p:nvPicPr>
              <p:cNvPr id="36" name="Ink 35">
                <a:extLst>
                  <a:ext uri="{FF2B5EF4-FFF2-40B4-BE49-F238E27FC236}">
                    <a16:creationId xmlns:a16="http://schemas.microsoft.com/office/drawing/2014/main" id="{8BFA4E7E-F685-4713-B99F-D8545549F707}"/>
                  </a:ext>
                </a:extLst>
              </p:cNvPr>
              <p:cNvPicPr/>
              <p:nvPr/>
            </p:nvPicPr>
            <p:blipFill>
              <a:blip r:embed="rId27"/>
              <a:stretch>
                <a:fillRect/>
              </a:stretch>
            </p:blipFill>
            <p:spPr>
              <a:xfrm>
                <a:off x="7602203" y="764877"/>
                <a:ext cx="106560" cy="163440"/>
              </a:xfrm>
              <a:prstGeom prst="rect">
                <a:avLst/>
              </a:prstGeom>
            </p:spPr>
          </p:pic>
        </mc:Fallback>
      </mc:AlternateContent>
      <p:grpSp>
        <p:nvGrpSpPr>
          <p:cNvPr id="49" name="Group 48">
            <a:extLst>
              <a:ext uri="{FF2B5EF4-FFF2-40B4-BE49-F238E27FC236}">
                <a16:creationId xmlns:a16="http://schemas.microsoft.com/office/drawing/2014/main" id="{0D6119F2-FC82-9D19-B00F-73ABA4C7AFAF}"/>
              </a:ext>
            </a:extLst>
          </p:cNvPr>
          <p:cNvGrpSpPr/>
          <p:nvPr/>
        </p:nvGrpSpPr>
        <p:grpSpPr>
          <a:xfrm>
            <a:off x="7829363" y="768477"/>
            <a:ext cx="250200" cy="130680"/>
            <a:chOff x="7829363" y="768477"/>
            <a:chExt cx="250200" cy="130680"/>
          </a:xfrm>
        </p:grpSpPr>
        <mc:AlternateContent xmlns:mc="http://schemas.openxmlformats.org/markup-compatibility/2006">
          <mc:Choice xmlns:p14="http://schemas.microsoft.com/office/powerpoint/2010/main" Requires="p14">
            <p:contentPart p14:bwMode="auto" r:id="rId28">
              <p14:nvContentPartPr>
                <p14:cNvPr id="40" name="Ink 39">
                  <a:extLst>
                    <a:ext uri="{FF2B5EF4-FFF2-40B4-BE49-F238E27FC236}">
                      <a16:creationId xmlns:a16="http://schemas.microsoft.com/office/drawing/2014/main" id="{B2E78A05-4834-7760-07CC-59BC135A4709}"/>
                    </a:ext>
                  </a:extLst>
                </p14:cNvPr>
                <p14:cNvContentPartPr/>
                <p14:nvPr/>
              </p14:nvContentPartPr>
              <p14:xfrm>
                <a:off x="7829363" y="830757"/>
                <a:ext cx="5040" cy="4680"/>
              </p14:xfrm>
            </p:contentPart>
          </mc:Choice>
          <mc:Fallback>
            <p:pic>
              <p:nvPicPr>
                <p:cNvPr id="40" name="Ink 39">
                  <a:extLst>
                    <a:ext uri="{FF2B5EF4-FFF2-40B4-BE49-F238E27FC236}">
                      <a16:creationId xmlns:a16="http://schemas.microsoft.com/office/drawing/2014/main" id="{B2E78A05-4834-7760-07CC-59BC135A4709}"/>
                    </a:ext>
                  </a:extLst>
                </p:cNvPr>
                <p:cNvPicPr/>
                <p:nvPr/>
              </p:nvPicPr>
              <p:blipFill>
                <a:blip r:embed="rId29"/>
                <a:stretch>
                  <a:fillRect/>
                </a:stretch>
              </p:blipFill>
              <p:spPr>
                <a:xfrm>
                  <a:off x="7814243" y="815637"/>
                  <a:ext cx="35640" cy="35280"/>
                </a:xfrm>
                <a:prstGeom prst="rect">
                  <a:avLst/>
                </a:prstGeom>
              </p:spPr>
            </p:pic>
          </mc:Fallback>
        </mc:AlternateContent>
        <mc:AlternateContent xmlns:mc="http://schemas.openxmlformats.org/markup-compatibility/2006">
          <mc:Choice xmlns:p14="http://schemas.microsoft.com/office/powerpoint/2010/main" Requires="p14">
            <p:contentPart p14:bwMode="auto" r:id="rId30">
              <p14:nvContentPartPr>
                <p14:cNvPr id="41" name="Ink 40">
                  <a:extLst>
                    <a:ext uri="{FF2B5EF4-FFF2-40B4-BE49-F238E27FC236}">
                      <a16:creationId xmlns:a16="http://schemas.microsoft.com/office/drawing/2014/main" id="{B22089E7-5855-2F89-1C57-84A3262A0255}"/>
                    </a:ext>
                  </a:extLst>
                </p14:cNvPr>
                <p14:cNvContentPartPr/>
                <p14:nvPr/>
              </p14:nvContentPartPr>
              <p14:xfrm>
                <a:off x="7910363" y="768477"/>
                <a:ext cx="169200" cy="130680"/>
              </p14:xfrm>
            </p:contentPart>
          </mc:Choice>
          <mc:Fallback>
            <p:pic>
              <p:nvPicPr>
                <p:cNvPr id="41" name="Ink 40">
                  <a:extLst>
                    <a:ext uri="{FF2B5EF4-FFF2-40B4-BE49-F238E27FC236}">
                      <a16:creationId xmlns:a16="http://schemas.microsoft.com/office/drawing/2014/main" id="{B22089E7-5855-2F89-1C57-84A3262A0255}"/>
                    </a:ext>
                  </a:extLst>
                </p:cNvPr>
                <p:cNvPicPr/>
                <p:nvPr/>
              </p:nvPicPr>
              <p:blipFill>
                <a:blip r:embed="rId31"/>
                <a:stretch>
                  <a:fillRect/>
                </a:stretch>
              </p:blipFill>
              <p:spPr>
                <a:xfrm>
                  <a:off x="7894883" y="753357"/>
                  <a:ext cx="199800" cy="160920"/>
                </a:xfrm>
                <a:prstGeom prst="rect">
                  <a:avLst/>
                </a:prstGeom>
              </p:spPr>
            </p:pic>
          </mc:Fallback>
        </mc:AlternateContent>
      </p:grpSp>
      <p:grpSp>
        <p:nvGrpSpPr>
          <p:cNvPr id="48" name="Group 47">
            <a:extLst>
              <a:ext uri="{FF2B5EF4-FFF2-40B4-BE49-F238E27FC236}">
                <a16:creationId xmlns:a16="http://schemas.microsoft.com/office/drawing/2014/main" id="{9B003812-39A3-6DB1-F86C-A8BBFA680C0D}"/>
              </a:ext>
            </a:extLst>
          </p:cNvPr>
          <p:cNvGrpSpPr/>
          <p:nvPr/>
        </p:nvGrpSpPr>
        <p:grpSpPr>
          <a:xfrm>
            <a:off x="7671323" y="436557"/>
            <a:ext cx="234720" cy="174240"/>
            <a:chOff x="7671323" y="436557"/>
            <a:chExt cx="234720" cy="174240"/>
          </a:xfrm>
        </p:grpSpPr>
        <mc:AlternateContent xmlns:mc="http://schemas.openxmlformats.org/markup-compatibility/2006">
          <mc:Choice xmlns:p14="http://schemas.microsoft.com/office/powerpoint/2010/main" Requires="p14">
            <p:contentPart p14:bwMode="auto" r:id="rId32">
              <p14:nvContentPartPr>
                <p14:cNvPr id="44" name="Ink 43">
                  <a:extLst>
                    <a:ext uri="{FF2B5EF4-FFF2-40B4-BE49-F238E27FC236}">
                      <a16:creationId xmlns:a16="http://schemas.microsoft.com/office/drawing/2014/main" id="{3A3BF3DC-AC75-0187-1E25-3BD23673206F}"/>
                    </a:ext>
                  </a:extLst>
                </p14:cNvPr>
                <p14:cNvContentPartPr/>
                <p14:nvPr/>
              </p14:nvContentPartPr>
              <p14:xfrm>
                <a:off x="7671323" y="436557"/>
                <a:ext cx="102960" cy="174240"/>
              </p14:xfrm>
            </p:contentPart>
          </mc:Choice>
          <mc:Fallback>
            <p:pic>
              <p:nvPicPr>
                <p:cNvPr id="44" name="Ink 43">
                  <a:extLst>
                    <a:ext uri="{FF2B5EF4-FFF2-40B4-BE49-F238E27FC236}">
                      <a16:creationId xmlns:a16="http://schemas.microsoft.com/office/drawing/2014/main" id="{3A3BF3DC-AC75-0187-1E25-3BD23673206F}"/>
                    </a:ext>
                  </a:extLst>
                </p:cNvPr>
                <p:cNvPicPr/>
                <p:nvPr/>
              </p:nvPicPr>
              <p:blipFill>
                <a:blip r:embed="rId33"/>
                <a:stretch>
                  <a:fillRect/>
                </a:stretch>
              </p:blipFill>
              <p:spPr>
                <a:xfrm>
                  <a:off x="7656203" y="421437"/>
                  <a:ext cx="133200" cy="204840"/>
                </a:xfrm>
                <a:prstGeom prst="rect">
                  <a:avLst/>
                </a:prstGeom>
              </p:spPr>
            </p:pic>
          </mc:Fallback>
        </mc:AlternateContent>
        <mc:AlternateContent xmlns:mc="http://schemas.openxmlformats.org/markup-compatibility/2006">
          <mc:Choice xmlns:p14="http://schemas.microsoft.com/office/powerpoint/2010/main" Requires="p14">
            <p:contentPart p14:bwMode="auto" r:id="rId34">
              <p14:nvContentPartPr>
                <p14:cNvPr id="45" name="Ink 44">
                  <a:extLst>
                    <a:ext uri="{FF2B5EF4-FFF2-40B4-BE49-F238E27FC236}">
                      <a16:creationId xmlns:a16="http://schemas.microsoft.com/office/drawing/2014/main" id="{96B43374-5D04-005F-222F-A2656514DD03}"/>
                    </a:ext>
                  </a:extLst>
                </p14:cNvPr>
                <p14:cNvContentPartPr/>
                <p14:nvPr/>
              </p14:nvContentPartPr>
              <p14:xfrm>
                <a:off x="7832603" y="473277"/>
                <a:ext cx="73440" cy="94320"/>
              </p14:xfrm>
            </p:contentPart>
          </mc:Choice>
          <mc:Fallback>
            <p:pic>
              <p:nvPicPr>
                <p:cNvPr id="45" name="Ink 44">
                  <a:extLst>
                    <a:ext uri="{FF2B5EF4-FFF2-40B4-BE49-F238E27FC236}">
                      <a16:creationId xmlns:a16="http://schemas.microsoft.com/office/drawing/2014/main" id="{96B43374-5D04-005F-222F-A2656514DD03}"/>
                    </a:ext>
                  </a:extLst>
                </p:cNvPr>
                <p:cNvPicPr/>
                <p:nvPr/>
              </p:nvPicPr>
              <p:blipFill>
                <a:blip r:embed="rId35"/>
                <a:stretch>
                  <a:fillRect/>
                </a:stretch>
              </p:blipFill>
              <p:spPr>
                <a:xfrm>
                  <a:off x="7817483" y="458157"/>
                  <a:ext cx="103680" cy="124920"/>
                </a:xfrm>
                <a:prstGeom prst="rect">
                  <a:avLst/>
                </a:prstGeom>
              </p:spPr>
            </p:pic>
          </mc:Fallback>
        </mc:AlternateContent>
      </p:grpSp>
      <p:grpSp>
        <p:nvGrpSpPr>
          <p:cNvPr id="47" name="Group 46">
            <a:extLst>
              <a:ext uri="{FF2B5EF4-FFF2-40B4-BE49-F238E27FC236}">
                <a16:creationId xmlns:a16="http://schemas.microsoft.com/office/drawing/2014/main" id="{2F74039D-1923-B74A-58C5-04EF0ADA54B6}"/>
              </a:ext>
            </a:extLst>
          </p:cNvPr>
          <p:cNvGrpSpPr/>
          <p:nvPr/>
        </p:nvGrpSpPr>
        <p:grpSpPr>
          <a:xfrm>
            <a:off x="6621563" y="785397"/>
            <a:ext cx="151560" cy="108360"/>
            <a:chOff x="6621563" y="785397"/>
            <a:chExt cx="151560" cy="108360"/>
          </a:xfrm>
        </p:grpSpPr>
        <mc:AlternateContent xmlns:mc="http://schemas.openxmlformats.org/markup-compatibility/2006">
          <mc:Choice xmlns:p14="http://schemas.microsoft.com/office/powerpoint/2010/main" Requires="p14">
            <p:contentPart p14:bwMode="auto" r:id="rId36">
              <p14:nvContentPartPr>
                <p14:cNvPr id="42" name="Ink 41">
                  <a:extLst>
                    <a:ext uri="{FF2B5EF4-FFF2-40B4-BE49-F238E27FC236}">
                      <a16:creationId xmlns:a16="http://schemas.microsoft.com/office/drawing/2014/main" id="{DD2D461F-550D-C878-8CBC-5FD15097B3CE}"/>
                    </a:ext>
                  </a:extLst>
                </p14:cNvPr>
                <p14:cNvContentPartPr/>
                <p14:nvPr/>
              </p14:nvContentPartPr>
              <p14:xfrm>
                <a:off x="6710483" y="837237"/>
                <a:ext cx="62640" cy="4320"/>
              </p14:xfrm>
            </p:contentPart>
          </mc:Choice>
          <mc:Fallback>
            <p:pic>
              <p:nvPicPr>
                <p:cNvPr id="42" name="Ink 41">
                  <a:extLst>
                    <a:ext uri="{FF2B5EF4-FFF2-40B4-BE49-F238E27FC236}">
                      <a16:creationId xmlns:a16="http://schemas.microsoft.com/office/drawing/2014/main" id="{DD2D461F-550D-C878-8CBC-5FD15097B3CE}"/>
                    </a:ext>
                  </a:extLst>
                </p:cNvPr>
                <p:cNvPicPr/>
                <p:nvPr/>
              </p:nvPicPr>
              <p:blipFill>
                <a:blip r:embed="rId37"/>
                <a:stretch>
                  <a:fillRect/>
                </a:stretch>
              </p:blipFill>
              <p:spPr>
                <a:xfrm>
                  <a:off x="6695363" y="821757"/>
                  <a:ext cx="93240" cy="34920"/>
                </a:xfrm>
                <a:prstGeom prst="rect">
                  <a:avLst/>
                </a:prstGeom>
              </p:spPr>
            </p:pic>
          </mc:Fallback>
        </mc:AlternateContent>
        <mc:AlternateContent xmlns:mc="http://schemas.openxmlformats.org/markup-compatibility/2006">
          <mc:Choice xmlns:p14="http://schemas.microsoft.com/office/powerpoint/2010/main" Requires="p14">
            <p:contentPart p14:bwMode="auto" r:id="rId38">
              <p14:nvContentPartPr>
                <p14:cNvPr id="43" name="Ink 42">
                  <a:extLst>
                    <a:ext uri="{FF2B5EF4-FFF2-40B4-BE49-F238E27FC236}">
                      <a16:creationId xmlns:a16="http://schemas.microsoft.com/office/drawing/2014/main" id="{79E1C601-F482-2A98-441A-4ED94A51D5D4}"/>
                    </a:ext>
                  </a:extLst>
                </p14:cNvPr>
                <p14:cNvContentPartPr/>
                <p14:nvPr/>
              </p14:nvContentPartPr>
              <p14:xfrm>
                <a:off x="6698603" y="785397"/>
                <a:ext cx="15840" cy="108360"/>
              </p14:xfrm>
            </p:contentPart>
          </mc:Choice>
          <mc:Fallback>
            <p:pic>
              <p:nvPicPr>
                <p:cNvPr id="43" name="Ink 42">
                  <a:extLst>
                    <a:ext uri="{FF2B5EF4-FFF2-40B4-BE49-F238E27FC236}">
                      <a16:creationId xmlns:a16="http://schemas.microsoft.com/office/drawing/2014/main" id="{79E1C601-F482-2A98-441A-4ED94A51D5D4}"/>
                    </a:ext>
                  </a:extLst>
                </p:cNvPr>
                <p:cNvPicPr/>
                <p:nvPr/>
              </p:nvPicPr>
              <p:blipFill>
                <a:blip r:embed="rId39"/>
                <a:stretch>
                  <a:fillRect/>
                </a:stretch>
              </p:blipFill>
              <p:spPr>
                <a:xfrm>
                  <a:off x="6683483" y="769917"/>
                  <a:ext cx="46440" cy="138600"/>
                </a:xfrm>
                <a:prstGeom prst="rect">
                  <a:avLst/>
                </a:prstGeom>
              </p:spPr>
            </p:pic>
          </mc:Fallback>
        </mc:AlternateContent>
        <mc:AlternateContent xmlns:mc="http://schemas.openxmlformats.org/markup-compatibility/2006">
          <mc:Choice xmlns:p14="http://schemas.microsoft.com/office/powerpoint/2010/main" Requires="p14">
            <p:contentPart p14:bwMode="auto" r:id="rId40">
              <p14:nvContentPartPr>
                <p14:cNvPr id="46" name="Ink 45">
                  <a:extLst>
                    <a:ext uri="{FF2B5EF4-FFF2-40B4-BE49-F238E27FC236}">
                      <a16:creationId xmlns:a16="http://schemas.microsoft.com/office/drawing/2014/main" id="{D5F662D2-58BB-4653-D709-909142976E4F}"/>
                    </a:ext>
                  </a:extLst>
                </p14:cNvPr>
                <p14:cNvContentPartPr/>
                <p14:nvPr/>
              </p14:nvContentPartPr>
              <p14:xfrm>
                <a:off x="6621563" y="815277"/>
                <a:ext cx="104760" cy="6480"/>
              </p14:xfrm>
            </p:contentPart>
          </mc:Choice>
          <mc:Fallback>
            <p:pic>
              <p:nvPicPr>
                <p:cNvPr id="46" name="Ink 45">
                  <a:extLst>
                    <a:ext uri="{FF2B5EF4-FFF2-40B4-BE49-F238E27FC236}">
                      <a16:creationId xmlns:a16="http://schemas.microsoft.com/office/drawing/2014/main" id="{D5F662D2-58BB-4653-D709-909142976E4F}"/>
                    </a:ext>
                  </a:extLst>
                </p:cNvPr>
                <p:cNvPicPr/>
                <p:nvPr/>
              </p:nvPicPr>
              <p:blipFill>
                <a:blip r:embed="rId41"/>
                <a:stretch>
                  <a:fillRect/>
                </a:stretch>
              </p:blipFill>
              <p:spPr>
                <a:xfrm>
                  <a:off x="6606443" y="800157"/>
                  <a:ext cx="135360" cy="3672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42">
            <p14:nvContentPartPr>
              <p14:cNvPr id="50" name="Ink 49">
                <a:extLst>
                  <a:ext uri="{FF2B5EF4-FFF2-40B4-BE49-F238E27FC236}">
                    <a16:creationId xmlns:a16="http://schemas.microsoft.com/office/drawing/2014/main" id="{1818BED5-8760-9A8D-BC1D-B16E293F5022}"/>
                  </a:ext>
                </a:extLst>
              </p14:cNvPr>
              <p14:cNvContentPartPr/>
              <p14:nvPr/>
            </p14:nvContentPartPr>
            <p14:xfrm>
              <a:off x="5571083" y="746877"/>
              <a:ext cx="144360" cy="145800"/>
            </p14:xfrm>
          </p:contentPart>
        </mc:Choice>
        <mc:Fallback>
          <p:pic>
            <p:nvPicPr>
              <p:cNvPr id="50" name="Ink 49">
                <a:extLst>
                  <a:ext uri="{FF2B5EF4-FFF2-40B4-BE49-F238E27FC236}">
                    <a16:creationId xmlns:a16="http://schemas.microsoft.com/office/drawing/2014/main" id="{1818BED5-8760-9A8D-BC1D-B16E293F5022}"/>
                  </a:ext>
                </a:extLst>
              </p:cNvPr>
              <p:cNvPicPr/>
              <p:nvPr/>
            </p:nvPicPr>
            <p:blipFill>
              <a:blip r:embed="rId43"/>
              <a:stretch>
                <a:fillRect/>
              </a:stretch>
            </p:blipFill>
            <p:spPr>
              <a:xfrm>
                <a:off x="5555963" y="731757"/>
                <a:ext cx="174600" cy="176400"/>
              </a:xfrm>
              <a:prstGeom prst="rect">
                <a:avLst/>
              </a:prstGeom>
            </p:spPr>
          </p:pic>
        </mc:Fallback>
      </mc:AlternateContent>
      <mc:AlternateContent xmlns:mc="http://schemas.openxmlformats.org/markup-compatibility/2006">
        <mc:Choice xmlns:p14="http://schemas.microsoft.com/office/powerpoint/2010/main" Requires="p14">
          <p:contentPart p14:bwMode="auto" r:id="rId44">
            <p14:nvContentPartPr>
              <p14:cNvPr id="51" name="Ink 50">
                <a:extLst>
                  <a:ext uri="{FF2B5EF4-FFF2-40B4-BE49-F238E27FC236}">
                    <a16:creationId xmlns:a16="http://schemas.microsoft.com/office/drawing/2014/main" id="{4282219F-5927-1624-5078-E071976FF27E}"/>
                  </a:ext>
                </a:extLst>
              </p14:cNvPr>
              <p14:cNvContentPartPr/>
              <p14:nvPr/>
            </p14:nvContentPartPr>
            <p14:xfrm>
              <a:off x="5774483" y="863877"/>
              <a:ext cx="7920" cy="2520"/>
            </p14:xfrm>
          </p:contentPart>
        </mc:Choice>
        <mc:Fallback>
          <p:pic>
            <p:nvPicPr>
              <p:cNvPr id="51" name="Ink 50">
                <a:extLst>
                  <a:ext uri="{FF2B5EF4-FFF2-40B4-BE49-F238E27FC236}">
                    <a16:creationId xmlns:a16="http://schemas.microsoft.com/office/drawing/2014/main" id="{4282219F-5927-1624-5078-E071976FF27E}"/>
                  </a:ext>
                </a:extLst>
              </p:cNvPr>
              <p:cNvPicPr/>
              <p:nvPr/>
            </p:nvPicPr>
            <p:blipFill>
              <a:blip r:embed="rId45"/>
              <a:stretch>
                <a:fillRect/>
              </a:stretch>
            </p:blipFill>
            <p:spPr>
              <a:xfrm>
                <a:off x="5759363" y="848397"/>
                <a:ext cx="38160" cy="32760"/>
              </a:xfrm>
              <a:prstGeom prst="rect">
                <a:avLst/>
              </a:prstGeom>
            </p:spPr>
          </p:pic>
        </mc:Fallback>
      </mc:AlternateContent>
      <mc:AlternateContent xmlns:mc="http://schemas.openxmlformats.org/markup-compatibility/2006">
        <mc:Choice xmlns:p14="http://schemas.microsoft.com/office/powerpoint/2010/main" Requires="p14">
          <p:contentPart p14:bwMode="auto" r:id="rId46">
            <p14:nvContentPartPr>
              <p14:cNvPr id="52" name="Ink 51">
                <a:extLst>
                  <a:ext uri="{FF2B5EF4-FFF2-40B4-BE49-F238E27FC236}">
                    <a16:creationId xmlns:a16="http://schemas.microsoft.com/office/drawing/2014/main" id="{83977F3B-55C5-BA1F-52B9-5B93DA8B7155}"/>
                  </a:ext>
                </a:extLst>
              </p14:cNvPr>
              <p14:cNvContentPartPr/>
              <p14:nvPr/>
            </p14:nvContentPartPr>
            <p14:xfrm>
              <a:off x="5848283" y="773877"/>
              <a:ext cx="97560" cy="123120"/>
            </p14:xfrm>
          </p:contentPart>
        </mc:Choice>
        <mc:Fallback>
          <p:pic>
            <p:nvPicPr>
              <p:cNvPr id="52" name="Ink 51">
                <a:extLst>
                  <a:ext uri="{FF2B5EF4-FFF2-40B4-BE49-F238E27FC236}">
                    <a16:creationId xmlns:a16="http://schemas.microsoft.com/office/drawing/2014/main" id="{83977F3B-55C5-BA1F-52B9-5B93DA8B7155}"/>
                  </a:ext>
                </a:extLst>
              </p:cNvPr>
              <p:cNvPicPr/>
              <p:nvPr/>
            </p:nvPicPr>
            <p:blipFill>
              <a:blip r:embed="rId47"/>
              <a:stretch>
                <a:fillRect/>
              </a:stretch>
            </p:blipFill>
            <p:spPr>
              <a:xfrm>
                <a:off x="5833163" y="758757"/>
                <a:ext cx="128160" cy="153360"/>
              </a:xfrm>
              <a:prstGeom prst="rect">
                <a:avLst/>
              </a:prstGeom>
            </p:spPr>
          </p:pic>
        </mc:Fallback>
      </mc:AlternateContent>
      <mc:AlternateContent xmlns:mc="http://schemas.openxmlformats.org/markup-compatibility/2006">
        <mc:Choice xmlns:p14="http://schemas.microsoft.com/office/powerpoint/2010/main" Requires="p14">
          <p:contentPart p14:bwMode="auto" r:id="rId48">
            <p14:nvContentPartPr>
              <p14:cNvPr id="53" name="Ink 52">
                <a:extLst>
                  <a:ext uri="{FF2B5EF4-FFF2-40B4-BE49-F238E27FC236}">
                    <a16:creationId xmlns:a16="http://schemas.microsoft.com/office/drawing/2014/main" id="{FEF06522-D7C9-672A-A0E7-21ACF4114584}"/>
                  </a:ext>
                </a:extLst>
              </p14:cNvPr>
              <p14:cNvContentPartPr/>
              <p14:nvPr/>
            </p14:nvContentPartPr>
            <p14:xfrm>
              <a:off x="5996963" y="728517"/>
              <a:ext cx="68400" cy="55800"/>
            </p14:xfrm>
          </p:contentPart>
        </mc:Choice>
        <mc:Fallback>
          <p:pic>
            <p:nvPicPr>
              <p:cNvPr id="53" name="Ink 52">
                <a:extLst>
                  <a:ext uri="{FF2B5EF4-FFF2-40B4-BE49-F238E27FC236}">
                    <a16:creationId xmlns:a16="http://schemas.microsoft.com/office/drawing/2014/main" id="{FEF06522-D7C9-672A-A0E7-21ACF4114584}"/>
                  </a:ext>
                </a:extLst>
              </p:cNvPr>
              <p:cNvPicPr/>
              <p:nvPr/>
            </p:nvPicPr>
            <p:blipFill>
              <a:blip r:embed="rId49"/>
              <a:stretch>
                <a:fillRect/>
              </a:stretch>
            </p:blipFill>
            <p:spPr>
              <a:xfrm>
                <a:off x="5981843" y="713397"/>
                <a:ext cx="99000" cy="86040"/>
              </a:xfrm>
              <a:prstGeom prst="rect">
                <a:avLst/>
              </a:prstGeom>
            </p:spPr>
          </p:pic>
        </mc:Fallback>
      </mc:AlternateContent>
      <mc:AlternateContent xmlns:mc="http://schemas.openxmlformats.org/markup-compatibility/2006">
        <mc:Choice xmlns:p14="http://schemas.microsoft.com/office/powerpoint/2010/main" Requires="p14">
          <p:contentPart p14:bwMode="auto" r:id="rId50">
            <p14:nvContentPartPr>
              <p14:cNvPr id="54" name="Ink 53">
                <a:extLst>
                  <a:ext uri="{FF2B5EF4-FFF2-40B4-BE49-F238E27FC236}">
                    <a16:creationId xmlns:a16="http://schemas.microsoft.com/office/drawing/2014/main" id="{E29ABC8B-3A7C-B100-FC56-25B6F5C6A8F7}"/>
                  </a:ext>
                </a:extLst>
              </p14:cNvPr>
              <p14:cNvContentPartPr/>
              <p14:nvPr/>
            </p14:nvContentPartPr>
            <p14:xfrm>
              <a:off x="6081203" y="800517"/>
              <a:ext cx="63720" cy="104040"/>
            </p14:xfrm>
          </p:contentPart>
        </mc:Choice>
        <mc:Fallback>
          <p:pic>
            <p:nvPicPr>
              <p:cNvPr id="54" name="Ink 53">
                <a:extLst>
                  <a:ext uri="{FF2B5EF4-FFF2-40B4-BE49-F238E27FC236}">
                    <a16:creationId xmlns:a16="http://schemas.microsoft.com/office/drawing/2014/main" id="{E29ABC8B-3A7C-B100-FC56-25B6F5C6A8F7}"/>
                  </a:ext>
                </a:extLst>
              </p:cNvPr>
              <p:cNvPicPr/>
              <p:nvPr/>
            </p:nvPicPr>
            <p:blipFill>
              <a:blip r:embed="rId51"/>
              <a:stretch>
                <a:fillRect/>
              </a:stretch>
            </p:blipFill>
            <p:spPr>
              <a:xfrm>
                <a:off x="6065723" y="785037"/>
                <a:ext cx="93960" cy="134280"/>
              </a:xfrm>
              <a:prstGeom prst="rect">
                <a:avLst/>
              </a:prstGeom>
            </p:spPr>
          </p:pic>
        </mc:Fallback>
      </mc:AlternateContent>
      <p:grpSp>
        <p:nvGrpSpPr>
          <p:cNvPr id="63" name="Group 62">
            <a:extLst>
              <a:ext uri="{FF2B5EF4-FFF2-40B4-BE49-F238E27FC236}">
                <a16:creationId xmlns:a16="http://schemas.microsoft.com/office/drawing/2014/main" id="{235FB88B-C804-0643-DED4-E3CBB8DA121A}"/>
              </a:ext>
            </a:extLst>
          </p:cNvPr>
          <p:cNvGrpSpPr/>
          <p:nvPr/>
        </p:nvGrpSpPr>
        <p:grpSpPr>
          <a:xfrm>
            <a:off x="6233123" y="772437"/>
            <a:ext cx="314280" cy="182160"/>
            <a:chOff x="6233123" y="772437"/>
            <a:chExt cx="314280" cy="182160"/>
          </a:xfrm>
        </p:grpSpPr>
        <mc:AlternateContent xmlns:mc="http://schemas.openxmlformats.org/markup-compatibility/2006">
          <mc:Choice xmlns:p14="http://schemas.microsoft.com/office/powerpoint/2010/main" Requires="p14">
            <p:contentPart p14:bwMode="auto" r:id="rId52">
              <p14:nvContentPartPr>
                <p14:cNvPr id="58" name="Ink 57">
                  <a:extLst>
                    <a:ext uri="{FF2B5EF4-FFF2-40B4-BE49-F238E27FC236}">
                      <a16:creationId xmlns:a16="http://schemas.microsoft.com/office/drawing/2014/main" id="{39016EB1-C9CD-3740-C638-96B75DD913BC}"/>
                    </a:ext>
                  </a:extLst>
                </p14:cNvPr>
                <p14:cNvContentPartPr/>
                <p14:nvPr/>
              </p14:nvContentPartPr>
              <p14:xfrm>
                <a:off x="6233123" y="845157"/>
                <a:ext cx="7200" cy="7560"/>
              </p14:xfrm>
            </p:contentPart>
          </mc:Choice>
          <mc:Fallback>
            <p:pic>
              <p:nvPicPr>
                <p:cNvPr id="58" name="Ink 57">
                  <a:extLst>
                    <a:ext uri="{FF2B5EF4-FFF2-40B4-BE49-F238E27FC236}">
                      <a16:creationId xmlns:a16="http://schemas.microsoft.com/office/drawing/2014/main" id="{39016EB1-C9CD-3740-C638-96B75DD913BC}"/>
                    </a:ext>
                  </a:extLst>
                </p:cNvPr>
                <p:cNvPicPr/>
                <p:nvPr/>
              </p:nvPicPr>
              <p:blipFill>
                <a:blip r:embed="rId53"/>
                <a:stretch>
                  <a:fillRect/>
                </a:stretch>
              </p:blipFill>
              <p:spPr>
                <a:xfrm>
                  <a:off x="6218003" y="829677"/>
                  <a:ext cx="37800" cy="38160"/>
                </a:xfrm>
                <a:prstGeom prst="rect">
                  <a:avLst/>
                </a:prstGeom>
              </p:spPr>
            </p:pic>
          </mc:Fallback>
        </mc:AlternateContent>
        <mc:AlternateContent xmlns:mc="http://schemas.openxmlformats.org/markup-compatibility/2006">
          <mc:Choice xmlns:p14="http://schemas.microsoft.com/office/powerpoint/2010/main" Requires="p14">
            <p:contentPart p14:bwMode="auto" r:id="rId54">
              <p14:nvContentPartPr>
                <p14:cNvPr id="59" name="Ink 58">
                  <a:extLst>
                    <a:ext uri="{FF2B5EF4-FFF2-40B4-BE49-F238E27FC236}">
                      <a16:creationId xmlns:a16="http://schemas.microsoft.com/office/drawing/2014/main" id="{E3A21DB7-D3D4-31FC-9B59-A4D8DBC7D8AF}"/>
                    </a:ext>
                  </a:extLst>
                </p14:cNvPr>
                <p14:cNvContentPartPr/>
                <p14:nvPr/>
              </p14:nvContentPartPr>
              <p14:xfrm>
                <a:off x="6276683" y="799437"/>
                <a:ext cx="110160" cy="116280"/>
              </p14:xfrm>
            </p:contentPart>
          </mc:Choice>
          <mc:Fallback>
            <p:pic>
              <p:nvPicPr>
                <p:cNvPr id="59" name="Ink 58">
                  <a:extLst>
                    <a:ext uri="{FF2B5EF4-FFF2-40B4-BE49-F238E27FC236}">
                      <a16:creationId xmlns:a16="http://schemas.microsoft.com/office/drawing/2014/main" id="{E3A21DB7-D3D4-31FC-9B59-A4D8DBC7D8AF}"/>
                    </a:ext>
                  </a:extLst>
                </p:cNvPr>
                <p:cNvPicPr/>
                <p:nvPr/>
              </p:nvPicPr>
              <p:blipFill>
                <a:blip r:embed="rId55"/>
                <a:stretch>
                  <a:fillRect/>
                </a:stretch>
              </p:blipFill>
              <p:spPr>
                <a:xfrm>
                  <a:off x="6261563" y="783957"/>
                  <a:ext cx="140400" cy="146880"/>
                </a:xfrm>
                <a:prstGeom prst="rect">
                  <a:avLst/>
                </a:prstGeom>
              </p:spPr>
            </p:pic>
          </mc:Fallback>
        </mc:AlternateContent>
        <mc:AlternateContent xmlns:mc="http://schemas.openxmlformats.org/markup-compatibility/2006">
          <mc:Choice xmlns:p14="http://schemas.microsoft.com/office/powerpoint/2010/main" Requires="p14">
            <p:contentPart p14:bwMode="auto" r:id="rId56">
              <p14:nvContentPartPr>
                <p14:cNvPr id="60" name="Ink 59">
                  <a:extLst>
                    <a:ext uri="{FF2B5EF4-FFF2-40B4-BE49-F238E27FC236}">
                      <a16:creationId xmlns:a16="http://schemas.microsoft.com/office/drawing/2014/main" id="{40A22FA2-B553-8B68-FF84-B45F4CE23000}"/>
                    </a:ext>
                  </a:extLst>
                </p14:cNvPr>
                <p14:cNvContentPartPr/>
                <p14:nvPr/>
              </p14:nvContentPartPr>
              <p14:xfrm>
                <a:off x="6403403" y="772437"/>
                <a:ext cx="47880" cy="83880"/>
              </p14:xfrm>
            </p:contentPart>
          </mc:Choice>
          <mc:Fallback>
            <p:pic>
              <p:nvPicPr>
                <p:cNvPr id="60" name="Ink 59">
                  <a:extLst>
                    <a:ext uri="{FF2B5EF4-FFF2-40B4-BE49-F238E27FC236}">
                      <a16:creationId xmlns:a16="http://schemas.microsoft.com/office/drawing/2014/main" id="{40A22FA2-B553-8B68-FF84-B45F4CE23000}"/>
                    </a:ext>
                  </a:extLst>
                </p:cNvPr>
                <p:cNvPicPr/>
                <p:nvPr/>
              </p:nvPicPr>
              <p:blipFill>
                <a:blip r:embed="rId57"/>
                <a:stretch>
                  <a:fillRect/>
                </a:stretch>
              </p:blipFill>
              <p:spPr>
                <a:xfrm>
                  <a:off x="6388283" y="757317"/>
                  <a:ext cx="78480" cy="114480"/>
                </a:xfrm>
                <a:prstGeom prst="rect">
                  <a:avLst/>
                </a:prstGeom>
              </p:spPr>
            </p:pic>
          </mc:Fallback>
        </mc:AlternateContent>
        <mc:AlternateContent xmlns:mc="http://schemas.openxmlformats.org/markup-compatibility/2006">
          <mc:Choice xmlns:p14="http://schemas.microsoft.com/office/powerpoint/2010/main" Requires="p14">
            <p:contentPart p14:bwMode="auto" r:id="rId58">
              <p14:nvContentPartPr>
                <p14:cNvPr id="61" name="Ink 60">
                  <a:extLst>
                    <a:ext uri="{FF2B5EF4-FFF2-40B4-BE49-F238E27FC236}">
                      <a16:creationId xmlns:a16="http://schemas.microsoft.com/office/drawing/2014/main" id="{6E86FAF7-8372-6EB2-9353-3758B6B73AEE}"/>
                    </a:ext>
                  </a:extLst>
                </p14:cNvPr>
                <p14:cNvContentPartPr/>
                <p14:nvPr/>
              </p14:nvContentPartPr>
              <p14:xfrm>
                <a:off x="6476483" y="846237"/>
                <a:ext cx="7920" cy="107280"/>
              </p14:xfrm>
            </p:contentPart>
          </mc:Choice>
          <mc:Fallback>
            <p:pic>
              <p:nvPicPr>
                <p:cNvPr id="61" name="Ink 60">
                  <a:extLst>
                    <a:ext uri="{FF2B5EF4-FFF2-40B4-BE49-F238E27FC236}">
                      <a16:creationId xmlns:a16="http://schemas.microsoft.com/office/drawing/2014/main" id="{6E86FAF7-8372-6EB2-9353-3758B6B73AEE}"/>
                    </a:ext>
                  </a:extLst>
                </p:cNvPr>
                <p:cNvPicPr/>
                <p:nvPr/>
              </p:nvPicPr>
              <p:blipFill>
                <a:blip r:embed="rId59"/>
                <a:stretch>
                  <a:fillRect/>
                </a:stretch>
              </p:blipFill>
              <p:spPr>
                <a:xfrm>
                  <a:off x="6461363" y="830757"/>
                  <a:ext cx="38520" cy="137520"/>
                </a:xfrm>
                <a:prstGeom prst="rect">
                  <a:avLst/>
                </a:prstGeom>
              </p:spPr>
            </p:pic>
          </mc:Fallback>
        </mc:AlternateContent>
        <mc:AlternateContent xmlns:mc="http://schemas.openxmlformats.org/markup-compatibility/2006">
          <mc:Choice xmlns:p14="http://schemas.microsoft.com/office/powerpoint/2010/main" Requires="p14">
            <p:contentPart p14:bwMode="auto" r:id="rId60">
              <p14:nvContentPartPr>
                <p14:cNvPr id="62" name="Ink 61">
                  <a:extLst>
                    <a:ext uri="{FF2B5EF4-FFF2-40B4-BE49-F238E27FC236}">
                      <a16:creationId xmlns:a16="http://schemas.microsoft.com/office/drawing/2014/main" id="{ACFBFF2F-B213-1310-8A88-DB78FE68D04F}"/>
                    </a:ext>
                  </a:extLst>
                </p14:cNvPr>
                <p14:cNvContentPartPr/>
                <p14:nvPr/>
              </p14:nvContentPartPr>
              <p14:xfrm>
                <a:off x="6506723" y="879717"/>
                <a:ext cx="40680" cy="74880"/>
              </p14:xfrm>
            </p:contentPart>
          </mc:Choice>
          <mc:Fallback>
            <p:pic>
              <p:nvPicPr>
                <p:cNvPr id="62" name="Ink 61">
                  <a:extLst>
                    <a:ext uri="{FF2B5EF4-FFF2-40B4-BE49-F238E27FC236}">
                      <a16:creationId xmlns:a16="http://schemas.microsoft.com/office/drawing/2014/main" id="{ACFBFF2F-B213-1310-8A88-DB78FE68D04F}"/>
                    </a:ext>
                  </a:extLst>
                </p:cNvPr>
                <p:cNvPicPr/>
                <p:nvPr/>
              </p:nvPicPr>
              <p:blipFill>
                <a:blip r:embed="rId61"/>
                <a:stretch>
                  <a:fillRect/>
                </a:stretch>
              </p:blipFill>
              <p:spPr>
                <a:xfrm>
                  <a:off x="6491603" y="864237"/>
                  <a:ext cx="71280" cy="105480"/>
                </a:xfrm>
                <a:prstGeom prst="rect">
                  <a:avLst/>
                </a:prstGeom>
              </p:spPr>
            </p:pic>
          </mc:Fallback>
        </mc:AlternateContent>
      </p:grpSp>
      <p:grpSp>
        <p:nvGrpSpPr>
          <p:cNvPr id="130" name="Group 129">
            <a:extLst>
              <a:ext uri="{FF2B5EF4-FFF2-40B4-BE49-F238E27FC236}">
                <a16:creationId xmlns:a16="http://schemas.microsoft.com/office/drawing/2014/main" id="{C08C5A14-936B-2EAB-E091-1D07E5917A41}"/>
              </a:ext>
            </a:extLst>
          </p:cNvPr>
          <p:cNvGrpSpPr/>
          <p:nvPr/>
        </p:nvGrpSpPr>
        <p:grpSpPr>
          <a:xfrm>
            <a:off x="5902643" y="473997"/>
            <a:ext cx="285840" cy="144000"/>
            <a:chOff x="5902643" y="473997"/>
            <a:chExt cx="285840" cy="144000"/>
          </a:xfrm>
        </p:grpSpPr>
        <mc:AlternateContent xmlns:mc="http://schemas.openxmlformats.org/markup-compatibility/2006">
          <mc:Choice xmlns:p14="http://schemas.microsoft.com/office/powerpoint/2010/main" Requires="p14">
            <p:contentPart p14:bwMode="auto" r:id="rId62">
              <p14:nvContentPartPr>
                <p14:cNvPr id="128" name="Ink 127">
                  <a:extLst>
                    <a:ext uri="{FF2B5EF4-FFF2-40B4-BE49-F238E27FC236}">
                      <a16:creationId xmlns:a16="http://schemas.microsoft.com/office/drawing/2014/main" id="{E1FAA34B-F0E5-142C-9CD4-826A526645B7}"/>
                    </a:ext>
                  </a:extLst>
                </p14:cNvPr>
                <p14:cNvContentPartPr/>
                <p14:nvPr/>
              </p14:nvContentPartPr>
              <p14:xfrm>
                <a:off x="5902643" y="473997"/>
                <a:ext cx="104760" cy="144000"/>
              </p14:xfrm>
            </p:contentPart>
          </mc:Choice>
          <mc:Fallback>
            <p:pic>
              <p:nvPicPr>
                <p:cNvPr id="128" name="Ink 127">
                  <a:extLst>
                    <a:ext uri="{FF2B5EF4-FFF2-40B4-BE49-F238E27FC236}">
                      <a16:creationId xmlns:a16="http://schemas.microsoft.com/office/drawing/2014/main" id="{E1FAA34B-F0E5-142C-9CD4-826A526645B7}"/>
                    </a:ext>
                  </a:extLst>
                </p:cNvPr>
                <p:cNvPicPr/>
                <p:nvPr/>
              </p:nvPicPr>
              <p:blipFill>
                <a:blip r:embed="rId63"/>
                <a:stretch>
                  <a:fillRect/>
                </a:stretch>
              </p:blipFill>
              <p:spPr>
                <a:xfrm>
                  <a:off x="5887163" y="458877"/>
                  <a:ext cx="135360" cy="174600"/>
                </a:xfrm>
                <a:prstGeom prst="rect">
                  <a:avLst/>
                </a:prstGeom>
              </p:spPr>
            </p:pic>
          </mc:Fallback>
        </mc:AlternateContent>
        <mc:AlternateContent xmlns:mc="http://schemas.openxmlformats.org/markup-compatibility/2006">
          <mc:Choice xmlns:p14="http://schemas.microsoft.com/office/powerpoint/2010/main" Requires="p14">
            <p:contentPart p14:bwMode="auto" r:id="rId64">
              <p14:nvContentPartPr>
                <p14:cNvPr id="129" name="Ink 128">
                  <a:extLst>
                    <a:ext uri="{FF2B5EF4-FFF2-40B4-BE49-F238E27FC236}">
                      <a16:creationId xmlns:a16="http://schemas.microsoft.com/office/drawing/2014/main" id="{AA2229C4-F4FA-6B35-7C5D-D1F0D8BAA354}"/>
                    </a:ext>
                  </a:extLst>
                </p14:cNvPr>
                <p14:cNvContentPartPr/>
                <p14:nvPr/>
              </p14:nvContentPartPr>
              <p14:xfrm>
                <a:off x="6120803" y="508557"/>
                <a:ext cx="67680" cy="103320"/>
              </p14:xfrm>
            </p:contentPart>
          </mc:Choice>
          <mc:Fallback>
            <p:pic>
              <p:nvPicPr>
                <p:cNvPr id="129" name="Ink 128">
                  <a:extLst>
                    <a:ext uri="{FF2B5EF4-FFF2-40B4-BE49-F238E27FC236}">
                      <a16:creationId xmlns:a16="http://schemas.microsoft.com/office/drawing/2014/main" id="{AA2229C4-F4FA-6B35-7C5D-D1F0D8BAA354}"/>
                    </a:ext>
                  </a:extLst>
                </p:cNvPr>
                <p:cNvPicPr/>
                <p:nvPr/>
              </p:nvPicPr>
              <p:blipFill>
                <a:blip r:embed="rId65"/>
                <a:stretch>
                  <a:fillRect/>
                </a:stretch>
              </p:blipFill>
              <p:spPr>
                <a:xfrm>
                  <a:off x="6105683" y="493437"/>
                  <a:ext cx="98280" cy="13392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66">
            <p14:nvContentPartPr>
              <p14:cNvPr id="131" name="Ink 130">
                <a:extLst>
                  <a:ext uri="{FF2B5EF4-FFF2-40B4-BE49-F238E27FC236}">
                    <a16:creationId xmlns:a16="http://schemas.microsoft.com/office/drawing/2014/main" id="{3E33500B-9FAD-3015-44F4-C7DEE0943171}"/>
                  </a:ext>
                </a:extLst>
              </p14:cNvPr>
              <p14:cNvContentPartPr/>
              <p14:nvPr/>
            </p14:nvContentPartPr>
            <p14:xfrm>
              <a:off x="5512043" y="966477"/>
              <a:ext cx="658440" cy="96480"/>
            </p14:xfrm>
          </p:contentPart>
        </mc:Choice>
        <mc:Fallback>
          <p:pic>
            <p:nvPicPr>
              <p:cNvPr id="131" name="Ink 130">
                <a:extLst>
                  <a:ext uri="{FF2B5EF4-FFF2-40B4-BE49-F238E27FC236}">
                    <a16:creationId xmlns:a16="http://schemas.microsoft.com/office/drawing/2014/main" id="{3E33500B-9FAD-3015-44F4-C7DEE0943171}"/>
                  </a:ext>
                </a:extLst>
              </p:cNvPr>
              <p:cNvPicPr/>
              <p:nvPr/>
            </p:nvPicPr>
            <p:blipFill>
              <a:blip r:embed="rId67"/>
              <a:stretch>
                <a:fillRect/>
              </a:stretch>
            </p:blipFill>
            <p:spPr>
              <a:xfrm>
                <a:off x="5496923" y="951357"/>
                <a:ext cx="689040" cy="127080"/>
              </a:xfrm>
              <a:prstGeom prst="rect">
                <a:avLst/>
              </a:prstGeom>
            </p:spPr>
          </p:pic>
        </mc:Fallback>
      </mc:AlternateContent>
      <p:grpSp>
        <p:nvGrpSpPr>
          <p:cNvPr id="147" name="Group 146">
            <a:extLst>
              <a:ext uri="{FF2B5EF4-FFF2-40B4-BE49-F238E27FC236}">
                <a16:creationId xmlns:a16="http://schemas.microsoft.com/office/drawing/2014/main" id="{E7ACA690-64BD-9F89-BE3E-DC679E15F4BA}"/>
              </a:ext>
            </a:extLst>
          </p:cNvPr>
          <p:cNvGrpSpPr/>
          <p:nvPr/>
        </p:nvGrpSpPr>
        <p:grpSpPr>
          <a:xfrm>
            <a:off x="5655323" y="114717"/>
            <a:ext cx="1749240" cy="276120"/>
            <a:chOff x="5655323" y="114717"/>
            <a:chExt cx="1749240" cy="276120"/>
          </a:xfrm>
        </p:grpSpPr>
        <mc:AlternateContent xmlns:mc="http://schemas.openxmlformats.org/markup-compatibility/2006">
          <mc:Choice xmlns:p14="http://schemas.microsoft.com/office/powerpoint/2010/main" Requires="p14">
            <p:contentPart p14:bwMode="auto" r:id="rId68">
              <p14:nvContentPartPr>
                <p14:cNvPr id="132" name="Ink 131">
                  <a:extLst>
                    <a:ext uri="{FF2B5EF4-FFF2-40B4-BE49-F238E27FC236}">
                      <a16:creationId xmlns:a16="http://schemas.microsoft.com/office/drawing/2014/main" id="{413DA702-02A7-C376-184A-F1B0655B341B}"/>
                    </a:ext>
                  </a:extLst>
                </p14:cNvPr>
                <p14:cNvContentPartPr/>
                <p14:nvPr/>
              </p14:nvContentPartPr>
              <p14:xfrm>
                <a:off x="5655323" y="130197"/>
                <a:ext cx="137160" cy="136440"/>
              </p14:xfrm>
            </p:contentPart>
          </mc:Choice>
          <mc:Fallback>
            <p:pic>
              <p:nvPicPr>
                <p:cNvPr id="132" name="Ink 131">
                  <a:extLst>
                    <a:ext uri="{FF2B5EF4-FFF2-40B4-BE49-F238E27FC236}">
                      <a16:creationId xmlns:a16="http://schemas.microsoft.com/office/drawing/2014/main" id="{413DA702-02A7-C376-184A-F1B0655B341B}"/>
                    </a:ext>
                  </a:extLst>
                </p:cNvPr>
                <p:cNvPicPr/>
                <p:nvPr/>
              </p:nvPicPr>
              <p:blipFill>
                <a:blip r:embed="rId69"/>
                <a:stretch>
                  <a:fillRect/>
                </a:stretch>
              </p:blipFill>
              <p:spPr>
                <a:xfrm>
                  <a:off x="5640203" y="115077"/>
                  <a:ext cx="167760" cy="167040"/>
                </a:xfrm>
                <a:prstGeom prst="rect">
                  <a:avLst/>
                </a:prstGeom>
              </p:spPr>
            </p:pic>
          </mc:Fallback>
        </mc:AlternateContent>
        <mc:AlternateContent xmlns:mc="http://schemas.openxmlformats.org/markup-compatibility/2006">
          <mc:Choice xmlns:p14="http://schemas.microsoft.com/office/powerpoint/2010/main" Requires="p14">
            <p:contentPart p14:bwMode="auto" r:id="rId70">
              <p14:nvContentPartPr>
                <p14:cNvPr id="133" name="Ink 132">
                  <a:extLst>
                    <a:ext uri="{FF2B5EF4-FFF2-40B4-BE49-F238E27FC236}">
                      <a16:creationId xmlns:a16="http://schemas.microsoft.com/office/drawing/2014/main" id="{1D1A83A3-05C6-581B-BF5E-6BC45716FADA}"/>
                    </a:ext>
                  </a:extLst>
                </p14:cNvPr>
                <p14:cNvContentPartPr/>
                <p14:nvPr/>
              </p14:nvContentPartPr>
              <p14:xfrm>
                <a:off x="5886803" y="210117"/>
                <a:ext cx="12600" cy="2880"/>
              </p14:xfrm>
            </p:contentPart>
          </mc:Choice>
          <mc:Fallback>
            <p:pic>
              <p:nvPicPr>
                <p:cNvPr id="133" name="Ink 132">
                  <a:extLst>
                    <a:ext uri="{FF2B5EF4-FFF2-40B4-BE49-F238E27FC236}">
                      <a16:creationId xmlns:a16="http://schemas.microsoft.com/office/drawing/2014/main" id="{1D1A83A3-05C6-581B-BF5E-6BC45716FADA}"/>
                    </a:ext>
                  </a:extLst>
                </p:cNvPr>
                <p:cNvPicPr/>
                <p:nvPr/>
              </p:nvPicPr>
              <p:blipFill>
                <a:blip r:embed="rId71"/>
                <a:stretch>
                  <a:fillRect/>
                </a:stretch>
              </p:blipFill>
              <p:spPr>
                <a:xfrm>
                  <a:off x="5871683" y="194997"/>
                  <a:ext cx="43200" cy="33480"/>
                </a:xfrm>
                <a:prstGeom prst="rect">
                  <a:avLst/>
                </a:prstGeom>
              </p:spPr>
            </p:pic>
          </mc:Fallback>
        </mc:AlternateContent>
        <mc:AlternateContent xmlns:mc="http://schemas.openxmlformats.org/markup-compatibility/2006">
          <mc:Choice xmlns:p14="http://schemas.microsoft.com/office/powerpoint/2010/main" Requires="p14">
            <p:contentPart p14:bwMode="auto" r:id="rId72">
              <p14:nvContentPartPr>
                <p14:cNvPr id="134" name="Ink 133">
                  <a:extLst>
                    <a:ext uri="{FF2B5EF4-FFF2-40B4-BE49-F238E27FC236}">
                      <a16:creationId xmlns:a16="http://schemas.microsoft.com/office/drawing/2014/main" id="{10566BDF-3CB5-9FA9-DB14-1AB47942F3EA}"/>
                    </a:ext>
                  </a:extLst>
                </p14:cNvPr>
                <p14:cNvContentPartPr/>
                <p14:nvPr/>
              </p14:nvContentPartPr>
              <p14:xfrm>
                <a:off x="5946923" y="114717"/>
                <a:ext cx="109440" cy="167040"/>
              </p14:xfrm>
            </p:contentPart>
          </mc:Choice>
          <mc:Fallback>
            <p:pic>
              <p:nvPicPr>
                <p:cNvPr id="134" name="Ink 133">
                  <a:extLst>
                    <a:ext uri="{FF2B5EF4-FFF2-40B4-BE49-F238E27FC236}">
                      <a16:creationId xmlns:a16="http://schemas.microsoft.com/office/drawing/2014/main" id="{10566BDF-3CB5-9FA9-DB14-1AB47942F3EA}"/>
                    </a:ext>
                  </a:extLst>
                </p:cNvPr>
                <p:cNvPicPr/>
                <p:nvPr/>
              </p:nvPicPr>
              <p:blipFill>
                <a:blip r:embed="rId73"/>
                <a:stretch>
                  <a:fillRect/>
                </a:stretch>
              </p:blipFill>
              <p:spPr>
                <a:xfrm>
                  <a:off x="5931803" y="99597"/>
                  <a:ext cx="139680" cy="197640"/>
                </a:xfrm>
                <a:prstGeom prst="rect">
                  <a:avLst/>
                </a:prstGeom>
              </p:spPr>
            </p:pic>
          </mc:Fallback>
        </mc:AlternateContent>
        <mc:AlternateContent xmlns:mc="http://schemas.openxmlformats.org/markup-compatibility/2006">
          <mc:Choice xmlns:p14="http://schemas.microsoft.com/office/powerpoint/2010/main" Requires="p14">
            <p:contentPart p14:bwMode="auto" r:id="rId74">
              <p14:nvContentPartPr>
                <p14:cNvPr id="135" name="Ink 134">
                  <a:extLst>
                    <a:ext uri="{FF2B5EF4-FFF2-40B4-BE49-F238E27FC236}">
                      <a16:creationId xmlns:a16="http://schemas.microsoft.com/office/drawing/2014/main" id="{0DB3161A-6645-D22A-9BC3-7AEA6CE40DDB}"/>
                    </a:ext>
                  </a:extLst>
                </p14:cNvPr>
                <p14:cNvContentPartPr/>
                <p14:nvPr/>
              </p14:nvContentPartPr>
              <p14:xfrm>
                <a:off x="6093803" y="131997"/>
                <a:ext cx="57240" cy="94320"/>
              </p14:xfrm>
            </p:contentPart>
          </mc:Choice>
          <mc:Fallback>
            <p:pic>
              <p:nvPicPr>
                <p:cNvPr id="135" name="Ink 134">
                  <a:extLst>
                    <a:ext uri="{FF2B5EF4-FFF2-40B4-BE49-F238E27FC236}">
                      <a16:creationId xmlns:a16="http://schemas.microsoft.com/office/drawing/2014/main" id="{0DB3161A-6645-D22A-9BC3-7AEA6CE40DDB}"/>
                    </a:ext>
                  </a:extLst>
                </p:cNvPr>
                <p:cNvPicPr/>
                <p:nvPr/>
              </p:nvPicPr>
              <p:blipFill>
                <a:blip r:embed="rId75"/>
                <a:stretch>
                  <a:fillRect/>
                </a:stretch>
              </p:blipFill>
              <p:spPr>
                <a:xfrm>
                  <a:off x="6078683" y="116877"/>
                  <a:ext cx="87840" cy="124920"/>
                </a:xfrm>
                <a:prstGeom prst="rect">
                  <a:avLst/>
                </a:prstGeom>
              </p:spPr>
            </p:pic>
          </mc:Fallback>
        </mc:AlternateContent>
        <mc:AlternateContent xmlns:mc="http://schemas.openxmlformats.org/markup-compatibility/2006">
          <mc:Choice xmlns:p14="http://schemas.microsoft.com/office/powerpoint/2010/main" Requires="p14">
            <p:contentPart p14:bwMode="auto" r:id="rId76">
              <p14:nvContentPartPr>
                <p14:cNvPr id="136" name="Ink 135">
                  <a:extLst>
                    <a:ext uri="{FF2B5EF4-FFF2-40B4-BE49-F238E27FC236}">
                      <a16:creationId xmlns:a16="http://schemas.microsoft.com/office/drawing/2014/main" id="{368BA03F-DEBE-9FDA-A7A4-A41E81B9F467}"/>
                    </a:ext>
                  </a:extLst>
                </p14:cNvPr>
                <p14:cNvContentPartPr/>
                <p14:nvPr/>
              </p14:nvContentPartPr>
              <p14:xfrm>
                <a:off x="6245003" y="165837"/>
                <a:ext cx="43560" cy="113400"/>
              </p14:xfrm>
            </p:contentPart>
          </mc:Choice>
          <mc:Fallback>
            <p:pic>
              <p:nvPicPr>
                <p:cNvPr id="136" name="Ink 135">
                  <a:extLst>
                    <a:ext uri="{FF2B5EF4-FFF2-40B4-BE49-F238E27FC236}">
                      <a16:creationId xmlns:a16="http://schemas.microsoft.com/office/drawing/2014/main" id="{368BA03F-DEBE-9FDA-A7A4-A41E81B9F467}"/>
                    </a:ext>
                  </a:extLst>
                </p:cNvPr>
                <p:cNvPicPr/>
                <p:nvPr/>
              </p:nvPicPr>
              <p:blipFill>
                <a:blip r:embed="rId77"/>
                <a:stretch>
                  <a:fillRect/>
                </a:stretch>
              </p:blipFill>
              <p:spPr>
                <a:xfrm>
                  <a:off x="6229883" y="150717"/>
                  <a:ext cx="74160" cy="144000"/>
                </a:xfrm>
                <a:prstGeom prst="rect">
                  <a:avLst/>
                </a:prstGeom>
              </p:spPr>
            </p:pic>
          </mc:Fallback>
        </mc:AlternateContent>
        <mc:AlternateContent xmlns:mc="http://schemas.openxmlformats.org/markup-compatibility/2006">
          <mc:Choice xmlns:p14="http://schemas.microsoft.com/office/powerpoint/2010/main" Requires="p14">
            <p:contentPart p14:bwMode="auto" r:id="rId78">
              <p14:nvContentPartPr>
                <p14:cNvPr id="137" name="Ink 136">
                  <a:extLst>
                    <a:ext uri="{FF2B5EF4-FFF2-40B4-BE49-F238E27FC236}">
                      <a16:creationId xmlns:a16="http://schemas.microsoft.com/office/drawing/2014/main" id="{F55F38C4-E220-8211-535F-F6F01F1C61CC}"/>
                    </a:ext>
                  </a:extLst>
                </p14:cNvPr>
                <p14:cNvContentPartPr/>
                <p14:nvPr/>
              </p14:nvContentPartPr>
              <p14:xfrm>
                <a:off x="6384323" y="126597"/>
                <a:ext cx="62640" cy="191520"/>
              </p14:xfrm>
            </p:contentPart>
          </mc:Choice>
          <mc:Fallback>
            <p:pic>
              <p:nvPicPr>
                <p:cNvPr id="137" name="Ink 136">
                  <a:extLst>
                    <a:ext uri="{FF2B5EF4-FFF2-40B4-BE49-F238E27FC236}">
                      <a16:creationId xmlns:a16="http://schemas.microsoft.com/office/drawing/2014/main" id="{F55F38C4-E220-8211-535F-F6F01F1C61CC}"/>
                    </a:ext>
                  </a:extLst>
                </p:cNvPr>
                <p:cNvPicPr/>
                <p:nvPr/>
              </p:nvPicPr>
              <p:blipFill>
                <a:blip r:embed="rId79"/>
                <a:stretch>
                  <a:fillRect/>
                </a:stretch>
              </p:blipFill>
              <p:spPr>
                <a:xfrm>
                  <a:off x="6369203" y="111477"/>
                  <a:ext cx="93240" cy="222120"/>
                </a:xfrm>
                <a:prstGeom prst="rect">
                  <a:avLst/>
                </a:prstGeom>
              </p:spPr>
            </p:pic>
          </mc:Fallback>
        </mc:AlternateContent>
        <mc:AlternateContent xmlns:mc="http://schemas.openxmlformats.org/markup-compatibility/2006">
          <mc:Choice xmlns:p14="http://schemas.microsoft.com/office/powerpoint/2010/main" Requires="p14">
            <p:contentPart p14:bwMode="auto" r:id="rId80">
              <p14:nvContentPartPr>
                <p14:cNvPr id="138" name="Ink 137">
                  <a:extLst>
                    <a:ext uri="{FF2B5EF4-FFF2-40B4-BE49-F238E27FC236}">
                      <a16:creationId xmlns:a16="http://schemas.microsoft.com/office/drawing/2014/main" id="{600544B8-85F4-C30B-F80E-577559B3BD40}"/>
                    </a:ext>
                  </a:extLst>
                </p14:cNvPr>
                <p14:cNvContentPartPr/>
                <p14:nvPr/>
              </p14:nvContentPartPr>
              <p14:xfrm>
                <a:off x="6590603" y="162237"/>
                <a:ext cx="90000" cy="144720"/>
              </p14:xfrm>
            </p:contentPart>
          </mc:Choice>
          <mc:Fallback>
            <p:pic>
              <p:nvPicPr>
                <p:cNvPr id="138" name="Ink 137">
                  <a:extLst>
                    <a:ext uri="{FF2B5EF4-FFF2-40B4-BE49-F238E27FC236}">
                      <a16:creationId xmlns:a16="http://schemas.microsoft.com/office/drawing/2014/main" id="{600544B8-85F4-C30B-F80E-577559B3BD40}"/>
                    </a:ext>
                  </a:extLst>
                </p:cNvPr>
                <p:cNvPicPr/>
                <p:nvPr/>
              </p:nvPicPr>
              <p:blipFill>
                <a:blip r:embed="rId81"/>
                <a:stretch>
                  <a:fillRect/>
                </a:stretch>
              </p:blipFill>
              <p:spPr>
                <a:xfrm>
                  <a:off x="6575483" y="146757"/>
                  <a:ext cx="120600" cy="174960"/>
                </a:xfrm>
                <a:prstGeom prst="rect">
                  <a:avLst/>
                </a:prstGeom>
              </p:spPr>
            </p:pic>
          </mc:Fallback>
        </mc:AlternateContent>
        <mc:AlternateContent xmlns:mc="http://schemas.openxmlformats.org/markup-compatibility/2006">
          <mc:Choice xmlns:p14="http://schemas.microsoft.com/office/powerpoint/2010/main" Requires="p14">
            <p:contentPart p14:bwMode="auto" r:id="rId82">
              <p14:nvContentPartPr>
                <p14:cNvPr id="139" name="Ink 138">
                  <a:extLst>
                    <a:ext uri="{FF2B5EF4-FFF2-40B4-BE49-F238E27FC236}">
                      <a16:creationId xmlns:a16="http://schemas.microsoft.com/office/drawing/2014/main" id="{2453924B-6F23-50C8-73B6-FA89F0C8C257}"/>
                    </a:ext>
                  </a:extLst>
                </p14:cNvPr>
                <p14:cNvContentPartPr/>
                <p14:nvPr/>
              </p14:nvContentPartPr>
              <p14:xfrm>
                <a:off x="6731723" y="149277"/>
                <a:ext cx="77760" cy="95400"/>
              </p14:xfrm>
            </p:contentPart>
          </mc:Choice>
          <mc:Fallback>
            <p:pic>
              <p:nvPicPr>
                <p:cNvPr id="139" name="Ink 138">
                  <a:extLst>
                    <a:ext uri="{FF2B5EF4-FFF2-40B4-BE49-F238E27FC236}">
                      <a16:creationId xmlns:a16="http://schemas.microsoft.com/office/drawing/2014/main" id="{2453924B-6F23-50C8-73B6-FA89F0C8C257}"/>
                    </a:ext>
                  </a:extLst>
                </p:cNvPr>
                <p:cNvPicPr/>
                <p:nvPr/>
              </p:nvPicPr>
              <p:blipFill>
                <a:blip r:embed="rId83"/>
                <a:stretch>
                  <a:fillRect/>
                </a:stretch>
              </p:blipFill>
              <p:spPr>
                <a:xfrm>
                  <a:off x="6716243" y="134157"/>
                  <a:ext cx="108360" cy="125640"/>
                </a:xfrm>
                <a:prstGeom prst="rect">
                  <a:avLst/>
                </a:prstGeom>
              </p:spPr>
            </p:pic>
          </mc:Fallback>
        </mc:AlternateContent>
        <mc:AlternateContent xmlns:mc="http://schemas.openxmlformats.org/markup-compatibility/2006">
          <mc:Choice xmlns:p14="http://schemas.microsoft.com/office/powerpoint/2010/main" Requires="p14">
            <p:contentPart p14:bwMode="auto" r:id="rId84">
              <p14:nvContentPartPr>
                <p14:cNvPr id="140" name="Ink 139">
                  <a:extLst>
                    <a:ext uri="{FF2B5EF4-FFF2-40B4-BE49-F238E27FC236}">
                      <a16:creationId xmlns:a16="http://schemas.microsoft.com/office/drawing/2014/main" id="{ABC06788-A0F6-FC83-40A9-72D19B92299C}"/>
                    </a:ext>
                  </a:extLst>
                </p14:cNvPr>
                <p14:cNvContentPartPr/>
                <p14:nvPr/>
              </p14:nvContentPartPr>
              <p14:xfrm>
                <a:off x="6895883" y="178437"/>
                <a:ext cx="17280" cy="143640"/>
              </p14:xfrm>
            </p:contentPart>
          </mc:Choice>
          <mc:Fallback>
            <p:pic>
              <p:nvPicPr>
                <p:cNvPr id="140" name="Ink 139">
                  <a:extLst>
                    <a:ext uri="{FF2B5EF4-FFF2-40B4-BE49-F238E27FC236}">
                      <a16:creationId xmlns:a16="http://schemas.microsoft.com/office/drawing/2014/main" id="{ABC06788-A0F6-FC83-40A9-72D19B92299C}"/>
                    </a:ext>
                  </a:extLst>
                </p:cNvPr>
                <p:cNvPicPr/>
                <p:nvPr/>
              </p:nvPicPr>
              <p:blipFill>
                <a:blip r:embed="rId85"/>
                <a:stretch>
                  <a:fillRect/>
                </a:stretch>
              </p:blipFill>
              <p:spPr>
                <a:xfrm>
                  <a:off x="6880403" y="163317"/>
                  <a:ext cx="47880" cy="174240"/>
                </a:xfrm>
                <a:prstGeom prst="rect">
                  <a:avLst/>
                </a:prstGeom>
              </p:spPr>
            </p:pic>
          </mc:Fallback>
        </mc:AlternateContent>
        <mc:AlternateContent xmlns:mc="http://schemas.openxmlformats.org/markup-compatibility/2006">
          <mc:Choice xmlns:p14="http://schemas.microsoft.com/office/powerpoint/2010/main" Requires="p14">
            <p:contentPart p14:bwMode="auto" r:id="rId86">
              <p14:nvContentPartPr>
                <p14:cNvPr id="141" name="Ink 140">
                  <a:extLst>
                    <a:ext uri="{FF2B5EF4-FFF2-40B4-BE49-F238E27FC236}">
                      <a16:creationId xmlns:a16="http://schemas.microsoft.com/office/drawing/2014/main" id="{9D5BD731-3061-1848-541B-BCB37CFC2A08}"/>
                    </a:ext>
                  </a:extLst>
                </p14:cNvPr>
                <p14:cNvContentPartPr/>
                <p14:nvPr/>
              </p14:nvContentPartPr>
              <p14:xfrm>
                <a:off x="6917843" y="234237"/>
                <a:ext cx="63720" cy="77400"/>
              </p14:xfrm>
            </p:contentPart>
          </mc:Choice>
          <mc:Fallback>
            <p:pic>
              <p:nvPicPr>
                <p:cNvPr id="141" name="Ink 140">
                  <a:extLst>
                    <a:ext uri="{FF2B5EF4-FFF2-40B4-BE49-F238E27FC236}">
                      <a16:creationId xmlns:a16="http://schemas.microsoft.com/office/drawing/2014/main" id="{9D5BD731-3061-1848-541B-BCB37CFC2A08}"/>
                    </a:ext>
                  </a:extLst>
                </p:cNvPr>
                <p:cNvPicPr/>
                <p:nvPr/>
              </p:nvPicPr>
              <p:blipFill>
                <a:blip r:embed="rId87"/>
                <a:stretch>
                  <a:fillRect/>
                </a:stretch>
              </p:blipFill>
              <p:spPr>
                <a:xfrm>
                  <a:off x="6902723" y="219117"/>
                  <a:ext cx="94320" cy="108000"/>
                </a:xfrm>
                <a:prstGeom prst="rect">
                  <a:avLst/>
                </a:prstGeom>
              </p:spPr>
            </p:pic>
          </mc:Fallback>
        </mc:AlternateContent>
        <mc:AlternateContent xmlns:mc="http://schemas.openxmlformats.org/markup-compatibility/2006">
          <mc:Choice xmlns:p14="http://schemas.microsoft.com/office/powerpoint/2010/main" Requires="p14">
            <p:contentPart p14:bwMode="auto" r:id="rId88">
              <p14:nvContentPartPr>
                <p14:cNvPr id="142" name="Ink 141">
                  <a:extLst>
                    <a:ext uri="{FF2B5EF4-FFF2-40B4-BE49-F238E27FC236}">
                      <a16:creationId xmlns:a16="http://schemas.microsoft.com/office/drawing/2014/main" id="{AA010777-9789-6F89-577F-2E35F2022F96}"/>
                    </a:ext>
                  </a:extLst>
                </p14:cNvPr>
                <p14:cNvContentPartPr/>
                <p14:nvPr/>
              </p14:nvContentPartPr>
              <p14:xfrm>
                <a:off x="7052123" y="288597"/>
                <a:ext cx="87480" cy="11520"/>
              </p14:xfrm>
            </p:contentPart>
          </mc:Choice>
          <mc:Fallback>
            <p:pic>
              <p:nvPicPr>
                <p:cNvPr id="142" name="Ink 141">
                  <a:extLst>
                    <a:ext uri="{FF2B5EF4-FFF2-40B4-BE49-F238E27FC236}">
                      <a16:creationId xmlns:a16="http://schemas.microsoft.com/office/drawing/2014/main" id="{AA010777-9789-6F89-577F-2E35F2022F96}"/>
                    </a:ext>
                  </a:extLst>
                </p:cNvPr>
                <p:cNvPicPr/>
                <p:nvPr/>
              </p:nvPicPr>
              <p:blipFill>
                <a:blip r:embed="rId89"/>
                <a:stretch>
                  <a:fillRect/>
                </a:stretch>
              </p:blipFill>
              <p:spPr>
                <a:xfrm>
                  <a:off x="7036643" y="273117"/>
                  <a:ext cx="118080" cy="42120"/>
                </a:xfrm>
                <a:prstGeom prst="rect">
                  <a:avLst/>
                </a:prstGeom>
              </p:spPr>
            </p:pic>
          </mc:Fallback>
        </mc:AlternateContent>
        <mc:AlternateContent xmlns:mc="http://schemas.openxmlformats.org/markup-compatibility/2006">
          <mc:Choice xmlns:p14="http://schemas.microsoft.com/office/powerpoint/2010/main" Requires="p14">
            <p:contentPart p14:bwMode="auto" r:id="rId90">
              <p14:nvContentPartPr>
                <p14:cNvPr id="143" name="Ink 142">
                  <a:extLst>
                    <a:ext uri="{FF2B5EF4-FFF2-40B4-BE49-F238E27FC236}">
                      <a16:creationId xmlns:a16="http://schemas.microsoft.com/office/drawing/2014/main" id="{BBFAC1E0-C0ED-EB5C-37E5-8B717725CD04}"/>
                    </a:ext>
                  </a:extLst>
                </p14:cNvPr>
                <p14:cNvContentPartPr/>
                <p14:nvPr/>
              </p14:nvContentPartPr>
              <p14:xfrm>
                <a:off x="7104683" y="225237"/>
                <a:ext cx="9360" cy="108000"/>
              </p14:xfrm>
            </p:contentPart>
          </mc:Choice>
          <mc:Fallback>
            <p:pic>
              <p:nvPicPr>
                <p:cNvPr id="143" name="Ink 142">
                  <a:extLst>
                    <a:ext uri="{FF2B5EF4-FFF2-40B4-BE49-F238E27FC236}">
                      <a16:creationId xmlns:a16="http://schemas.microsoft.com/office/drawing/2014/main" id="{BBFAC1E0-C0ED-EB5C-37E5-8B717725CD04}"/>
                    </a:ext>
                  </a:extLst>
                </p:cNvPr>
                <p:cNvPicPr/>
                <p:nvPr/>
              </p:nvPicPr>
              <p:blipFill>
                <a:blip r:embed="rId91"/>
                <a:stretch>
                  <a:fillRect/>
                </a:stretch>
              </p:blipFill>
              <p:spPr>
                <a:xfrm>
                  <a:off x="7089563" y="209757"/>
                  <a:ext cx="39960" cy="138600"/>
                </a:xfrm>
                <a:prstGeom prst="rect">
                  <a:avLst/>
                </a:prstGeom>
              </p:spPr>
            </p:pic>
          </mc:Fallback>
        </mc:AlternateContent>
        <mc:AlternateContent xmlns:mc="http://schemas.openxmlformats.org/markup-compatibility/2006">
          <mc:Choice xmlns:p14="http://schemas.microsoft.com/office/powerpoint/2010/main" Requires="p14">
            <p:contentPart p14:bwMode="auto" r:id="rId92">
              <p14:nvContentPartPr>
                <p14:cNvPr id="144" name="Ink 143">
                  <a:extLst>
                    <a:ext uri="{FF2B5EF4-FFF2-40B4-BE49-F238E27FC236}">
                      <a16:creationId xmlns:a16="http://schemas.microsoft.com/office/drawing/2014/main" id="{8EB7637D-D523-16A5-974C-41DEA9E38B93}"/>
                    </a:ext>
                  </a:extLst>
                </p14:cNvPr>
                <p14:cNvContentPartPr/>
                <p14:nvPr/>
              </p14:nvContentPartPr>
              <p14:xfrm>
                <a:off x="7203683" y="252597"/>
                <a:ext cx="17280" cy="97560"/>
              </p14:xfrm>
            </p:contentPart>
          </mc:Choice>
          <mc:Fallback>
            <p:pic>
              <p:nvPicPr>
                <p:cNvPr id="144" name="Ink 143">
                  <a:extLst>
                    <a:ext uri="{FF2B5EF4-FFF2-40B4-BE49-F238E27FC236}">
                      <a16:creationId xmlns:a16="http://schemas.microsoft.com/office/drawing/2014/main" id="{8EB7637D-D523-16A5-974C-41DEA9E38B93}"/>
                    </a:ext>
                  </a:extLst>
                </p:cNvPr>
                <p:cNvPicPr/>
                <p:nvPr/>
              </p:nvPicPr>
              <p:blipFill>
                <a:blip r:embed="rId93"/>
                <a:stretch>
                  <a:fillRect/>
                </a:stretch>
              </p:blipFill>
              <p:spPr>
                <a:xfrm>
                  <a:off x="7188563" y="237477"/>
                  <a:ext cx="47880" cy="127800"/>
                </a:xfrm>
                <a:prstGeom prst="rect">
                  <a:avLst/>
                </a:prstGeom>
              </p:spPr>
            </p:pic>
          </mc:Fallback>
        </mc:AlternateContent>
        <mc:AlternateContent xmlns:mc="http://schemas.openxmlformats.org/markup-compatibility/2006">
          <mc:Choice xmlns:p14="http://schemas.microsoft.com/office/powerpoint/2010/main" Requires="p14">
            <p:contentPart p14:bwMode="auto" r:id="rId94">
              <p14:nvContentPartPr>
                <p14:cNvPr id="145" name="Ink 144">
                  <a:extLst>
                    <a:ext uri="{FF2B5EF4-FFF2-40B4-BE49-F238E27FC236}">
                      <a16:creationId xmlns:a16="http://schemas.microsoft.com/office/drawing/2014/main" id="{0CC070CF-0C3D-C7C5-E6D3-23DD87E22BCB}"/>
                    </a:ext>
                  </a:extLst>
                </p14:cNvPr>
                <p14:cNvContentPartPr/>
                <p14:nvPr/>
              </p14:nvContentPartPr>
              <p14:xfrm>
                <a:off x="7220963" y="254397"/>
                <a:ext cx="85320" cy="81000"/>
              </p14:xfrm>
            </p:contentPart>
          </mc:Choice>
          <mc:Fallback>
            <p:pic>
              <p:nvPicPr>
                <p:cNvPr id="145" name="Ink 144">
                  <a:extLst>
                    <a:ext uri="{FF2B5EF4-FFF2-40B4-BE49-F238E27FC236}">
                      <a16:creationId xmlns:a16="http://schemas.microsoft.com/office/drawing/2014/main" id="{0CC070CF-0C3D-C7C5-E6D3-23DD87E22BCB}"/>
                    </a:ext>
                  </a:extLst>
                </p:cNvPr>
                <p:cNvPicPr/>
                <p:nvPr/>
              </p:nvPicPr>
              <p:blipFill>
                <a:blip r:embed="rId95"/>
                <a:stretch>
                  <a:fillRect/>
                </a:stretch>
              </p:blipFill>
              <p:spPr>
                <a:xfrm>
                  <a:off x="7205843" y="238917"/>
                  <a:ext cx="115920" cy="111600"/>
                </a:xfrm>
                <a:prstGeom prst="rect">
                  <a:avLst/>
                </a:prstGeom>
              </p:spPr>
            </p:pic>
          </mc:Fallback>
        </mc:AlternateContent>
        <mc:AlternateContent xmlns:mc="http://schemas.openxmlformats.org/markup-compatibility/2006">
          <mc:Choice xmlns:p14="http://schemas.microsoft.com/office/powerpoint/2010/main" Requires="p14">
            <p:contentPart p14:bwMode="auto" r:id="rId96">
              <p14:nvContentPartPr>
                <p14:cNvPr id="146" name="Ink 145">
                  <a:extLst>
                    <a:ext uri="{FF2B5EF4-FFF2-40B4-BE49-F238E27FC236}">
                      <a16:creationId xmlns:a16="http://schemas.microsoft.com/office/drawing/2014/main" id="{BD3B188A-1448-321A-6A54-E06FC2D5E56E}"/>
                    </a:ext>
                  </a:extLst>
                </p14:cNvPr>
                <p14:cNvContentPartPr/>
                <p14:nvPr/>
              </p14:nvContentPartPr>
              <p14:xfrm>
                <a:off x="7330043" y="206157"/>
                <a:ext cx="74520" cy="184680"/>
              </p14:xfrm>
            </p:contentPart>
          </mc:Choice>
          <mc:Fallback>
            <p:pic>
              <p:nvPicPr>
                <p:cNvPr id="146" name="Ink 145">
                  <a:extLst>
                    <a:ext uri="{FF2B5EF4-FFF2-40B4-BE49-F238E27FC236}">
                      <a16:creationId xmlns:a16="http://schemas.microsoft.com/office/drawing/2014/main" id="{BD3B188A-1448-321A-6A54-E06FC2D5E56E}"/>
                    </a:ext>
                  </a:extLst>
                </p:cNvPr>
                <p:cNvPicPr/>
                <p:nvPr/>
              </p:nvPicPr>
              <p:blipFill>
                <a:blip r:embed="rId97"/>
                <a:stretch>
                  <a:fillRect/>
                </a:stretch>
              </p:blipFill>
              <p:spPr>
                <a:xfrm>
                  <a:off x="7314923" y="191037"/>
                  <a:ext cx="105120" cy="214920"/>
                </a:xfrm>
                <a:prstGeom prst="rect">
                  <a:avLst/>
                </a:prstGeom>
              </p:spPr>
            </p:pic>
          </mc:Fallback>
        </mc:AlternateContent>
      </p:grpSp>
      <p:grpSp>
        <p:nvGrpSpPr>
          <p:cNvPr id="155" name="Group 154">
            <a:extLst>
              <a:ext uri="{FF2B5EF4-FFF2-40B4-BE49-F238E27FC236}">
                <a16:creationId xmlns:a16="http://schemas.microsoft.com/office/drawing/2014/main" id="{46CC3BC5-5B21-7755-0A4F-A41AC9D8A0F4}"/>
              </a:ext>
            </a:extLst>
          </p:cNvPr>
          <p:cNvGrpSpPr/>
          <p:nvPr/>
        </p:nvGrpSpPr>
        <p:grpSpPr>
          <a:xfrm>
            <a:off x="7835123" y="1277877"/>
            <a:ext cx="622440" cy="247680"/>
            <a:chOff x="7835123" y="1277877"/>
            <a:chExt cx="622440" cy="247680"/>
          </a:xfrm>
        </p:grpSpPr>
        <mc:AlternateContent xmlns:mc="http://schemas.openxmlformats.org/markup-compatibility/2006">
          <mc:Choice xmlns:p14="http://schemas.microsoft.com/office/powerpoint/2010/main" Requires="p14">
            <p:contentPart p14:bwMode="auto" r:id="rId98">
              <p14:nvContentPartPr>
                <p14:cNvPr id="148" name="Ink 147">
                  <a:extLst>
                    <a:ext uri="{FF2B5EF4-FFF2-40B4-BE49-F238E27FC236}">
                      <a16:creationId xmlns:a16="http://schemas.microsoft.com/office/drawing/2014/main" id="{6E3D2299-A9BA-FD93-B27B-B3BED6797038}"/>
                    </a:ext>
                  </a:extLst>
                </p14:cNvPr>
                <p14:cNvContentPartPr/>
                <p14:nvPr/>
              </p14:nvContentPartPr>
              <p14:xfrm>
                <a:off x="7835123" y="1371117"/>
                <a:ext cx="128520" cy="30240"/>
              </p14:xfrm>
            </p:contentPart>
          </mc:Choice>
          <mc:Fallback>
            <p:pic>
              <p:nvPicPr>
                <p:cNvPr id="148" name="Ink 147">
                  <a:extLst>
                    <a:ext uri="{FF2B5EF4-FFF2-40B4-BE49-F238E27FC236}">
                      <a16:creationId xmlns:a16="http://schemas.microsoft.com/office/drawing/2014/main" id="{6E3D2299-A9BA-FD93-B27B-B3BED6797038}"/>
                    </a:ext>
                  </a:extLst>
                </p:cNvPr>
                <p:cNvPicPr/>
                <p:nvPr/>
              </p:nvPicPr>
              <p:blipFill>
                <a:blip r:embed="rId99"/>
                <a:stretch>
                  <a:fillRect/>
                </a:stretch>
              </p:blipFill>
              <p:spPr>
                <a:xfrm>
                  <a:off x="7820003" y="1355997"/>
                  <a:ext cx="159120" cy="60840"/>
                </a:xfrm>
                <a:prstGeom prst="rect">
                  <a:avLst/>
                </a:prstGeom>
              </p:spPr>
            </p:pic>
          </mc:Fallback>
        </mc:AlternateContent>
        <mc:AlternateContent xmlns:mc="http://schemas.openxmlformats.org/markup-compatibility/2006">
          <mc:Choice xmlns:p14="http://schemas.microsoft.com/office/powerpoint/2010/main" Requires="p14">
            <p:contentPart p14:bwMode="auto" r:id="rId100">
              <p14:nvContentPartPr>
                <p14:cNvPr id="149" name="Ink 148">
                  <a:extLst>
                    <a:ext uri="{FF2B5EF4-FFF2-40B4-BE49-F238E27FC236}">
                      <a16:creationId xmlns:a16="http://schemas.microsoft.com/office/drawing/2014/main" id="{BCED28AB-61D1-FC9A-8CC6-3CDBF2CBB46F}"/>
                    </a:ext>
                  </a:extLst>
                </p14:cNvPr>
                <p14:cNvContentPartPr/>
                <p14:nvPr/>
              </p14:nvContentPartPr>
              <p14:xfrm>
                <a:off x="8095043" y="1277877"/>
                <a:ext cx="13320" cy="155160"/>
              </p14:xfrm>
            </p:contentPart>
          </mc:Choice>
          <mc:Fallback>
            <p:pic>
              <p:nvPicPr>
                <p:cNvPr id="149" name="Ink 148">
                  <a:extLst>
                    <a:ext uri="{FF2B5EF4-FFF2-40B4-BE49-F238E27FC236}">
                      <a16:creationId xmlns:a16="http://schemas.microsoft.com/office/drawing/2014/main" id="{BCED28AB-61D1-FC9A-8CC6-3CDBF2CBB46F}"/>
                    </a:ext>
                  </a:extLst>
                </p:cNvPr>
                <p:cNvPicPr/>
                <p:nvPr/>
              </p:nvPicPr>
              <p:blipFill>
                <a:blip r:embed="rId101"/>
                <a:stretch>
                  <a:fillRect/>
                </a:stretch>
              </p:blipFill>
              <p:spPr>
                <a:xfrm>
                  <a:off x="8079563" y="1262757"/>
                  <a:ext cx="43560" cy="185760"/>
                </a:xfrm>
                <a:prstGeom prst="rect">
                  <a:avLst/>
                </a:prstGeom>
              </p:spPr>
            </p:pic>
          </mc:Fallback>
        </mc:AlternateContent>
        <mc:AlternateContent xmlns:mc="http://schemas.openxmlformats.org/markup-compatibility/2006">
          <mc:Choice xmlns:p14="http://schemas.microsoft.com/office/powerpoint/2010/main" Requires="p14">
            <p:contentPart p14:bwMode="auto" r:id="rId102">
              <p14:nvContentPartPr>
                <p14:cNvPr id="150" name="Ink 149">
                  <a:extLst>
                    <a:ext uri="{FF2B5EF4-FFF2-40B4-BE49-F238E27FC236}">
                      <a16:creationId xmlns:a16="http://schemas.microsoft.com/office/drawing/2014/main" id="{7DF665F8-AA7B-D192-C95A-520F940DB962}"/>
                    </a:ext>
                  </a:extLst>
                </p14:cNvPr>
                <p14:cNvContentPartPr/>
                <p14:nvPr/>
              </p14:nvContentPartPr>
              <p14:xfrm>
                <a:off x="8102603" y="1304157"/>
                <a:ext cx="146520" cy="101880"/>
              </p14:xfrm>
            </p:contentPart>
          </mc:Choice>
          <mc:Fallback>
            <p:pic>
              <p:nvPicPr>
                <p:cNvPr id="150" name="Ink 149">
                  <a:extLst>
                    <a:ext uri="{FF2B5EF4-FFF2-40B4-BE49-F238E27FC236}">
                      <a16:creationId xmlns:a16="http://schemas.microsoft.com/office/drawing/2014/main" id="{7DF665F8-AA7B-D192-C95A-520F940DB962}"/>
                    </a:ext>
                  </a:extLst>
                </p:cNvPr>
                <p:cNvPicPr/>
                <p:nvPr/>
              </p:nvPicPr>
              <p:blipFill>
                <a:blip r:embed="rId103"/>
                <a:stretch>
                  <a:fillRect/>
                </a:stretch>
              </p:blipFill>
              <p:spPr>
                <a:xfrm>
                  <a:off x="8087123" y="1288677"/>
                  <a:ext cx="177120" cy="132480"/>
                </a:xfrm>
                <a:prstGeom prst="rect">
                  <a:avLst/>
                </a:prstGeom>
              </p:spPr>
            </p:pic>
          </mc:Fallback>
        </mc:AlternateContent>
        <mc:AlternateContent xmlns:mc="http://schemas.openxmlformats.org/markup-compatibility/2006">
          <mc:Choice xmlns:p14="http://schemas.microsoft.com/office/powerpoint/2010/main" Requires="p14">
            <p:contentPart p14:bwMode="auto" r:id="rId104">
              <p14:nvContentPartPr>
                <p14:cNvPr id="151" name="Ink 150">
                  <a:extLst>
                    <a:ext uri="{FF2B5EF4-FFF2-40B4-BE49-F238E27FC236}">
                      <a16:creationId xmlns:a16="http://schemas.microsoft.com/office/drawing/2014/main" id="{EC5B0BA4-EB3C-9386-E7FD-76551B8B54F3}"/>
                    </a:ext>
                  </a:extLst>
                </p14:cNvPr>
                <p14:cNvContentPartPr/>
                <p14:nvPr/>
              </p14:nvContentPartPr>
              <p14:xfrm>
                <a:off x="8324363" y="1312437"/>
                <a:ext cx="133200" cy="99000"/>
              </p14:xfrm>
            </p:contentPart>
          </mc:Choice>
          <mc:Fallback>
            <p:pic>
              <p:nvPicPr>
                <p:cNvPr id="151" name="Ink 150">
                  <a:extLst>
                    <a:ext uri="{FF2B5EF4-FFF2-40B4-BE49-F238E27FC236}">
                      <a16:creationId xmlns:a16="http://schemas.microsoft.com/office/drawing/2014/main" id="{EC5B0BA4-EB3C-9386-E7FD-76551B8B54F3}"/>
                    </a:ext>
                  </a:extLst>
                </p:cNvPr>
                <p:cNvPicPr/>
                <p:nvPr/>
              </p:nvPicPr>
              <p:blipFill>
                <a:blip r:embed="rId105"/>
                <a:stretch>
                  <a:fillRect/>
                </a:stretch>
              </p:blipFill>
              <p:spPr>
                <a:xfrm>
                  <a:off x="8308883" y="1297317"/>
                  <a:ext cx="163440" cy="129600"/>
                </a:xfrm>
                <a:prstGeom prst="rect">
                  <a:avLst/>
                </a:prstGeom>
              </p:spPr>
            </p:pic>
          </mc:Fallback>
        </mc:AlternateContent>
        <mc:AlternateContent xmlns:mc="http://schemas.openxmlformats.org/markup-compatibility/2006">
          <mc:Choice xmlns:p14="http://schemas.microsoft.com/office/powerpoint/2010/main" Requires="p14">
            <p:contentPart p14:bwMode="auto" r:id="rId106">
              <p14:nvContentPartPr>
                <p14:cNvPr id="152" name="Ink 151">
                  <a:extLst>
                    <a:ext uri="{FF2B5EF4-FFF2-40B4-BE49-F238E27FC236}">
                      <a16:creationId xmlns:a16="http://schemas.microsoft.com/office/drawing/2014/main" id="{634C5442-3E85-AC6B-BD93-F6AB9080C305}"/>
                    </a:ext>
                  </a:extLst>
                </p14:cNvPr>
                <p14:cNvContentPartPr/>
                <p14:nvPr/>
              </p14:nvContentPartPr>
              <p14:xfrm>
                <a:off x="8291963" y="1509717"/>
                <a:ext cx="92880" cy="7200"/>
              </p14:xfrm>
            </p:contentPart>
          </mc:Choice>
          <mc:Fallback>
            <p:pic>
              <p:nvPicPr>
                <p:cNvPr id="152" name="Ink 151">
                  <a:extLst>
                    <a:ext uri="{FF2B5EF4-FFF2-40B4-BE49-F238E27FC236}">
                      <a16:creationId xmlns:a16="http://schemas.microsoft.com/office/drawing/2014/main" id="{634C5442-3E85-AC6B-BD93-F6AB9080C305}"/>
                    </a:ext>
                  </a:extLst>
                </p:cNvPr>
                <p:cNvPicPr/>
                <p:nvPr/>
              </p:nvPicPr>
              <p:blipFill>
                <a:blip r:embed="rId107"/>
                <a:stretch>
                  <a:fillRect/>
                </a:stretch>
              </p:blipFill>
              <p:spPr>
                <a:xfrm>
                  <a:off x="8276843" y="1494237"/>
                  <a:ext cx="123480" cy="37800"/>
                </a:xfrm>
                <a:prstGeom prst="rect">
                  <a:avLst/>
                </a:prstGeom>
              </p:spPr>
            </p:pic>
          </mc:Fallback>
        </mc:AlternateContent>
        <mc:AlternateContent xmlns:mc="http://schemas.openxmlformats.org/markup-compatibility/2006">
          <mc:Choice xmlns:p14="http://schemas.microsoft.com/office/powerpoint/2010/main" Requires="p14">
            <p:contentPart p14:bwMode="auto" r:id="rId108">
              <p14:nvContentPartPr>
                <p14:cNvPr id="153" name="Ink 152">
                  <a:extLst>
                    <a:ext uri="{FF2B5EF4-FFF2-40B4-BE49-F238E27FC236}">
                      <a16:creationId xmlns:a16="http://schemas.microsoft.com/office/drawing/2014/main" id="{83EA5695-ADF7-2FAB-DCE9-1FBF24AAAA48}"/>
                    </a:ext>
                  </a:extLst>
                </p14:cNvPr>
                <p14:cNvContentPartPr/>
                <p14:nvPr/>
              </p14:nvContentPartPr>
              <p14:xfrm>
                <a:off x="8347763" y="1524477"/>
                <a:ext cx="69480" cy="1080"/>
              </p14:xfrm>
            </p:contentPart>
          </mc:Choice>
          <mc:Fallback>
            <p:pic>
              <p:nvPicPr>
                <p:cNvPr id="153" name="Ink 152">
                  <a:extLst>
                    <a:ext uri="{FF2B5EF4-FFF2-40B4-BE49-F238E27FC236}">
                      <a16:creationId xmlns:a16="http://schemas.microsoft.com/office/drawing/2014/main" id="{83EA5695-ADF7-2FAB-DCE9-1FBF24AAAA48}"/>
                    </a:ext>
                  </a:extLst>
                </p:cNvPr>
                <p:cNvPicPr/>
                <p:nvPr/>
              </p:nvPicPr>
              <p:blipFill>
                <a:blip r:embed="rId109"/>
                <a:stretch>
                  <a:fillRect/>
                </a:stretch>
              </p:blipFill>
              <p:spPr>
                <a:xfrm>
                  <a:off x="8332283" y="1508997"/>
                  <a:ext cx="99720" cy="3168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110">
            <p14:nvContentPartPr>
              <p14:cNvPr id="156" name="Ink 155">
                <a:extLst>
                  <a:ext uri="{FF2B5EF4-FFF2-40B4-BE49-F238E27FC236}">
                    <a16:creationId xmlns:a16="http://schemas.microsoft.com/office/drawing/2014/main" id="{290B9AAE-E085-B681-64F7-6098A3B502B0}"/>
                  </a:ext>
                </a:extLst>
              </p14:cNvPr>
              <p14:cNvContentPartPr/>
              <p14:nvPr/>
            </p14:nvContentPartPr>
            <p14:xfrm>
              <a:off x="5902643" y="1999317"/>
              <a:ext cx="111600" cy="146520"/>
            </p14:xfrm>
          </p:contentPart>
        </mc:Choice>
        <mc:Fallback>
          <p:pic>
            <p:nvPicPr>
              <p:cNvPr id="156" name="Ink 155">
                <a:extLst>
                  <a:ext uri="{FF2B5EF4-FFF2-40B4-BE49-F238E27FC236}">
                    <a16:creationId xmlns:a16="http://schemas.microsoft.com/office/drawing/2014/main" id="{290B9AAE-E085-B681-64F7-6098A3B502B0}"/>
                  </a:ext>
                </a:extLst>
              </p:cNvPr>
              <p:cNvPicPr/>
              <p:nvPr/>
            </p:nvPicPr>
            <p:blipFill>
              <a:blip r:embed="rId111"/>
              <a:stretch>
                <a:fillRect/>
              </a:stretch>
            </p:blipFill>
            <p:spPr>
              <a:xfrm>
                <a:off x="5887523" y="1984197"/>
                <a:ext cx="142200" cy="176760"/>
              </a:xfrm>
              <a:prstGeom prst="rect">
                <a:avLst/>
              </a:prstGeom>
            </p:spPr>
          </p:pic>
        </mc:Fallback>
      </mc:AlternateContent>
      <mc:AlternateContent xmlns:mc="http://schemas.openxmlformats.org/markup-compatibility/2006">
        <mc:Choice xmlns:p14="http://schemas.microsoft.com/office/powerpoint/2010/main" Requires="p14">
          <p:contentPart p14:bwMode="auto" r:id="rId112">
            <p14:nvContentPartPr>
              <p14:cNvPr id="157" name="Ink 156">
                <a:extLst>
                  <a:ext uri="{FF2B5EF4-FFF2-40B4-BE49-F238E27FC236}">
                    <a16:creationId xmlns:a16="http://schemas.microsoft.com/office/drawing/2014/main" id="{9E117923-F519-2B42-D216-C17FA25610D6}"/>
                  </a:ext>
                </a:extLst>
              </p14:cNvPr>
              <p14:cNvContentPartPr/>
              <p14:nvPr/>
            </p14:nvContentPartPr>
            <p14:xfrm>
              <a:off x="6098123" y="1951797"/>
              <a:ext cx="243720" cy="161640"/>
            </p14:xfrm>
          </p:contentPart>
        </mc:Choice>
        <mc:Fallback>
          <p:pic>
            <p:nvPicPr>
              <p:cNvPr id="157" name="Ink 156">
                <a:extLst>
                  <a:ext uri="{FF2B5EF4-FFF2-40B4-BE49-F238E27FC236}">
                    <a16:creationId xmlns:a16="http://schemas.microsoft.com/office/drawing/2014/main" id="{9E117923-F519-2B42-D216-C17FA25610D6}"/>
                  </a:ext>
                </a:extLst>
              </p:cNvPr>
              <p:cNvPicPr/>
              <p:nvPr/>
            </p:nvPicPr>
            <p:blipFill>
              <a:blip r:embed="rId113"/>
              <a:stretch>
                <a:fillRect/>
              </a:stretch>
            </p:blipFill>
            <p:spPr>
              <a:xfrm>
                <a:off x="6083003" y="1936677"/>
                <a:ext cx="274320" cy="191880"/>
              </a:xfrm>
              <a:prstGeom prst="rect">
                <a:avLst/>
              </a:prstGeom>
            </p:spPr>
          </p:pic>
        </mc:Fallback>
      </mc:AlternateContent>
      <mc:AlternateContent xmlns:mc="http://schemas.openxmlformats.org/markup-compatibility/2006">
        <mc:Choice xmlns:p14="http://schemas.microsoft.com/office/powerpoint/2010/main" Requires="p14">
          <p:contentPart p14:bwMode="auto" r:id="rId114">
            <p14:nvContentPartPr>
              <p14:cNvPr id="158" name="Ink 157">
                <a:extLst>
                  <a:ext uri="{FF2B5EF4-FFF2-40B4-BE49-F238E27FC236}">
                    <a16:creationId xmlns:a16="http://schemas.microsoft.com/office/drawing/2014/main" id="{0D529EA6-6974-AC2E-701B-62F690E851D6}"/>
                  </a:ext>
                </a:extLst>
              </p14:cNvPr>
              <p14:cNvContentPartPr/>
              <p14:nvPr/>
            </p14:nvContentPartPr>
            <p14:xfrm>
              <a:off x="6485483" y="2042517"/>
              <a:ext cx="101880" cy="6840"/>
            </p14:xfrm>
          </p:contentPart>
        </mc:Choice>
        <mc:Fallback>
          <p:pic>
            <p:nvPicPr>
              <p:cNvPr id="158" name="Ink 157">
                <a:extLst>
                  <a:ext uri="{FF2B5EF4-FFF2-40B4-BE49-F238E27FC236}">
                    <a16:creationId xmlns:a16="http://schemas.microsoft.com/office/drawing/2014/main" id="{0D529EA6-6974-AC2E-701B-62F690E851D6}"/>
                  </a:ext>
                </a:extLst>
              </p:cNvPr>
              <p:cNvPicPr/>
              <p:nvPr/>
            </p:nvPicPr>
            <p:blipFill>
              <a:blip r:embed="rId115"/>
              <a:stretch>
                <a:fillRect/>
              </a:stretch>
            </p:blipFill>
            <p:spPr>
              <a:xfrm>
                <a:off x="6470003" y="2027397"/>
                <a:ext cx="132120" cy="37440"/>
              </a:xfrm>
              <a:prstGeom prst="rect">
                <a:avLst/>
              </a:prstGeom>
            </p:spPr>
          </p:pic>
        </mc:Fallback>
      </mc:AlternateContent>
      <mc:AlternateContent xmlns:mc="http://schemas.openxmlformats.org/markup-compatibility/2006">
        <mc:Choice xmlns:p14="http://schemas.microsoft.com/office/powerpoint/2010/main" Requires="p14">
          <p:contentPart p14:bwMode="auto" r:id="rId116">
            <p14:nvContentPartPr>
              <p14:cNvPr id="160" name="Ink 159">
                <a:extLst>
                  <a:ext uri="{FF2B5EF4-FFF2-40B4-BE49-F238E27FC236}">
                    <a16:creationId xmlns:a16="http://schemas.microsoft.com/office/drawing/2014/main" id="{F556B6FB-EF1E-5FA1-5037-BBFF17AB092C}"/>
                  </a:ext>
                </a:extLst>
              </p14:cNvPr>
              <p14:cNvContentPartPr/>
              <p14:nvPr/>
            </p14:nvContentPartPr>
            <p14:xfrm>
              <a:off x="6479363" y="1983837"/>
              <a:ext cx="115200" cy="143640"/>
            </p14:xfrm>
          </p:contentPart>
        </mc:Choice>
        <mc:Fallback>
          <p:pic>
            <p:nvPicPr>
              <p:cNvPr id="160" name="Ink 159">
                <a:extLst>
                  <a:ext uri="{FF2B5EF4-FFF2-40B4-BE49-F238E27FC236}">
                    <a16:creationId xmlns:a16="http://schemas.microsoft.com/office/drawing/2014/main" id="{F556B6FB-EF1E-5FA1-5037-BBFF17AB092C}"/>
                  </a:ext>
                </a:extLst>
              </p:cNvPr>
              <p:cNvPicPr/>
              <p:nvPr/>
            </p:nvPicPr>
            <p:blipFill>
              <a:blip r:embed="rId117"/>
              <a:stretch>
                <a:fillRect/>
              </a:stretch>
            </p:blipFill>
            <p:spPr>
              <a:xfrm>
                <a:off x="6463883" y="1968717"/>
                <a:ext cx="145800" cy="174240"/>
              </a:xfrm>
              <a:prstGeom prst="rect">
                <a:avLst/>
              </a:prstGeom>
            </p:spPr>
          </p:pic>
        </mc:Fallback>
      </mc:AlternateContent>
      <mc:AlternateContent xmlns:mc="http://schemas.openxmlformats.org/markup-compatibility/2006">
        <mc:Choice xmlns:p14="http://schemas.microsoft.com/office/powerpoint/2010/main" Requires="p14">
          <p:contentPart p14:bwMode="auto" r:id="rId118">
            <p14:nvContentPartPr>
              <p14:cNvPr id="162" name="Ink 161">
                <a:extLst>
                  <a:ext uri="{FF2B5EF4-FFF2-40B4-BE49-F238E27FC236}">
                    <a16:creationId xmlns:a16="http://schemas.microsoft.com/office/drawing/2014/main" id="{2C8F0A6F-D435-AE92-8519-65E594F802B9}"/>
                  </a:ext>
                </a:extLst>
              </p14:cNvPr>
              <p14:cNvContentPartPr/>
              <p14:nvPr/>
            </p14:nvContentPartPr>
            <p14:xfrm>
              <a:off x="6476123" y="2000037"/>
              <a:ext cx="133200" cy="123480"/>
            </p14:xfrm>
          </p:contentPart>
        </mc:Choice>
        <mc:Fallback>
          <p:pic>
            <p:nvPicPr>
              <p:cNvPr id="162" name="Ink 161">
                <a:extLst>
                  <a:ext uri="{FF2B5EF4-FFF2-40B4-BE49-F238E27FC236}">
                    <a16:creationId xmlns:a16="http://schemas.microsoft.com/office/drawing/2014/main" id="{2C8F0A6F-D435-AE92-8519-65E594F802B9}"/>
                  </a:ext>
                </a:extLst>
              </p:cNvPr>
              <p:cNvPicPr/>
              <p:nvPr/>
            </p:nvPicPr>
            <p:blipFill>
              <a:blip r:embed="rId119"/>
              <a:stretch>
                <a:fillRect/>
              </a:stretch>
            </p:blipFill>
            <p:spPr>
              <a:xfrm>
                <a:off x="6460643" y="1984917"/>
                <a:ext cx="163800" cy="154080"/>
              </a:xfrm>
              <a:prstGeom prst="rect">
                <a:avLst/>
              </a:prstGeom>
            </p:spPr>
          </p:pic>
        </mc:Fallback>
      </mc:AlternateContent>
      <p:grpSp>
        <p:nvGrpSpPr>
          <p:cNvPr id="174" name="Group 173">
            <a:extLst>
              <a:ext uri="{FF2B5EF4-FFF2-40B4-BE49-F238E27FC236}">
                <a16:creationId xmlns:a16="http://schemas.microsoft.com/office/drawing/2014/main" id="{2B2BF238-7DE6-5C41-F434-74FCF2892BEB}"/>
              </a:ext>
            </a:extLst>
          </p:cNvPr>
          <p:cNvGrpSpPr/>
          <p:nvPr/>
        </p:nvGrpSpPr>
        <p:grpSpPr>
          <a:xfrm>
            <a:off x="6742163" y="1946037"/>
            <a:ext cx="393480" cy="200160"/>
            <a:chOff x="6742163" y="1946037"/>
            <a:chExt cx="393480" cy="200160"/>
          </a:xfrm>
        </p:grpSpPr>
        <mc:AlternateContent xmlns:mc="http://schemas.openxmlformats.org/markup-compatibility/2006">
          <mc:Choice xmlns:p14="http://schemas.microsoft.com/office/powerpoint/2010/main" Requires="p14">
            <p:contentPart p14:bwMode="auto" r:id="rId120">
              <p14:nvContentPartPr>
                <p14:cNvPr id="165" name="Ink 164">
                  <a:extLst>
                    <a:ext uri="{FF2B5EF4-FFF2-40B4-BE49-F238E27FC236}">
                      <a16:creationId xmlns:a16="http://schemas.microsoft.com/office/drawing/2014/main" id="{D7EE48BB-8B36-397F-28C4-3054B323F7D6}"/>
                    </a:ext>
                  </a:extLst>
                </p14:cNvPr>
                <p14:cNvContentPartPr/>
                <p14:nvPr/>
              </p14:nvContentPartPr>
              <p14:xfrm>
                <a:off x="6742163" y="1980597"/>
                <a:ext cx="105840" cy="117360"/>
              </p14:xfrm>
            </p:contentPart>
          </mc:Choice>
          <mc:Fallback>
            <p:pic>
              <p:nvPicPr>
                <p:cNvPr id="165" name="Ink 164">
                  <a:extLst>
                    <a:ext uri="{FF2B5EF4-FFF2-40B4-BE49-F238E27FC236}">
                      <a16:creationId xmlns:a16="http://schemas.microsoft.com/office/drawing/2014/main" id="{D7EE48BB-8B36-397F-28C4-3054B323F7D6}"/>
                    </a:ext>
                  </a:extLst>
                </p:cNvPr>
                <p:cNvPicPr/>
                <p:nvPr/>
              </p:nvPicPr>
              <p:blipFill>
                <a:blip r:embed="rId121"/>
                <a:stretch>
                  <a:fillRect/>
                </a:stretch>
              </p:blipFill>
              <p:spPr>
                <a:xfrm>
                  <a:off x="6727043" y="1965477"/>
                  <a:ext cx="136440" cy="147960"/>
                </a:xfrm>
                <a:prstGeom prst="rect">
                  <a:avLst/>
                </a:prstGeom>
              </p:spPr>
            </p:pic>
          </mc:Fallback>
        </mc:AlternateContent>
        <mc:AlternateContent xmlns:mc="http://schemas.openxmlformats.org/markup-compatibility/2006">
          <mc:Choice xmlns:p14="http://schemas.microsoft.com/office/powerpoint/2010/main" Requires="p14">
            <p:contentPart p14:bwMode="auto" r:id="rId122">
              <p14:nvContentPartPr>
                <p14:cNvPr id="166" name="Ink 165">
                  <a:extLst>
                    <a:ext uri="{FF2B5EF4-FFF2-40B4-BE49-F238E27FC236}">
                      <a16:creationId xmlns:a16="http://schemas.microsoft.com/office/drawing/2014/main" id="{12E57D72-D6C9-F987-BEDC-FB987F5BF7C6}"/>
                    </a:ext>
                  </a:extLst>
                </p14:cNvPr>
                <p14:cNvContentPartPr/>
                <p14:nvPr/>
              </p14:nvContentPartPr>
              <p14:xfrm>
                <a:off x="6903083" y="1946037"/>
                <a:ext cx="78480" cy="84240"/>
              </p14:xfrm>
            </p:contentPart>
          </mc:Choice>
          <mc:Fallback>
            <p:pic>
              <p:nvPicPr>
                <p:cNvPr id="166" name="Ink 165">
                  <a:extLst>
                    <a:ext uri="{FF2B5EF4-FFF2-40B4-BE49-F238E27FC236}">
                      <a16:creationId xmlns:a16="http://schemas.microsoft.com/office/drawing/2014/main" id="{12E57D72-D6C9-F987-BEDC-FB987F5BF7C6}"/>
                    </a:ext>
                  </a:extLst>
                </p:cNvPr>
                <p:cNvPicPr/>
                <p:nvPr/>
              </p:nvPicPr>
              <p:blipFill>
                <a:blip r:embed="rId123"/>
                <a:stretch>
                  <a:fillRect/>
                </a:stretch>
              </p:blipFill>
              <p:spPr>
                <a:xfrm>
                  <a:off x="6887603" y="1930557"/>
                  <a:ext cx="109080" cy="114480"/>
                </a:xfrm>
                <a:prstGeom prst="rect">
                  <a:avLst/>
                </a:prstGeom>
              </p:spPr>
            </p:pic>
          </mc:Fallback>
        </mc:AlternateContent>
        <mc:AlternateContent xmlns:mc="http://schemas.openxmlformats.org/markup-compatibility/2006">
          <mc:Choice xmlns:p14="http://schemas.microsoft.com/office/powerpoint/2010/main" Requires="p14">
            <p:contentPart p14:bwMode="auto" r:id="rId124">
              <p14:nvContentPartPr>
                <p14:cNvPr id="167" name="Ink 166">
                  <a:extLst>
                    <a:ext uri="{FF2B5EF4-FFF2-40B4-BE49-F238E27FC236}">
                      <a16:creationId xmlns:a16="http://schemas.microsoft.com/office/drawing/2014/main" id="{615B838B-F301-F7CC-C329-CBB8AC214D23}"/>
                    </a:ext>
                  </a:extLst>
                </p14:cNvPr>
                <p14:cNvContentPartPr/>
                <p14:nvPr/>
              </p14:nvContentPartPr>
              <p14:xfrm>
                <a:off x="7039523" y="1985997"/>
                <a:ext cx="11160" cy="114120"/>
              </p14:xfrm>
            </p:contentPart>
          </mc:Choice>
          <mc:Fallback>
            <p:pic>
              <p:nvPicPr>
                <p:cNvPr id="167" name="Ink 166">
                  <a:extLst>
                    <a:ext uri="{FF2B5EF4-FFF2-40B4-BE49-F238E27FC236}">
                      <a16:creationId xmlns:a16="http://schemas.microsoft.com/office/drawing/2014/main" id="{615B838B-F301-F7CC-C329-CBB8AC214D23}"/>
                    </a:ext>
                  </a:extLst>
                </p:cNvPr>
                <p:cNvPicPr/>
                <p:nvPr/>
              </p:nvPicPr>
              <p:blipFill>
                <a:blip r:embed="rId125"/>
                <a:stretch>
                  <a:fillRect/>
                </a:stretch>
              </p:blipFill>
              <p:spPr>
                <a:xfrm>
                  <a:off x="7024403" y="1970517"/>
                  <a:ext cx="41400" cy="144720"/>
                </a:xfrm>
                <a:prstGeom prst="rect">
                  <a:avLst/>
                </a:prstGeom>
              </p:spPr>
            </p:pic>
          </mc:Fallback>
        </mc:AlternateContent>
        <mc:AlternateContent xmlns:mc="http://schemas.openxmlformats.org/markup-compatibility/2006">
          <mc:Choice xmlns:p14="http://schemas.microsoft.com/office/powerpoint/2010/main" Requires="p14">
            <p:contentPart p14:bwMode="auto" r:id="rId126">
              <p14:nvContentPartPr>
                <p14:cNvPr id="168" name="Ink 167">
                  <a:extLst>
                    <a:ext uri="{FF2B5EF4-FFF2-40B4-BE49-F238E27FC236}">
                      <a16:creationId xmlns:a16="http://schemas.microsoft.com/office/drawing/2014/main" id="{BB10F2ED-03EF-7C90-A00A-6F4B289C56DE}"/>
                    </a:ext>
                  </a:extLst>
                </p14:cNvPr>
                <p14:cNvContentPartPr/>
                <p14:nvPr/>
              </p14:nvContentPartPr>
              <p14:xfrm>
                <a:off x="7073723" y="2034957"/>
                <a:ext cx="61920" cy="111240"/>
              </p14:xfrm>
            </p:contentPart>
          </mc:Choice>
          <mc:Fallback>
            <p:pic>
              <p:nvPicPr>
                <p:cNvPr id="168" name="Ink 167">
                  <a:extLst>
                    <a:ext uri="{FF2B5EF4-FFF2-40B4-BE49-F238E27FC236}">
                      <a16:creationId xmlns:a16="http://schemas.microsoft.com/office/drawing/2014/main" id="{BB10F2ED-03EF-7C90-A00A-6F4B289C56DE}"/>
                    </a:ext>
                  </a:extLst>
                </p:cNvPr>
                <p:cNvPicPr/>
                <p:nvPr/>
              </p:nvPicPr>
              <p:blipFill>
                <a:blip r:embed="rId127"/>
                <a:stretch>
                  <a:fillRect/>
                </a:stretch>
              </p:blipFill>
              <p:spPr>
                <a:xfrm>
                  <a:off x="7058603" y="2019477"/>
                  <a:ext cx="92520" cy="141840"/>
                </a:xfrm>
                <a:prstGeom prst="rect">
                  <a:avLst/>
                </a:prstGeom>
              </p:spPr>
            </p:pic>
          </mc:Fallback>
        </mc:AlternateContent>
      </p:grpSp>
      <p:grpSp>
        <p:nvGrpSpPr>
          <p:cNvPr id="173" name="Group 172">
            <a:extLst>
              <a:ext uri="{FF2B5EF4-FFF2-40B4-BE49-F238E27FC236}">
                <a16:creationId xmlns:a16="http://schemas.microsoft.com/office/drawing/2014/main" id="{B1EC15D1-37C2-41EA-7A43-97E4CD1A27F7}"/>
              </a:ext>
            </a:extLst>
          </p:cNvPr>
          <p:cNvGrpSpPr/>
          <p:nvPr/>
        </p:nvGrpSpPr>
        <p:grpSpPr>
          <a:xfrm>
            <a:off x="7364243" y="2019117"/>
            <a:ext cx="320040" cy="128160"/>
            <a:chOff x="7364243" y="2019117"/>
            <a:chExt cx="320040" cy="128160"/>
          </a:xfrm>
        </p:grpSpPr>
        <mc:AlternateContent xmlns:mc="http://schemas.openxmlformats.org/markup-compatibility/2006">
          <mc:Choice xmlns:p14="http://schemas.microsoft.com/office/powerpoint/2010/main" Requires="p14">
            <p:contentPart p14:bwMode="auto" r:id="rId128">
              <p14:nvContentPartPr>
                <p14:cNvPr id="169" name="Ink 168">
                  <a:extLst>
                    <a:ext uri="{FF2B5EF4-FFF2-40B4-BE49-F238E27FC236}">
                      <a16:creationId xmlns:a16="http://schemas.microsoft.com/office/drawing/2014/main" id="{1439AF74-E041-EC25-BB1D-FDD1F7A4B195}"/>
                    </a:ext>
                  </a:extLst>
                </p14:cNvPr>
                <p14:cNvContentPartPr/>
                <p14:nvPr/>
              </p14:nvContentPartPr>
              <p14:xfrm>
                <a:off x="7364243" y="2019117"/>
                <a:ext cx="88560" cy="104760"/>
              </p14:xfrm>
            </p:contentPart>
          </mc:Choice>
          <mc:Fallback>
            <p:pic>
              <p:nvPicPr>
                <p:cNvPr id="169" name="Ink 168">
                  <a:extLst>
                    <a:ext uri="{FF2B5EF4-FFF2-40B4-BE49-F238E27FC236}">
                      <a16:creationId xmlns:a16="http://schemas.microsoft.com/office/drawing/2014/main" id="{1439AF74-E041-EC25-BB1D-FDD1F7A4B195}"/>
                    </a:ext>
                  </a:extLst>
                </p:cNvPr>
                <p:cNvPicPr/>
                <p:nvPr/>
              </p:nvPicPr>
              <p:blipFill>
                <a:blip r:embed="rId129"/>
                <a:stretch>
                  <a:fillRect/>
                </a:stretch>
              </p:blipFill>
              <p:spPr>
                <a:xfrm>
                  <a:off x="7349123" y="2003997"/>
                  <a:ext cx="119160" cy="135360"/>
                </a:xfrm>
                <a:prstGeom prst="rect">
                  <a:avLst/>
                </a:prstGeom>
              </p:spPr>
            </p:pic>
          </mc:Fallback>
        </mc:AlternateContent>
        <mc:AlternateContent xmlns:mc="http://schemas.openxmlformats.org/markup-compatibility/2006">
          <mc:Choice xmlns:p14="http://schemas.microsoft.com/office/powerpoint/2010/main" Requires="p14">
            <p:contentPart p14:bwMode="auto" r:id="rId130">
              <p14:nvContentPartPr>
                <p14:cNvPr id="170" name="Ink 169">
                  <a:extLst>
                    <a:ext uri="{FF2B5EF4-FFF2-40B4-BE49-F238E27FC236}">
                      <a16:creationId xmlns:a16="http://schemas.microsoft.com/office/drawing/2014/main" id="{A0C841C4-A7EC-BDE4-E578-088E025E0922}"/>
                    </a:ext>
                  </a:extLst>
                </p14:cNvPr>
                <p14:cNvContentPartPr/>
                <p14:nvPr/>
              </p14:nvContentPartPr>
              <p14:xfrm>
                <a:off x="7376123" y="2033877"/>
                <a:ext cx="73800" cy="104400"/>
              </p14:xfrm>
            </p:contentPart>
          </mc:Choice>
          <mc:Fallback>
            <p:pic>
              <p:nvPicPr>
                <p:cNvPr id="170" name="Ink 169">
                  <a:extLst>
                    <a:ext uri="{FF2B5EF4-FFF2-40B4-BE49-F238E27FC236}">
                      <a16:creationId xmlns:a16="http://schemas.microsoft.com/office/drawing/2014/main" id="{A0C841C4-A7EC-BDE4-E578-088E025E0922}"/>
                    </a:ext>
                  </a:extLst>
                </p:cNvPr>
                <p:cNvPicPr/>
                <p:nvPr/>
              </p:nvPicPr>
              <p:blipFill>
                <a:blip r:embed="rId131"/>
                <a:stretch>
                  <a:fillRect/>
                </a:stretch>
              </p:blipFill>
              <p:spPr>
                <a:xfrm>
                  <a:off x="7360643" y="2018757"/>
                  <a:ext cx="104040" cy="135000"/>
                </a:xfrm>
                <a:prstGeom prst="rect">
                  <a:avLst/>
                </a:prstGeom>
              </p:spPr>
            </p:pic>
          </mc:Fallback>
        </mc:AlternateContent>
        <mc:AlternateContent xmlns:mc="http://schemas.openxmlformats.org/markup-compatibility/2006">
          <mc:Choice xmlns:p14="http://schemas.microsoft.com/office/powerpoint/2010/main" Requires="p14">
            <p:contentPart p14:bwMode="auto" r:id="rId132">
              <p14:nvContentPartPr>
                <p14:cNvPr id="171" name="Ink 170">
                  <a:extLst>
                    <a:ext uri="{FF2B5EF4-FFF2-40B4-BE49-F238E27FC236}">
                      <a16:creationId xmlns:a16="http://schemas.microsoft.com/office/drawing/2014/main" id="{96CED147-FB0A-DF85-F71F-A458771CFF85}"/>
                    </a:ext>
                  </a:extLst>
                </p14:cNvPr>
                <p14:cNvContentPartPr/>
                <p14:nvPr/>
              </p14:nvContentPartPr>
              <p14:xfrm>
                <a:off x="7530563" y="2034597"/>
                <a:ext cx="153720" cy="112680"/>
              </p14:xfrm>
            </p:contentPart>
          </mc:Choice>
          <mc:Fallback>
            <p:pic>
              <p:nvPicPr>
                <p:cNvPr id="171" name="Ink 170">
                  <a:extLst>
                    <a:ext uri="{FF2B5EF4-FFF2-40B4-BE49-F238E27FC236}">
                      <a16:creationId xmlns:a16="http://schemas.microsoft.com/office/drawing/2014/main" id="{96CED147-FB0A-DF85-F71F-A458771CFF85}"/>
                    </a:ext>
                  </a:extLst>
                </p:cNvPr>
                <p:cNvPicPr/>
                <p:nvPr/>
              </p:nvPicPr>
              <p:blipFill>
                <a:blip r:embed="rId133"/>
                <a:stretch>
                  <a:fillRect/>
                </a:stretch>
              </p:blipFill>
              <p:spPr>
                <a:xfrm>
                  <a:off x="7515083" y="2019477"/>
                  <a:ext cx="183960" cy="143280"/>
                </a:xfrm>
                <a:prstGeom prst="rect">
                  <a:avLst/>
                </a:prstGeom>
              </p:spPr>
            </p:pic>
          </mc:Fallback>
        </mc:AlternateContent>
      </p:grpSp>
      <p:grpSp>
        <p:nvGrpSpPr>
          <p:cNvPr id="179" name="Group 178">
            <a:extLst>
              <a:ext uri="{FF2B5EF4-FFF2-40B4-BE49-F238E27FC236}">
                <a16:creationId xmlns:a16="http://schemas.microsoft.com/office/drawing/2014/main" id="{FB143FA0-A26A-21E3-FF5A-7D7086678CFB}"/>
              </a:ext>
            </a:extLst>
          </p:cNvPr>
          <p:cNvGrpSpPr/>
          <p:nvPr/>
        </p:nvGrpSpPr>
        <p:grpSpPr>
          <a:xfrm>
            <a:off x="5443643" y="1884117"/>
            <a:ext cx="365040" cy="367560"/>
            <a:chOff x="5443643" y="1884117"/>
            <a:chExt cx="365040" cy="367560"/>
          </a:xfrm>
        </p:grpSpPr>
        <mc:AlternateContent xmlns:mc="http://schemas.openxmlformats.org/markup-compatibility/2006">
          <mc:Choice xmlns:p14="http://schemas.microsoft.com/office/powerpoint/2010/main" Requires="p14">
            <p:contentPart p14:bwMode="auto" r:id="rId134">
              <p14:nvContentPartPr>
                <p14:cNvPr id="172" name="Ink 171">
                  <a:extLst>
                    <a:ext uri="{FF2B5EF4-FFF2-40B4-BE49-F238E27FC236}">
                      <a16:creationId xmlns:a16="http://schemas.microsoft.com/office/drawing/2014/main" id="{6784A18C-0BCF-0834-7FAF-134F66B5CC52}"/>
                    </a:ext>
                  </a:extLst>
                </p14:cNvPr>
                <p14:cNvContentPartPr/>
                <p14:nvPr/>
              </p14:nvContentPartPr>
              <p14:xfrm>
                <a:off x="5699603" y="1884117"/>
                <a:ext cx="101520" cy="367560"/>
              </p14:xfrm>
            </p:contentPart>
          </mc:Choice>
          <mc:Fallback>
            <p:pic>
              <p:nvPicPr>
                <p:cNvPr id="172" name="Ink 171">
                  <a:extLst>
                    <a:ext uri="{FF2B5EF4-FFF2-40B4-BE49-F238E27FC236}">
                      <a16:creationId xmlns:a16="http://schemas.microsoft.com/office/drawing/2014/main" id="{6784A18C-0BCF-0834-7FAF-134F66B5CC52}"/>
                    </a:ext>
                  </a:extLst>
                </p:cNvPr>
                <p:cNvPicPr/>
                <p:nvPr/>
              </p:nvPicPr>
              <p:blipFill>
                <a:blip r:embed="rId135"/>
                <a:stretch>
                  <a:fillRect/>
                </a:stretch>
              </p:blipFill>
              <p:spPr>
                <a:xfrm>
                  <a:off x="5684483" y="1868997"/>
                  <a:ext cx="131760" cy="398160"/>
                </a:xfrm>
                <a:prstGeom prst="rect">
                  <a:avLst/>
                </a:prstGeom>
              </p:spPr>
            </p:pic>
          </mc:Fallback>
        </mc:AlternateContent>
        <mc:AlternateContent xmlns:mc="http://schemas.openxmlformats.org/markup-compatibility/2006">
          <mc:Choice xmlns:p14="http://schemas.microsoft.com/office/powerpoint/2010/main" Requires="p14">
            <p:contentPart p14:bwMode="auto" r:id="rId136">
              <p14:nvContentPartPr>
                <p14:cNvPr id="175" name="Ink 174">
                  <a:extLst>
                    <a:ext uri="{FF2B5EF4-FFF2-40B4-BE49-F238E27FC236}">
                      <a16:creationId xmlns:a16="http://schemas.microsoft.com/office/drawing/2014/main" id="{5F2362B2-AB67-9498-45F5-0B0F20132862}"/>
                    </a:ext>
                  </a:extLst>
                </p14:cNvPr>
                <p14:cNvContentPartPr/>
                <p14:nvPr/>
              </p14:nvContentPartPr>
              <p14:xfrm>
                <a:off x="5748563" y="2023797"/>
                <a:ext cx="60120" cy="93240"/>
              </p14:xfrm>
            </p:contentPart>
          </mc:Choice>
          <mc:Fallback>
            <p:pic>
              <p:nvPicPr>
                <p:cNvPr id="175" name="Ink 174">
                  <a:extLst>
                    <a:ext uri="{FF2B5EF4-FFF2-40B4-BE49-F238E27FC236}">
                      <a16:creationId xmlns:a16="http://schemas.microsoft.com/office/drawing/2014/main" id="{5F2362B2-AB67-9498-45F5-0B0F20132862}"/>
                    </a:ext>
                  </a:extLst>
                </p:cNvPr>
                <p:cNvPicPr/>
                <p:nvPr/>
              </p:nvPicPr>
              <p:blipFill>
                <a:blip r:embed="rId137"/>
                <a:stretch>
                  <a:fillRect/>
                </a:stretch>
              </p:blipFill>
              <p:spPr>
                <a:xfrm>
                  <a:off x="5733083" y="2008317"/>
                  <a:ext cx="90720" cy="123840"/>
                </a:xfrm>
                <a:prstGeom prst="rect">
                  <a:avLst/>
                </a:prstGeom>
              </p:spPr>
            </p:pic>
          </mc:Fallback>
        </mc:AlternateContent>
        <mc:AlternateContent xmlns:mc="http://schemas.openxmlformats.org/markup-compatibility/2006">
          <mc:Choice xmlns:p14="http://schemas.microsoft.com/office/powerpoint/2010/main" Requires="p14">
            <p:contentPart p14:bwMode="auto" r:id="rId138">
              <p14:nvContentPartPr>
                <p14:cNvPr id="176" name="Ink 175">
                  <a:extLst>
                    <a:ext uri="{FF2B5EF4-FFF2-40B4-BE49-F238E27FC236}">
                      <a16:creationId xmlns:a16="http://schemas.microsoft.com/office/drawing/2014/main" id="{FDBFC02B-C870-967B-9976-99FA82174D5D}"/>
                    </a:ext>
                  </a:extLst>
                </p14:cNvPr>
                <p14:cNvContentPartPr/>
                <p14:nvPr/>
              </p14:nvContentPartPr>
              <p14:xfrm>
                <a:off x="5758643" y="2054757"/>
                <a:ext cx="43920" cy="81720"/>
              </p14:xfrm>
            </p:contentPart>
          </mc:Choice>
          <mc:Fallback>
            <p:pic>
              <p:nvPicPr>
                <p:cNvPr id="176" name="Ink 175">
                  <a:extLst>
                    <a:ext uri="{FF2B5EF4-FFF2-40B4-BE49-F238E27FC236}">
                      <a16:creationId xmlns:a16="http://schemas.microsoft.com/office/drawing/2014/main" id="{FDBFC02B-C870-967B-9976-99FA82174D5D}"/>
                    </a:ext>
                  </a:extLst>
                </p:cNvPr>
                <p:cNvPicPr/>
                <p:nvPr/>
              </p:nvPicPr>
              <p:blipFill>
                <a:blip r:embed="rId139"/>
                <a:stretch>
                  <a:fillRect/>
                </a:stretch>
              </p:blipFill>
              <p:spPr>
                <a:xfrm>
                  <a:off x="5743523" y="2039637"/>
                  <a:ext cx="74520" cy="112320"/>
                </a:xfrm>
                <a:prstGeom prst="rect">
                  <a:avLst/>
                </a:prstGeom>
              </p:spPr>
            </p:pic>
          </mc:Fallback>
        </mc:AlternateContent>
        <mc:AlternateContent xmlns:mc="http://schemas.openxmlformats.org/markup-compatibility/2006">
          <mc:Choice xmlns:p14="http://schemas.microsoft.com/office/powerpoint/2010/main" Requires="p14">
            <p:contentPart p14:bwMode="auto" r:id="rId140">
              <p14:nvContentPartPr>
                <p14:cNvPr id="177" name="Ink 176">
                  <a:extLst>
                    <a:ext uri="{FF2B5EF4-FFF2-40B4-BE49-F238E27FC236}">
                      <a16:creationId xmlns:a16="http://schemas.microsoft.com/office/drawing/2014/main" id="{47D64E2E-8B0D-B0B4-25DE-1820DDC87678}"/>
                    </a:ext>
                  </a:extLst>
                </p14:cNvPr>
                <p14:cNvContentPartPr/>
                <p14:nvPr/>
              </p14:nvContentPartPr>
              <p14:xfrm>
                <a:off x="5443643" y="2013717"/>
                <a:ext cx="69480" cy="139320"/>
              </p14:xfrm>
            </p:contentPart>
          </mc:Choice>
          <mc:Fallback>
            <p:pic>
              <p:nvPicPr>
                <p:cNvPr id="177" name="Ink 176">
                  <a:extLst>
                    <a:ext uri="{FF2B5EF4-FFF2-40B4-BE49-F238E27FC236}">
                      <a16:creationId xmlns:a16="http://schemas.microsoft.com/office/drawing/2014/main" id="{47D64E2E-8B0D-B0B4-25DE-1820DDC87678}"/>
                    </a:ext>
                  </a:extLst>
                </p:cNvPr>
                <p:cNvPicPr/>
                <p:nvPr/>
              </p:nvPicPr>
              <p:blipFill>
                <a:blip r:embed="rId141"/>
                <a:stretch>
                  <a:fillRect/>
                </a:stretch>
              </p:blipFill>
              <p:spPr>
                <a:xfrm>
                  <a:off x="5428163" y="1998597"/>
                  <a:ext cx="99720" cy="169560"/>
                </a:xfrm>
                <a:prstGeom prst="rect">
                  <a:avLst/>
                </a:prstGeom>
              </p:spPr>
            </p:pic>
          </mc:Fallback>
        </mc:AlternateContent>
        <mc:AlternateContent xmlns:mc="http://schemas.openxmlformats.org/markup-compatibility/2006">
          <mc:Choice xmlns:p14="http://schemas.microsoft.com/office/powerpoint/2010/main" Requires="p14">
            <p:contentPart p14:bwMode="auto" r:id="rId142">
              <p14:nvContentPartPr>
                <p14:cNvPr id="178" name="Ink 177">
                  <a:extLst>
                    <a:ext uri="{FF2B5EF4-FFF2-40B4-BE49-F238E27FC236}">
                      <a16:creationId xmlns:a16="http://schemas.microsoft.com/office/drawing/2014/main" id="{0349131B-99CF-E0A1-41B5-11494D530A26}"/>
                    </a:ext>
                  </a:extLst>
                </p14:cNvPr>
                <p14:cNvContentPartPr/>
                <p14:nvPr/>
              </p14:nvContentPartPr>
              <p14:xfrm>
                <a:off x="5471363" y="2015157"/>
                <a:ext cx="61920" cy="94320"/>
              </p14:xfrm>
            </p:contentPart>
          </mc:Choice>
          <mc:Fallback>
            <p:pic>
              <p:nvPicPr>
                <p:cNvPr id="178" name="Ink 177">
                  <a:extLst>
                    <a:ext uri="{FF2B5EF4-FFF2-40B4-BE49-F238E27FC236}">
                      <a16:creationId xmlns:a16="http://schemas.microsoft.com/office/drawing/2014/main" id="{0349131B-99CF-E0A1-41B5-11494D530A26}"/>
                    </a:ext>
                  </a:extLst>
                </p:cNvPr>
                <p:cNvPicPr/>
                <p:nvPr/>
              </p:nvPicPr>
              <p:blipFill>
                <a:blip r:embed="rId143"/>
                <a:stretch>
                  <a:fillRect/>
                </a:stretch>
              </p:blipFill>
              <p:spPr>
                <a:xfrm>
                  <a:off x="5456243" y="2000037"/>
                  <a:ext cx="92160" cy="12492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144">
            <p14:nvContentPartPr>
              <p14:cNvPr id="180" name="Ink 179">
                <a:extLst>
                  <a:ext uri="{FF2B5EF4-FFF2-40B4-BE49-F238E27FC236}">
                    <a16:creationId xmlns:a16="http://schemas.microsoft.com/office/drawing/2014/main" id="{357CB51C-1E2B-1629-8EA9-DC3CB66EBA0C}"/>
                  </a:ext>
                </a:extLst>
              </p14:cNvPr>
              <p14:cNvContentPartPr/>
              <p14:nvPr/>
            </p14:nvContentPartPr>
            <p14:xfrm>
              <a:off x="7710923" y="1987077"/>
              <a:ext cx="100800" cy="248040"/>
            </p14:xfrm>
          </p:contentPart>
        </mc:Choice>
        <mc:Fallback>
          <p:pic>
            <p:nvPicPr>
              <p:cNvPr id="180" name="Ink 179">
                <a:extLst>
                  <a:ext uri="{FF2B5EF4-FFF2-40B4-BE49-F238E27FC236}">
                    <a16:creationId xmlns:a16="http://schemas.microsoft.com/office/drawing/2014/main" id="{357CB51C-1E2B-1629-8EA9-DC3CB66EBA0C}"/>
                  </a:ext>
                </a:extLst>
              </p:cNvPr>
              <p:cNvPicPr/>
              <p:nvPr/>
            </p:nvPicPr>
            <p:blipFill>
              <a:blip r:embed="rId145"/>
              <a:stretch>
                <a:fillRect/>
              </a:stretch>
            </p:blipFill>
            <p:spPr>
              <a:xfrm>
                <a:off x="7695443" y="1971957"/>
                <a:ext cx="131040" cy="278640"/>
              </a:xfrm>
              <a:prstGeom prst="rect">
                <a:avLst/>
              </a:prstGeom>
            </p:spPr>
          </p:pic>
        </mc:Fallback>
      </mc:AlternateContent>
      <p:grpSp>
        <p:nvGrpSpPr>
          <p:cNvPr id="184" name="Group 183">
            <a:extLst>
              <a:ext uri="{FF2B5EF4-FFF2-40B4-BE49-F238E27FC236}">
                <a16:creationId xmlns:a16="http://schemas.microsoft.com/office/drawing/2014/main" id="{D88DDF70-E6CC-A458-ABDA-5DC6573C20EC}"/>
              </a:ext>
            </a:extLst>
          </p:cNvPr>
          <p:cNvGrpSpPr/>
          <p:nvPr/>
        </p:nvGrpSpPr>
        <p:grpSpPr>
          <a:xfrm>
            <a:off x="6503123" y="2414757"/>
            <a:ext cx="1190160" cy="716400"/>
            <a:chOff x="6503123" y="2414757"/>
            <a:chExt cx="1190160" cy="716400"/>
          </a:xfrm>
        </p:grpSpPr>
        <mc:AlternateContent xmlns:mc="http://schemas.openxmlformats.org/markup-compatibility/2006">
          <mc:Choice xmlns:p14="http://schemas.microsoft.com/office/powerpoint/2010/main" Requires="p14">
            <p:contentPart p14:bwMode="auto" r:id="rId146">
              <p14:nvContentPartPr>
                <p14:cNvPr id="181" name="Ink 180">
                  <a:extLst>
                    <a:ext uri="{FF2B5EF4-FFF2-40B4-BE49-F238E27FC236}">
                      <a16:creationId xmlns:a16="http://schemas.microsoft.com/office/drawing/2014/main" id="{B12764D6-A553-ACF7-3C49-A145B095D484}"/>
                    </a:ext>
                  </a:extLst>
                </p14:cNvPr>
                <p14:cNvContentPartPr/>
                <p14:nvPr/>
              </p14:nvContentPartPr>
              <p14:xfrm>
                <a:off x="6503123" y="2457237"/>
                <a:ext cx="66240" cy="451440"/>
              </p14:xfrm>
            </p:contentPart>
          </mc:Choice>
          <mc:Fallback>
            <p:pic>
              <p:nvPicPr>
                <p:cNvPr id="181" name="Ink 180">
                  <a:extLst>
                    <a:ext uri="{FF2B5EF4-FFF2-40B4-BE49-F238E27FC236}">
                      <a16:creationId xmlns:a16="http://schemas.microsoft.com/office/drawing/2014/main" id="{B12764D6-A553-ACF7-3C49-A145B095D484}"/>
                    </a:ext>
                  </a:extLst>
                </p:cNvPr>
                <p:cNvPicPr/>
                <p:nvPr/>
              </p:nvPicPr>
              <p:blipFill>
                <a:blip r:embed="rId147"/>
                <a:stretch>
                  <a:fillRect/>
                </a:stretch>
              </p:blipFill>
              <p:spPr>
                <a:xfrm>
                  <a:off x="6488003" y="2442117"/>
                  <a:ext cx="96840" cy="481680"/>
                </a:xfrm>
                <a:prstGeom prst="rect">
                  <a:avLst/>
                </a:prstGeom>
              </p:spPr>
            </p:pic>
          </mc:Fallback>
        </mc:AlternateContent>
        <mc:AlternateContent xmlns:mc="http://schemas.openxmlformats.org/markup-compatibility/2006">
          <mc:Choice xmlns:p14="http://schemas.microsoft.com/office/powerpoint/2010/main" Requires="p14">
            <p:contentPart p14:bwMode="auto" r:id="rId148">
              <p14:nvContentPartPr>
                <p14:cNvPr id="182" name="Ink 181">
                  <a:extLst>
                    <a:ext uri="{FF2B5EF4-FFF2-40B4-BE49-F238E27FC236}">
                      <a16:creationId xmlns:a16="http://schemas.microsoft.com/office/drawing/2014/main" id="{B03562D9-93D1-40DB-92B5-12BC52F4CB9C}"/>
                    </a:ext>
                  </a:extLst>
                </p14:cNvPr>
                <p14:cNvContentPartPr/>
                <p14:nvPr/>
              </p14:nvContentPartPr>
              <p14:xfrm>
                <a:off x="6600323" y="2414757"/>
                <a:ext cx="1092960" cy="662040"/>
              </p14:xfrm>
            </p:contentPart>
          </mc:Choice>
          <mc:Fallback>
            <p:pic>
              <p:nvPicPr>
                <p:cNvPr id="182" name="Ink 181">
                  <a:extLst>
                    <a:ext uri="{FF2B5EF4-FFF2-40B4-BE49-F238E27FC236}">
                      <a16:creationId xmlns:a16="http://schemas.microsoft.com/office/drawing/2014/main" id="{B03562D9-93D1-40DB-92B5-12BC52F4CB9C}"/>
                    </a:ext>
                  </a:extLst>
                </p:cNvPr>
                <p:cNvPicPr/>
                <p:nvPr/>
              </p:nvPicPr>
              <p:blipFill>
                <a:blip r:embed="rId149"/>
                <a:stretch>
                  <a:fillRect/>
                </a:stretch>
              </p:blipFill>
              <p:spPr>
                <a:xfrm>
                  <a:off x="6584843" y="2399637"/>
                  <a:ext cx="1123560" cy="692640"/>
                </a:xfrm>
                <a:prstGeom prst="rect">
                  <a:avLst/>
                </a:prstGeom>
              </p:spPr>
            </p:pic>
          </mc:Fallback>
        </mc:AlternateContent>
        <mc:AlternateContent xmlns:mc="http://schemas.openxmlformats.org/markup-compatibility/2006">
          <mc:Choice xmlns:p14="http://schemas.microsoft.com/office/powerpoint/2010/main" Requires="p14">
            <p:contentPart p14:bwMode="auto" r:id="rId150">
              <p14:nvContentPartPr>
                <p14:cNvPr id="183" name="Ink 182">
                  <a:extLst>
                    <a:ext uri="{FF2B5EF4-FFF2-40B4-BE49-F238E27FC236}">
                      <a16:creationId xmlns:a16="http://schemas.microsoft.com/office/drawing/2014/main" id="{AA34963A-EF80-E317-1CF0-995F50EC3FFC}"/>
                    </a:ext>
                  </a:extLst>
                </p14:cNvPr>
                <p14:cNvContentPartPr/>
                <p14:nvPr/>
              </p14:nvContentPartPr>
              <p14:xfrm>
                <a:off x="6605723" y="3018477"/>
                <a:ext cx="1031400" cy="112680"/>
              </p14:xfrm>
            </p:contentPart>
          </mc:Choice>
          <mc:Fallback>
            <p:pic>
              <p:nvPicPr>
                <p:cNvPr id="183" name="Ink 182">
                  <a:extLst>
                    <a:ext uri="{FF2B5EF4-FFF2-40B4-BE49-F238E27FC236}">
                      <a16:creationId xmlns:a16="http://schemas.microsoft.com/office/drawing/2014/main" id="{AA34963A-EF80-E317-1CF0-995F50EC3FFC}"/>
                    </a:ext>
                  </a:extLst>
                </p:cNvPr>
                <p:cNvPicPr/>
                <p:nvPr/>
              </p:nvPicPr>
              <p:blipFill>
                <a:blip r:embed="rId151"/>
                <a:stretch>
                  <a:fillRect/>
                </a:stretch>
              </p:blipFill>
              <p:spPr>
                <a:xfrm>
                  <a:off x="6590243" y="3003357"/>
                  <a:ext cx="1062000" cy="143280"/>
                </a:xfrm>
                <a:prstGeom prst="rect">
                  <a:avLst/>
                </a:prstGeom>
              </p:spPr>
            </p:pic>
          </mc:Fallback>
        </mc:AlternateContent>
      </p:grpSp>
      <p:grpSp>
        <p:nvGrpSpPr>
          <p:cNvPr id="194" name="Group 193">
            <a:extLst>
              <a:ext uri="{FF2B5EF4-FFF2-40B4-BE49-F238E27FC236}">
                <a16:creationId xmlns:a16="http://schemas.microsoft.com/office/drawing/2014/main" id="{F8282000-2D72-D4A8-0D63-009A3E439F87}"/>
              </a:ext>
            </a:extLst>
          </p:cNvPr>
          <p:cNvGrpSpPr/>
          <p:nvPr/>
        </p:nvGrpSpPr>
        <p:grpSpPr>
          <a:xfrm>
            <a:off x="1646363" y="3033957"/>
            <a:ext cx="2406240" cy="672480"/>
            <a:chOff x="1646363" y="3033957"/>
            <a:chExt cx="2406240" cy="672480"/>
          </a:xfrm>
        </p:grpSpPr>
        <mc:AlternateContent xmlns:mc="http://schemas.openxmlformats.org/markup-compatibility/2006">
          <mc:Choice xmlns:p14="http://schemas.microsoft.com/office/powerpoint/2010/main" Requires="p14">
            <p:contentPart p14:bwMode="auto" r:id="rId152">
              <p14:nvContentPartPr>
                <p14:cNvPr id="185" name="Ink 184">
                  <a:extLst>
                    <a:ext uri="{FF2B5EF4-FFF2-40B4-BE49-F238E27FC236}">
                      <a16:creationId xmlns:a16="http://schemas.microsoft.com/office/drawing/2014/main" id="{B8757BC3-1F46-87C6-1B49-B40886F69686}"/>
                    </a:ext>
                  </a:extLst>
                </p14:cNvPr>
                <p14:cNvContentPartPr/>
                <p14:nvPr/>
              </p14:nvContentPartPr>
              <p14:xfrm>
                <a:off x="1646363" y="3563157"/>
                <a:ext cx="649440" cy="19080"/>
              </p14:xfrm>
            </p:contentPart>
          </mc:Choice>
          <mc:Fallback>
            <p:pic>
              <p:nvPicPr>
                <p:cNvPr id="185" name="Ink 184">
                  <a:extLst>
                    <a:ext uri="{FF2B5EF4-FFF2-40B4-BE49-F238E27FC236}">
                      <a16:creationId xmlns:a16="http://schemas.microsoft.com/office/drawing/2014/main" id="{B8757BC3-1F46-87C6-1B49-B40886F69686}"/>
                    </a:ext>
                  </a:extLst>
                </p:cNvPr>
                <p:cNvPicPr/>
                <p:nvPr/>
              </p:nvPicPr>
              <p:blipFill>
                <a:blip r:embed="rId153"/>
                <a:stretch>
                  <a:fillRect/>
                </a:stretch>
              </p:blipFill>
              <p:spPr>
                <a:xfrm>
                  <a:off x="1630883" y="3548037"/>
                  <a:ext cx="679680" cy="49320"/>
                </a:xfrm>
                <a:prstGeom prst="rect">
                  <a:avLst/>
                </a:prstGeom>
              </p:spPr>
            </p:pic>
          </mc:Fallback>
        </mc:AlternateContent>
        <mc:AlternateContent xmlns:mc="http://schemas.openxmlformats.org/markup-compatibility/2006">
          <mc:Choice xmlns:p14="http://schemas.microsoft.com/office/powerpoint/2010/main" Requires="p14">
            <p:contentPart p14:bwMode="auto" r:id="rId154">
              <p14:nvContentPartPr>
                <p14:cNvPr id="186" name="Ink 185">
                  <a:extLst>
                    <a:ext uri="{FF2B5EF4-FFF2-40B4-BE49-F238E27FC236}">
                      <a16:creationId xmlns:a16="http://schemas.microsoft.com/office/drawing/2014/main" id="{2248DBF5-D7D8-AF17-8CF9-11A6291666AE}"/>
                    </a:ext>
                  </a:extLst>
                </p14:cNvPr>
                <p14:cNvContentPartPr/>
                <p14:nvPr/>
              </p14:nvContentPartPr>
              <p14:xfrm>
                <a:off x="1714043" y="3613197"/>
                <a:ext cx="812880" cy="93240"/>
              </p14:xfrm>
            </p:contentPart>
          </mc:Choice>
          <mc:Fallback>
            <p:pic>
              <p:nvPicPr>
                <p:cNvPr id="186" name="Ink 185">
                  <a:extLst>
                    <a:ext uri="{FF2B5EF4-FFF2-40B4-BE49-F238E27FC236}">
                      <a16:creationId xmlns:a16="http://schemas.microsoft.com/office/drawing/2014/main" id="{2248DBF5-D7D8-AF17-8CF9-11A6291666AE}"/>
                    </a:ext>
                  </a:extLst>
                </p:cNvPr>
                <p:cNvPicPr/>
                <p:nvPr/>
              </p:nvPicPr>
              <p:blipFill>
                <a:blip r:embed="rId155"/>
                <a:stretch>
                  <a:fillRect/>
                </a:stretch>
              </p:blipFill>
              <p:spPr>
                <a:xfrm>
                  <a:off x="1698923" y="3598077"/>
                  <a:ext cx="843480" cy="123840"/>
                </a:xfrm>
                <a:prstGeom prst="rect">
                  <a:avLst/>
                </a:prstGeom>
              </p:spPr>
            </p:pic>
          </mc:Fallback>
        </mc:AlternateContent>
        <mc:AlternateContent xmlns:mc="http://schemas.openxmlformats.org/markup-compatibility/2006">
          <mc:Choice xmlns:p14="http://schemas.microsoft.com/office/powerpoint/2010/main" Requires="p14">
            <p:contentPart p14:bwMode="auto" r:id="rId156">
              <p14:nvContentPartPr>
                <p14:cNvPr id="188" name="Ink 187">
                  <a:extLst>
                    <a:ext uri="{FF2B5EF4-FFF2-40B4-BE49-F238E27FC236}">
                      <a16:creationId xmlns:a16="http://schemas.microsoft.com/office/drawing/2014/main" id="{1F0FCBE3-77EC-DEF4-33C0-2C5C6BD1F5F9}"/>
                    </a:ext>
                  </a:extLst>
                </p14:cNvPr>
                <p14:cNvContentPartPr/>
                <p14:nvPr/>
              </p14:nvContentPartPr>
              <p14:xfrm>
                <a:off x="3529883" y="3514917"/>
                <a:ext cx="175680" cy="11880"/>
              </p14:xfrm>
            </p:contentPart>
          </mc:Choice>
          <mc:Fallback>
            <p:pic>
              <p:nvPicPr>
                <p:cNvPr id="188" name="Ink 187">
                  <a:extLst>
                    <a:ext uri="{FF2B5EF4-FFF2-40B4-BE49-F238E27FC236}">
                      <a16:creationId xmlns:a16="http://schemas.microsoft.com/office/drawing/2014/main" id="{1F0FCBE3-77EC-DEF4-33C0-2C5C6BD1F5F9}"/>
                    </a:ext>
                  </a:extLst>
                </p:cNvPr>
                <p:cNvPicPr/>
                <p:nvPr/>
              </p:nvPicPr>
              <p:blipFill>
                <a:blip r:embed="rId157"/>
                <a:stretch>
                  <a:fillRect/>
                </a:stretch>
              </p:blipFill>
              <p:spPr>
                <a:xfrm>
                  <a:off x="3514763" y="3499797"/>
                  <a:ext cx="205920" cy="42480"/>
                </a:xfrm>
                <a:prstGeom prst="rect">
                  <a:avLst/>
                </a:prstGeom>
              </p:spPr>
            </p:pic>
          </mc:Fallback>
        </mc:AlternateContent>
        <mc:AlternateContent xmlns:mc="http://schemas.openxmlformats.org/markup-compatibility/2006">
          <mc:Choice xmlns:p14="http://schemas.microsoft.com/office/powerpoint/2010/main" Requires="p14">
            <p:contentPart p14:bwMode="auto" r:id="rId158">
              <p14:nvContentPartPr>
                <p14:cNvPr id="189" name="Ink 188">
                  <a:extLst>
                    <a:ext uri="{FF2B5EF4-FFF2-40B4-BE49-F238E27FC236}">
                      <a16:creationId xmlns:a16="http://schemas.microsoft.com/office/drawing/2014/main" id="{A25F87E3-37FD-AF8B-E2FD-EEBB6597859C}"/>
                    </a:ext>
                  </a:extLst>
                </p14:cNvPr>
                <p14:cNvContentPartPr/>
                <p14:nvPr/>
              </p14:nvContentPartPr>
              <p14:xfrm>
                <a:off x="3527723" y="3612837"/>
                <a:ext cx="160560" cy="12240"/>
              </p14:xfrm>
            </p:contentPart>
          </mc:Choice>
          <mc:Fallback>
            <p:pic>
              <p:nvPicPr>
                <p:cNvPr id="189" name="Ink 188">
                  <a:extLst>
                    <a:ext uri="{FF2B5EF4-FFF2-40B4-BE49-F238E27FC236}">
                      <a16:creationId xmlns:a16="http://schemas.microsoft.com/office/drawing/2014/main" id="{A25F87E3-37FD-AF8B-E2FD-EEBB6597859C}"/>
                    </a:ext>
                  </a:extLst>
                </p:cNvPr>
                <p:cNvPicPr/>
                <p:nvPr/>
              </p:nvPicPr>
              <p:blipFill>
                <a:blip r:embed="rId159"/>
                <a:stretch>
                  <a:fillRect/>
                </a:stretch>
              </p:blipFill>
              <p:spPr>
                <a:xfrm>
                  <a:off x="3512603" y="3597717"/>
                  <a:ext cx="190800" cy="42480"/>
                </a:xfrm>
                <a:prstGeom prst="rect">
                  <a:avLst/>
                </a:prstGeom>
              </p:spPr>
            </p:pic>
          </mc:Fallback>
        </mc:AlternateContent>
        <mc:AlternateContent xmlns:mc="http://schemas.openxmlformats.org/markup-compatibility/2006">
          <mc:Choice xmlns:p14="http://schemas.microsoft.com/office/powerpoint/2010/main" Requires="p14">
            <p:contentPart p14:bwMode="auto" r:id="rId160">
              <p14:nvContentPartPr>
                <p14:cNvPr id="190" name="Ink 189">
                  <a:extLst>
                    <a:ext uri="{FF2B5EF4-FFF2-40B4-BE49-F238E27FC236}">
                      <a16:creationId xmlns:a16="http://schemas.microsoft.com/office/drawing/2014/main" id="{F9ABA7A3-FFDB-6C80-DE65-3A01C409CA6A}"/>
                    </a:ext>
                  </a:extLst>
                </p14:cNvPr>
                <p14:cNvContentPartPr/>
                <p14:nvPr/>
              </p14:nvContentPartPr>
              <p14:xfrm>
                <a:off x="3486683" y="3186237"/>
                <a:ext cx="115560" cy="358200"/>
              </p14:xfrm>
            </p:contentPart>
          </mc:Choice>
          <mc:Fallback>
            <p:pic>
              <p:nvPicPr>
                <p:cNvPr id="190" name="Ink 189">
                  <a:extLst>
                    <a:ext uri="{FF2B5EF4-FFF2-40B4-BE49-F238E27FC236}">
                      <a16:creationId xmlns:a16="http://schemas.microsoft.com/office/drawing/2014/main" id="{F9ABA7A3-FFDB-6C80-DE65-3A01C409CA6A}"/>
                    </a:ext>
                  </a:extLst>
                </p:cNvPr>
                <p:cNvPicPr/>
                <p:nvPr/>
              </p:nvPicPr>
              <p:blipFill>
                <a:blip r:embed="rId161"/>
                <a:stretch>
                  <a:fillRect/>
                </a:stretch>
              </p:blipFill>
              <p:spPr>
                <a:xfrm>
                  <a:off x="3471203" y="3170757"/>
                  <a:ext cx="146160" cy="388800"/>
                </a:xfrm>
                <a:prstGeom prst="rect">
                  <a:avLst/>
                </a:prstGeom>
              </p:spPr>
            </p:pic>
          </mc:Fallback>
        </mc:AlternateContent>
        <mc:AlternateContent xmlns:mc="http://schemas.openxmlformats.org/markup-compatibility/2006">
          <mc:Choice xmlns:p14="http://schemas.microsoft.com/office/powerpoint/2010/main" Requires="p14">
            <p:contentPart p14:bwMode="auto" r:id="rId162">
              <p14:nvContentPartPr>
                <p14:cNvPr id="191" name="Ink 190">
                  <a:extLst>
                    <a:ext uri="{FF2B5EF4-FFF2-40B4-BE49-F238E27FC236}">
                      <a16:creationId xmlns:a16="http://schemas.microsoft.com/office/drawing/2014/main" id="{E332C323-D063-D7A5-23D1-11D9A6028420}"/>
                    </a:ext>
                  </a:extLst>
                </p14:cNvPr>
                <p14:cNvContentPartPr/>
                <p14:nvPr/>
              </p14:nvContentPartPr>
              <p14:xfrm>
                <a:off x="3660203" y="3169677"/>
                <a:ext cx="149760" cy="353520"/>
              </p14:xfrm>
            </p:contentPart>
          </mc:Choice>
          <mc:Fallback>
            <p:pic>
              <p:nvPicPr>
                <p:cNvPr id="191" name="Ink 190">
                  <a:extLst>
                    <a:ext uri="{FF2B5EF4-FFF2-40B4-BE49-F238E27FC236}">
                      <a16:creationId xmlns:a16="http://schemas.microsoft.com/office/drawing/2014/main" id="{E332C323-D063-D7A5-23D1-11D9A6028420}"/>
                    </a:ext>
                  </a:extLst>
                </p:cNvPr>
                <p:cNvPicPr/>
                <p:nvPr/>
              </p:nvPicPr>
              <p:blipFill>
                <a:blip r:embed="rId163"/>
                <a:stretch>
                  <a:fillRect/>
                </a:stretch>
              </p:blipFill>
              <p:spPr>
                <a:xfrm>
                  <a:off x="3645083" y="3154557"/>
                  <a:ext cx="180000" cy="383760"/>
                </a:xfrm>
                <a:prstGeom prst="rect">
                  <a:avLst/>
                </a:prstGeom>
              </p:spPr>
            </p:pic>
          </mc:Fallback>
        </mc:AlternateContent>
        <mc:AlternateContent xmlns:mc="http://schemas.openxmlformats.org/markup-compatibility/2006">
          <mc:Choice xmlns:p14="http://schemas.microsoft.com/office/powerpoint/2010/main" Requires="p14">
            <p:contentPart p14:bwMode="auto" r:id="rId164">
              <p14:nvContentPartPr>
                <p14:cNvPr id="193" name="Ink 192">
                  <a:extLst>
                    <a:ext uri="{FF2B5EF4-FFF2-40B4-BE49-F238E27FC236}">
                      <a16:creationId xmlns:a16="http://schemas.microsoft.com/office/drawing/2014/main" id="{3BB39D2F-EF95-259D-AA2D-87543AECA6C7}"/>
                    </a:ext>
                  </a:extLst>
                </p14:cNvPr>
                <p14:cNvContentPartPr/>
                <p14:nvPr/>
              </p14:nvContentPartPr>
              <p14:xfrm>
                <a:off x="2569043" y="3033957"/>
                <a:ext cx="1483560" cy="671040"/>
              </p14:xfrm>
            </p:contentPart>
          </mc:Choice>
          <mc:Fallback>
            <p:pic>
              <p:nvPicPr>
                <p:cNvPr id="193" name="Ink 192">
                  <a:extLst>
                    <a:ext uri="{FF2B5EF4-FFF2-40B4-BE49-F238E27FC236}">
                      <a16:creationId xmlns:a16="http://schemas.microsoft.com/office/drawing/2014/main" id="{3BB39D2F-EF95-259D-AA2D-87543AECA6C7}"/>
                    </a:ext>
                  </a:extLst>
                </p:cNvPr>
                <p:cNvPicPr/>
                <p:nvPr/>
              </p:nvPicPr>
              <p:blipFill>
                <a:blip r:embed="rId165"/>
                <a:stretch>
                  <a:fillRect/>
                </a:stretch>
              </p:blipFill>
              <p:spPr>
                <a:xfrm>
                  <a:off x="2553923" y="3018837"/>
                  <a:ext cx="1513800" cy="701640"/>
                </a:xfrm>
                <a:prstGeom prst="rect">
                  <a:avLst/>
                </a:prstGeom>
              </p:spPr>
            </p:pic>
          </mc:Fallback>
        </mc:AlternateContent>
      </p:grpSp>
      <p:grpSp>
        <p:nvGrpSpPr>
          <p:cNvPr id="202" name="Group 201">
            <a:extLst>
              <a:ext uri="{FF2B5EF4-FFF2-40B4-BE49-F238E27FC236}">
                <a16:creationId xmlns:a16="http://schemas.microsoft.com/office/drawing/2014/main" id="{B40AD2B9-DABF-5524-E7EA-4CF0C561765B}"/>
              </a:ext>
            </a:extLst>
          </p:cNvPr>
          <p:cNvGrpSpPr/>
          <p:nvPr/>
        </p:nvGrpSpPr>
        <p:grpSpPr>
          <a:xfrm>
            <a:off x="6730643" y="3896517"/>
            <a:ext cx="878400" cy="536040"/>
            <a:chOff x="6730643" y="3896517"/>
            <a:chExt cx="878400" cy="536040"/>
          </a:xfrm>
        </p:grpSpPr>
        <mc:AlternateContent xmlns:mc="http://schemas.openxmlformats.org/markup-compatibility/2006">
          <mc:Choice xmlns:p14="http://schemas.microsoft.com/office/powerpoint/2010/main" Requires="p14">
            <p:contentPart p14:bwMode="auto" r:id="rId166">
              <p14:nvContentPartPr>
                <p14:cNvPr id="195" name="Ink 194">
                  <a:extLst>
                    <a:ext uri="{FF2B5EF4-FFF2-40B4-BE49-F238E27FC236}">
                      <a16:creationId xmlns:a16="http://schemas.microsoft.com/office/drawing/2014/main" id="{A07A2381-04F2-6BCD-140B-62C18D8103A6}"/>
                    </a:ext>
                  </a:extLst>
                </p14:cNvPr>
                <p14:cNvContentPartPr/>
                <p14:nvPr/>
              </p14:nvContentPartPr>
              <p14:xfrm>
                <a:off x="6802283" y="4300437"/>
                <a:ext cx="277920" cy="8280"/>
              </p14:xfrm>
            </p:contentPart>
          </mc:Choice>
          <mc:Fallback>
            <p:pic>
              <p:nvPicPr>
                <p:cNvPr id="195" name="Ink 194">
                  <a:extLst>
                    <a:ext uri="{FF2B5EF4-FFF2-40B4-BE49-F238E27FC236}">
                      <a16:creationId xmlns:a16="http://schemas.microsoft.com/office/drawing/2014/main" id="{A07A2381-04F2-6BCD-140B-62C18D8103A6}"/>
                    </a:ext>
                  </a:extLst>
                </p:cNvPr>
                <p:cNvPicPr/>
                <p:nvPr/>
              </p:nvPicPr>
              <p:blipFill>
                <a:blip r:embed="rId167"/>
                <a:stretch>
                  <a:fillRect/>
                </a:stretch>
              </p:blipFill>
              <p:spPr>
                <a:xfrm>
                  <a:off x="6787163" y="4285317"/>
                  <a:ext cx="308160" cy="38880"/>
                </a:xfrm>
                <a:prstGeom prst="rect">
                  <a:avLst/>
                </a:prstGeom>
              </p:spPr>
            </p:pic>
          </mc:Fallback>
        </mc:AlternateContent>
        <mc:AlternateContent xmlns:mc="http://schemas.openxmlformats.org/markup-compatibility/2006">
          <mc:Choice xmlns:p14="http://schemas.microsoft.com/office/powerpoint/2010/main" Requires="p14">
            <p:contentPart p14:bwMode="auto" r:id="rId168">
              <p14:nvContentPartPr>
                <p14:cNvPr id="196" name="Ink 195">
                  <a:extLst>
                    <a:ext uri="{FF2B5EF4-FFF2-40B4-BE49-F238E27FC236}">
                      <a16:creationId xmlns:a16="http://schemas.microsoft.com/office/drawing/2014/main" id="{47C9A8BD-B3DF-2BCB-E2A5-77D56305EB13}"/>
                    </a:ext>
                  </a:extLst>
                </p14:cNvPr>
                <p14:cNvContentPartPr/>
                <p14:nvPr/>
              </p14:nvContentPartPr>
              <p14:xfrm>
                <a:off x="6839363" y="4379637"/>
                <a:ext cx="266760" cy="16200"/>
              </p14:xfrm>
            </p:contentPart>
          </mc:Choice>
          <mc:Fallback>
            <p:pic>
              <p:nvPicPr>
                <p:cNvPr id="196" name="Ink 195">
                  <a:extLst>
                    <a:ext uri="{FF2B5EF4-FFF2-40B4-BE49-F238E27FC236}">
                      <a16:creationId xmlns:a16="http://schemas.microsoft.com/office/drawing/2014/main" id="{47C9A8BD-B3DF-2BCB-E2A5-77D56305EB13}"/>
                    </a:ext>
                  </a:extLst>
                </p:cNvPr>
                <p:cNvPicPr/>
                <p:nvPr/>
              </p:nvPicPr>
              <p:blipFill>
                <a:blip r:embed="rId169"/>
                <a:stretch>
                  <a:fillRect/>
                </a:stretch>
              </p:blipFill>
              <p:spPr>
                <a:xfrm>
                  <a:off x="6824243" y="4364517"/>
                  <a:ext cx="297000" cy="46440"/>
                </a:xfrm>
                <a:prstGeom prst="rect">
                  <a:avLst/>
                </a:prstGeom>
              </p:spPr>
            </p:pic>
          </mc:Fallback>
        </mc:AlternateContent>
        <mc:AlternateContent xmlns:mc="http://schemas.openxmlformats.org/markup-compatibility/2006">
          <mc:Choice xmlns:p14="http://schemas.microsoft.com/office/powerpoint/2010/main" Requires="p14">
            <p:contentPart p14:bwMode="auto" r:id="rId170">
              <p14:nvContentPartPr>
                <p14:cNvPr id="198" name="Ink 197">
                  <a:extLst>
                    <a:ext uri="{FF2B5EF4-FFF2-40B4-BE49-F238E27FC236}">
                      <a16:creationId xmlns:a16="http://schemas.microsoft.com/office/drawing/2014/main" id="{F9355B25-3981-43A1-4E47-2A6E6380F0F3}"/>
                    </a:ext>
                  </a:extLst>
                </p14:cNvPr>
                <p14:cNvContentPartPr/>
                <p14:nvPr/>
              </p14:nvContentPartPr>
              <p14:xfrm>
                <a:off x="7510043" y="4023597"/>
                <a:ext cx="68400" cy="25200"/>
              </p14:xfrm>
            </p:contentPart>
          </mc:Choice>
          <mc:Fallback>
            <p:pic>
              <p:nvPicPr>
                <p:cNvPr id="198" name="Ink 197">
                  <a:extLst>
                    <a:ext uri="{FF2B5EF4-FFF2-40B4-BE49-F238E27FC236}">
                      <a16:creationId xmlns:a16="http://schemas.microsoft.com/office/drawing/2014/main" id="{F9355B25-3981-43A1-4E47-2A6E6380F0F3}"/>
                    </a:ext>
                  </a:extLst>
                </p:cNvPr>
                <p:cNvPicPr/>
                <p:nvPr/>
              </p:nvPicPr>
              <p:blipFill>
                <a:blip r:embed="rId171"/>
                <a:stretch>
                  <a:fillRect/>
                </a:stretch>
              </p:blipFill>
              <p:spPr>
                <a:xfrm>
                  <a:off x="7494563" y="4008477"/>
                  <a:ext cx="99000" cy="55800"/>
                </a:xfrm>
                <a:prstGeom prst="rect">
                  <a:avLst/>
                </a:prstGeom>
              </p:spPr>
            </p:pic>
          </mc:Fallback>
        </mc:AlternateContent>
        <mc:AlternateContent xmlns:mc="http://schemas.openxmlformats.org/markup-compatibility/2006">
          <mc:Choice xmlns:p14="http://schemas.microsoft.com/office/powerpoint/2010/main" Requires="p14">
            <p:contentPart p14:bwMode="auto" r:id="rId172">
              <p14:nvContentPartPr>
                <p14:cNvPr id="199" name="Ink 198">
                  <a:extLst>
                    <a:ext uri="{FF2B5EF4-FFF2-40B4-BE49-F238E27FC236}">
                      <a16:creationId xmlns:a16="http://schemas.microsoft.com/office/drawing/2014/main" id="{AC3B4882-76D7-E0A3-A0A9-412B3A4CFE24}"/>
                    </a:ext>
                  </a:extLst>
                </p14:cNvPr>
                <p14:cNvContentPartPr/>
                <p14:nvPr/>
              </p14:nvContentPartPr>
              <p14:xfrm>
                <a:off x="7463603" y="4127637"/>
                <a:ext cx="129600" cy="12960"/>
              </p14:xfrm>
            </p:contentPart>
          </mc:Choice>
          <mc:Fallback>
            <p:pic>
              <p:nvPicPr>
                <p:cNvPr id="199" name="Ink 198">
                  <a:extLst>
                    <a:ext uri="{FF2B5EF4-FFF2-40B4-BE49-F238E27FC236}">
                      <a16:creationId xmlns:a16="http://schemas.microsoft.com/office/drawing/2014/main" id="{AC3B4882-76D7-E0A3-A0A9-412B3A4CFE24}"/>
                    </a:ext>
                  </a:extLst>
                </p:cNvPr>
                <p:cNvPicPr/>
                <p:nvPr/>
              </p:nvPicPr>
              <p:blipFill>
                <a:blip r:embed="rId173"/>
                <a:stretch>
                  <a:fillRect/>
                </a:stretch>
              </p:blipFill>
              <p:spPr>
                <a:xfrm>
                  <a:off x="7448123" y="4112517"/>
                  <a:ext cx="160200" cy="43560"/>
                </a:xfrm>
                <a:prstGeom prst="rect">
                  <a:avLst/>
                </a:prstGeom>
              </p:spPr>
            </p:pic>
          </mc:Fallback>
        </mc:AlternateContent>
        <mc:AlternateContent xmlns:mc="http://schemas.openxmlformats.org/markup-compatibility/2006">
          <mc:Choice xmlns:p14="http://schemas.microsoft.com/office/powerpoint/2010/main" Requires="p14">
            <p:contentPart p14:bwMode="auto" r:id="rId174">
              <p14:nvContentPartPr>
                <p14:cNvPr id="201" name="Ink 200">
                  <a:extLst>
                    <a:ext uri="{FF2B5EF4-FFF2-40B4-BE49-F238E27FC236}">
                      <a16:creationId xmlns:a16="http://schemas.microsoft.com/office/drawing/2014/main" id="{16761D32-8A68-D384-3AEF-8EF225A5D428}"/>
                    </a:ext>
                  </a:extLst>
                </p14:cNvPr>
                <p14:cNvContentPartPr/>
                <p14:nvPr/>
              </p14:nvContentPartPr>
              <p14:xfrm>
                <a:off x="6730643" y="3896517"/>
                <a:ext cx="878400" cy="536040"/>
              </p14:xfrm>
            </p:contentPart>
          </mc:Choice>
          <mc:Fallback>
            <p:pic>
              <p:nvPicPr>
                <p:cNvPr id="201" name="Ink 200">
                  <a:extLst>
                    <a:ext uri="{FF2B5EF4-FFF2-40B4-BE49-F238E27FC236}">
                      <a16:creationId xmlns:a16="http://schemas.microsoft.com/office/drawing/2014/main" id="{16761D32-8A68-D384-3AEF-8EF225A5D428}"/>
                    </a:ext>
                  </a:extLst>
                </p:cNvPr>
                <p:cNvPicPr/>
                <p:nvPr/>
              </p:nvPicPr>
              <p:blipFill>
                <a:blip r:embed="rId175"/>
                <a:stretch>
                  <a:fillRect/>
                </a:stretch>
              </p:blipFill>
              <p:spPr>
                <a:xfrm>
                  <a:off x="6715523" y="3881397"/>
                  <a:ext cx="909000" cy="566640"/>
                </a:xfrm>
                <a:prstGeom prst="rect">
                  <a:avLst/>
                </a:prstGeom>
              </p:spPr>
            </p:pic>
          </mc:Fallback>
        </mc:AlternateContent>
      </p:grpSp>
      <p:grpSp>
        <p:nvGrpSpPr>
          <p:cNvPr id="205" name="Group 204">
            <a:extLst>
              <a:ext uri="{FF2B5EF4-FFF2-40B4-BE49-F238E27FC236}">
                <a16:creationId xmlns:a16="http://schemas.microsoft.com/office/drawing/2014/main" id="{D3AF8F0A-C5E8-B029-AB24-0AC73D9ADDB4}"/>
              </a:ext>
            </a:extLst>
          </p:cNvPr>
          <p:cNvGrpSpPr/>
          <p:nvPr/>
        </p:nvGrpSpPr>
        <p:grpSpPr>
          <a:xfrm>
            <a:off x="2953883" y="4517157"/>
            <a:ext cx="757800" cy="71280"/>
            <a:chOff x="2953883" y="4517157"/>
            <a:chExt cx="757800" cy="71280"/>
          </a:xfrm>
        </p:grpSpPr>
        <mc:AlternateContent xmlns:mc="http://schemas.openxmlformats.org/markup-compatibility/2006">
          <mc:Choice xmlns:p14="http://schemas.microsoft.com/office/powerpoint/2010/main" Requires="p14">
            <p:contentPart p14:bwMode="auto" r:id="rId176">
              <p14:nvContentPartPr>
                <p14:cNvPr id="203" name="Ink 202">
                  <a:extLst>
                    <a:ext uri="{FF2B5EF4-FFF2-40B4-BE49-F238E27FC236}">
                      <a16:creationId xmlns:a16="http://schemas.microsoft.com/office/drawing/2014/main" id="{5A73CC63-770B-774A-C642-C22DFFC2DFB3}"/>
                    </a:ext>
                  </a:extLst>
                </p14:cNvPr>
                <p14:cNvContentPartPr/>
                <p14:nvPr/>
              </p14:nvContentPartPr>
              <p14:xfrm>
                <a:off x="2953883" y="4517157"/>
                <a:ext cx="472680" cy="53280"/>
              </p14:xfrm>
            </p:contentPart>
          </mc:Choice>
          <mc:Fallback>
            <p:pic>
              <p:nvPicPr>
                <p:cNvPr id="203" name="Ink 202">
                  <a:extLst>
                    <a:ext uri="{FF2B5EF4-FFF2-40B4-BE49-F238E27FC236}">
                      <a16:creationId xmlns:a16="http://schemas.microsoft.com/office/drawing/2014/main" id="{5A73CC63-770B-774A-C642-C22DFFC2DFB3}"/>
                    </a:ext>
                  </a:extLst>
                </p:cNvPr>
                <p:cNvPicPr/>
                <p:nvPr/>
              </p:nvPicPr>
              <p:blipFill>
                <a:blip r:embed="rId177"/>
                <a:stretch>
                  <a:fillRect/>
                </a:stretch>
              </p:blipFill>
              <p:spPr>
                <a:xfrm>
                  <a:off x="2938763" y="4502037"/>
                  <a:ext cx="502920" cy="83880"/>
                </a:xfrm>
                <a:prstGeom prst="rect">
                  <a:avLst/>
                </a:prstGeom>
              </p:spPr>
            </p:pic>
          </mc:Fallback>
        </mc:AlternateContent>
        <mc:AlternateContent xmlns:mc="http://schemas.openxmlformats.org/markup-compatibility/2006">
          <mc:Choice xmlns:p14="http://schemas.microsoft.com/office/powerpoint/2010/main" Requires="p14">
            <p:contentPart p14:bwMode="auto" r:id="rId178">
              <p14:nvContentPartPr>
                <p14:cNvPr id="204" name="Ink 203">
                  <a:extLst>
                    <a:ext uri="{FF2B5EF4-FFF2-40B4-BE49-F238E27FC236}">
                      <a16:creationId xmlns:a16="http://schemas.microsoft.com/office/drawing/2014/main" id="{EDBE41DD-85C0-A7FD-B1A3-2256D79DC3B8}"/>
                    </a:ext>
                  </a:extLst>
                </p14:cNvPr>
                <p14:cNvContentPartPr/>
                <p14:nvPr/>
              </p14:nvContentPartPr>
              <p14:xfrm>
                <a:off x="3253043" y="4556037"/>
                <a:ext cx="458640" cy="32400"/>
              </p14:xfrm>
            </p:contentPart>
          </mc:Choice>
          <mc:Fallback>
            <p:pic>
              <p:nvPicPr>
                <p:cNvPr id="204" name="Ink 203">
                  <a:extLst>
                    <a:ext uri="{FF2B5EF4-FFF2-40B4-BE49-F238E27FC236}">
                      <a16:creationId xmlns:a16="http://schemas.microsoft.com/office/drawing/2014/main" id="{EDBE41DD-85C0-A7FD-B1A3-2256D79DC3B8}"/>
                    </a:ext>
                  </a:extLst>
                </p:cNvPr>
                <p:cNvPicPr/>
                <p:nvPr/>
              </p:nvPicPr>
              <p:blipFill>
                <a:blip r:embed="rId179"/>
                <a:stretch>
                  <a:fillRect/>
                </a:stretch>
              </p:blipFill>
              <p:spPr>
                <a:xfrm>
                  <a:off x="3237923" y="4540917"/>
                  <a:ext cx="489240" cy="62640"/>
                </a:xfrm>
                <a:prstGeom prst="rect">
                  <a:avLst/>
                </a:prstGeom>
              </p:spPr>
            </p:pic>
          </mc:Fallback>
        </mc:AlternateContent>
      </p:grpSp>
      <p:grpSp>
        <p:nvGrpSpPr>
          <p:cNvPr id="213" name="Group 212">
            <a:extLst>
              <a:ext uri="{FF2B5EF4-FFF2-40B4-BE49-F238E27FC236}">
                <a16:creationId xmlns:a16="http://schemas.microsoft.com/office/drawing/2014/main" id="{1A30E40B-2E0F-341E-F2E7-F589BDC0B72C}"/>
              </a:ext>
            </a:extLst>
          </p:cNvPr>
          <p:cNvGrpSpPr/>
          <p:nvPr/>
        </p:nvGrpSpPr>
        <p:grpSpPr>
          <a:xfrm>
            <a:off x="3156923" y="225957"/>
            <a:ext cx="745200" cy="245520"/>
            <a:chOff x="3156923" y="225957"/>
            <a:chExt cx="745200" cy="245520"/>
          </a:xfrm>
        </p:grpSpPr>
        <mc:AlternateContent xmlns:mc="http://schemas.openxmlformats.org/markup-compatibility/2006">
          <mc:Choice xmlns:p14="http://schemas.microsoft.com/office/powerpoint/2010/main" Requires="p14">
            <p:contentPart p14:bwMode="auto" r:id="rId180">
              <p14:nvContentPartPr>
                <p14:cNvPr id="206" name="Ink 205">
                  <a:extLst>
                    <a:ext uri="{FF2B5EF4-FFF2-40B4-BE49-F238E27FC236}">
                      <a16:creationId xmlns:a16="http://schemas.microsoft.com/office/drawing/2014/main" id="{734F900C-B46B-8B35-5606-633309957F5D}"/>
                    </a:ext>
                  </a:extLst>
                </p14:cNvPr>
                <p14:cNvContentPartPr/>
                <p14:nvPr/>
              </p14:nvContentPartPr>
              <p14:xfrm>
                <a:off x="3156923" y="231717"/>
                <a:ext cx="103680" cy="239760"/>
              </p14:xfrm>
            </p:contentPart>
          </mc:Choice>
          <mc:Fallback>
            <p:pic>
              <p:nvPicPr>
                <p:cNvPr id="206" name="Ink 205">
                  <a:extLst>
                    <a:ext uri="{FF2B5EF4-FFF2-40B4-BE49-F238E27FC236}">
                      <a16:creationId xmlns:a16="http://schemas.microsoft.com/office/drawing/2014/main" id="{734F900C-B46B-8B35-5606-633309957F5D}"/>
                    </a:ext>
                  </a:extLst>
                </p:cNvPr>
                <p:cNvPicPr/>
                <p:nvPr/>
              </p:nvPicPr>
              <p:blipFill>
                <a:blip r:embed="rId181"/>
                <a:stretch>
                  <a:fillRect/>
                </a:stretch>
              </p:blipFill>
              <p:spPr>
                <a:xfrm>
                  <a:off x="3141443" y="216597"/>
                  <a:ext cx="134280" cy="270000"/>
                </a:xfrm>
                <a:prstGeom prst="rect">
                  <a:avLst/>
                </a:prstGeom>
              </p:spPr>
            </p:pic>
          </mc:Fallback>
        </mc:AlternateContent>
        <mc:AlternateContent xmlns:mc="http://schemas.openxmlformats.org/markup-compatibility/2006">
          <mc:Choice xmlns:p14="http://schemas.microsoft.com/office/powerpoint/2010/main" Requires="p14">
            <p:contentPart p14:bwMode="auto" r:id="rId182">
              <p14:nvContentPartPr>
                <p14:cNvPr id="207" name="Ink 206">
                  <a:extLst>
                    <a:ext uri="{FF2B5EF4-FFF2-40B4-BE49-F238E27FC236}">
                      <a16:creationId xmlns:a16="http://schemas.microsoft.com/office/drawing/2014/main" id="{65A14D9A-6E23-0D7C-DD7E-05E3B7CB3CF3}"/>
                    </a:ext>
                  </a:extLst>
                </p14:cNvPr>
                <p14:cNvContentPartPr/>
                <p14:nvPr/>
              </p14:nvContentPartPr>
              <p14:xfrm>
                <a:off x="3167723" y="355917"/>
                <a:ext cx="97560" cy="17640"/>
              </p14:xfrm>
            </p:contentPart>
          </mc:Choice>
          <mc:Fallback>
            <p:pic>
              <p:nvPicPr>
                <p:cNvPr id="207" name="Ink 206">
                  <a:extLst>
                    <a:ext uri="{FF2B5EF4-FFF2-40B4-BE49-F238E27FC236}">
                      <a16:creationId xmlns:a16="http://schemas.microsoft.com/office/drawing/2014/main" id="{65A14D9A-6E23-0D7C-DD7E-05E3B7CB3CF3}"/>
                    </a:ext>
                  </a:extLst>
                </p:cNvPr>
                <p:cNvPicPr/>
                <p:nvPr/>
              </p:nvPicPr>
              <p:blipFill>
                <a:blip r:embed="rId183"/>
                <a:stretch>
                  <a:fillRect/>
                </a:stretch>
              </p:blipFill>
              <p:spPr>
                <a:xfrm>
                  <a:off x="3152603" y="340797"/>
                  <a:ext cx="128160" cy="48240"/>
                </a:xfrm>
                <a:prstGeom prst="rect">
                  <a:avLst/>
                </a:prstGeom>
              </p:spPr>
            </p:pic>
          </mc:Fallback>
        </mc:AlternateContent>
        <mc:AlternateContent xmlns:mc="http://schemas.openxmlformats.org/markup-compatibility/2006">
          <mc:Choice xmlns:p14="http://schemas.microsoft.com/office/powerpoint/2010/main" Requires="p14">
            <p:contentPart p14:bwMode="auto" r:id="rId184">
              <p14:nvContentPartPr>
                <p14:cNvPr id="208" name="Ink 207">
                  <a:extLst>
                    <a:ext uri="{FF2B5EF4-FFF2-40B4-BE49-F238E27FC236}">
                      <a16:creationId xmlns:a16="http://schemas.microsoft.com/office/drawing/2014/main" id="{84E32669-D757-A3D9-89C8-9EF645A70C20}"/>
                    </a:ext>
                  </a:extLst>
                </p14:cNvPr>
                <p14:cNvContentPartPr/>
                <p14:nvPr/>
              </p14:nvContentPartPr>
              <p14:xfrm>
                <a:off x="3371123" y="241437"/>
                <a:ext cx="210240" cy="200160"/>
              </p14:xfrm>
            </p:contentPart>
          </mc:Choice>
          <mc:Fallback>
            <p:pic>
              <p:nvPicPr>
                <p:cNvPr id="208" name="Ink 207">
                  <a:extLst>
                    <a:ext uri="{FF2B5EF4-FFF2-40B4-BE49-F238E27FC236}">
                      <a16:creationId xmlns:a16="http://schemas.microsoft.com/office/drawing/2014/main" id="{84E32669-D757-A3D9-89C8-9EF645A70C20}"/>
                    </a:ext>
                  </a:extLst>
                </p:cNvPr>
                <p:cNvPicPr/>
                <p:nvPr/>
              </p:nvPicPr>
              <p:blipFill>
                <a:blip r:embed="rId185"/>
                <a:stretch>
                  <a:fillRect/>
                </a:stretch>
              </p:blipFill>
              <p:spPr>
                <a:xfrm>
                  <a:off x="3355643" y="225957"/>
                  <a:ext cx="240840" cy="230400"/>
                </a:xfrm>
                <a:prstGeom prst="rect">
                  <a:avLst/>
                </a:prstGeom>
              </p:spPr>
            </p:pic>
          </mc:Fallback>
        </mc:AlternateContent>
        <mc:AlternateContent xmlns:mc="http://schemas.openxmlformats.org/markup-compatibility/2006">
          <mc:Choice xmlns:p14="http://schemas.microsoft.com/office/powerpoint/2010/main" Requires="p14">
            <p:contentPart p14:bwMode="auto" r:id="rId186">
              <p14:nvContentPartPr>
                <p14:cNvPr id="209" name="Ink 208">
                  <a:extLst>
                    <a:ext uri="{FF2B5EF4-FFF2-40B4-BE49-F238E27FC236}">
                      <a16:creationId xmlns:a16="http://schemas.microsoft.com/office/drawing/2014/main" id="{458CFF46-69B7-1909-76F4-82BF2E7AC72A}"/>
                    </a:ext>
                  </a:extLst>
                </p14:cNvPr>
                <p14:cNvContentPartPr/>
                <p14:nvPr/>
              </p14:nvContentPartPr>
              <p14:xfrm>
                <a:off x="3689723" y="236397"/>
                <a:ext cx="93240" cy="203040"/>
              </p14:xfrm>
            </p:contentPart>
          </mc:Choice>
          <mc:Fallback>
            <p:pic>
              <p:nvPicPr>
                <p:cNvPr id="209" name="Ink 208">
                  <a:extLst>
                    <a:ext uri="{FF2B5EF4-FFF2-40B4-BE49-F238E27FC236}">
                      <a16:creationId xmlns:a16="http://schemas.microsoft.com/office/drawing/2014/main" id="{458CFF46-69B7-1909-76F4-82BF2E7AC72A}"/>
                    </a:ext>
                  </a:extLst>
                </p:cNvPr>
                <p:cNvPicPr/>
                <p:nvPr/>
              </p:nvPicPr>
              <p:blipFill>
                <a:blip r:embed="rId187"/>
                <a:stretch>
                  <a:fillRect/>
                </a:stretch>
              </p:blipFill>
              <p:spPr>
                <a:xfrm>
                  <a:off x="3674603" y="221277"/>
                  <a:ext cx="123840" cy="233640"/>
                </a:xfrm>
                <a:prstGeom prst="rect">
                  <a:avLst/>
                </a:prstGeom>
              </p:spPr>
            </p:pic>
          </mc:Fallback>
        </mc:AlternateContent>
        <mc:AlternateContent xmlns:mc="http://schemas.openxmlformats.org/markup-compatibility/2006">
          <mc:Choice xmlns:p14="http://schemas.microsoft.com/office/powerpoint/2010/main" Requires="p14">
            <p:contentPart p14:bwMode="auto" r:id="rId188">
              <p14:nvContentPartPr>
                <p14:cNvPr id="210" name="Ink 209">
                  <a:extLst>
                    <a:ext uri="{FF2B5EF4-FFF2-40B4-BE49-F238E27FC236}">
                      <a16:creationId xmlns:a16="http://schemas.microsoft.com/office/drawing/2014/main" id="{91E33701-EBC9-AB3C-9BF6-EA897CCF5CF4}"/>
                    </a:ext>
                  </a:extLst>
                </p14:cNvPr>
                <p14:cNvContentPartPr/>
                <p14:nvPr/>
              </p14:nvContentPartPr>
              <p14:xfrm>
                <a:off x="3819323" y="225957"/>
                <a:ext cx="82800" cy="172800"/>
              </p14:xfrm>
            </p:contentPart>
          </mc:Choice>
          <mc:Fallback>
            <p:pic>
              <p:nvPicPr>
                <p:cNvPr id="210" name="Ink 209">
                  <a:extLst>
                    <a:ext uri="{FF2B5EF4-FFF2-40B4-BE49-F238E27FC236}">
                      <a16:creationId xmlns:a16="http://schemas.microsoft.com/office/drawing/2014/main" id="{91E33701-EBC9-AB3C-9BF6-EA897CCF5CF4}"/>
                    </a:ext>
                  </a:extLst>
                </p:cNvPr>
                <p:cNvPicPr/>
                <p:nvPr/>
              </p:nvPicPr>
              <p:blipFill>
                <a:blip r:embed="rId189"/>
                <a:stretch>
                  <a:fillRect/>
                </a:stretch>
              </p:blipFill>
              <p:spPr>
                <a:xfrm>
                  <a:off x="3804203" y="210837"/>
                  <a:ext cx="113400" cy="20340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190">
            <p14:nvContentPartPr>
              <p14:cNvPr id="211" name="Ink 210">
                <a:extLst>
                  <a:ext uri="{FF2B5EF4-FFF2-40B4-BE49-F238E27FC236}">
                    <a16:creationId xmlns:a16="http://schemas.microsoft.com/office/drawing/2014/main" id="{F4AFD1A5-2047-B0FC-9087-24F4F1FF41FA}"/>
                  </a:ext>
                </a:extLst>
              </p14:cNvPr>
              <p14:cNvContentPartPr/>
              <p14:nvPr/>
            </p14:nvContentPartPr>
            <p14:xfrm>
              <a:off x="3295883" y="603237"/>
              <a:ext cx="367920" cy="13320"/>
            </p14:xfrm>
          </p:contentPart>
        </mc:Choice>
        <mc:Fallback>
          <p:pic>
            <p:nvPicPr>
              <p:cNvPr id="211" name="Ink 210">
                <a:extLst>
                  <a:ext uri="{FF2B5EF4-FFF2-40B4-BE49-F238E27FC236}">
                    <a16:creationId xmlns:a16="http://schemas.microsoft.com/office/drawing/2014/main" id="{F4AFD1A5-2047-B0FC-9087-24F4F1FF41FA}"/>
                  </a:ext>
                </a:extLst>
              </p:cNvPr>
              <p:cNvPicPr/>
              <p:nvPr/>
            </p:nvPicPr>
            <p:blipFill>
              <a:blip r:embed="rId191"/>
              <a:stretch>
                <a:fillRect/>
              </a:stretch>
            </p:blipFill>
            <p:spPr>
              <a:xfrm>
                <a:off x="3280763" y="588117"/>
                <a:ext cx="398520" cy="43920"/>
              </a:xfrm>
              <a:prstGeom prst="rect">
                <a:avLst/>
              </a:prstGeom>
            </p:spPr>
          </p:pic>
        </mc:Fallback>
      </mc:AlternateContent>
      <mc:AlternateContent xmlns:mc="http://schemas.openxmlformats.org/markup-compatibility/2006">
        <mc:Choice xmlns:p14="http://schemas.microsoft.com/office/powerpoint/2010/main" Requires="p14">
          <p:contentPart p14:bwMode="auto" r:id="rId192">
            <p14:nvContentPartPr>
              <p14:cNvPr id="212" name="Ink 211">
                <a:extLst>
                  <a:ext uri="{FF2B5EF4-FFF2-40B4-BE49-F238E27FC236}">
                    <a16:creationId xmlns:a16="http://schemas.microsoft.com/office/drawing/2014/main" id="{D0F8C1E5-5385-9F48-3849-5EFCED223D03}"/>
                  </a:ext>
                </a:extLst>
              </p14:cNvPr>
              <p14:cNvContentPartPr/>
              <p14:nvPr/>
            </p14:nvContentPartPr>
            <p14:xfrm>
              <a:off x="3400283" y="727077"/>
              <a:ext cx="381960" cy="21960"/>
            </p14:xfrm>
          </p:contentPart>
        </mc:Choice>
        <mc:Fallback>
          <p:pic>
            <p:nvPicPr>
              <p:cNvPr id="212" name="Ink 211">
                <a:extLst>
                  <a:ext uri="{FF2B5EF4-FFF2-40B4-BE49-F238E27FC236}">
                    <a16:creationId xmlns:a16="http://schemas.microsoft.com/office/drawing/2014/main" id="{D0F8C1E5-5385-9F48-3849-5EFCED223D03}"/>
                  </a:ext>
                </a:extLst>
              </p:cNvPr>
              <p:cNvPicPr/>
              <p:nvPr/>
            </p:nvPicPr>
            <p:blipFill>
              <a:blip r:embed="rId193"/>
              <a:stretch>
                <a:fillRect/>
              </a:stretch>
            </p:blipFill>
            <p:spPr>
              <a:xfrm>
                <a:off x="3385163" y="711597"/>
                <a:ext cx="412560" cy="52560"/>
              </a:xfrm>
              <a:prstGeom prst="rect">
                <a:avLst/>
              </a:prstGeom>
            </p:spPr>
          </p:pic>
        </mc:Fallback>
      </mc:AlternateContent>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D444811-9944-4F35-A19D-0A8B877F8A6C}"/>
              </a:ext>
            </a:extLst>
          </p:cNvPr>
          <p:cNvGraphicFramePr>
            <a:graphicFrameLocks noChangeAspect="1"/>
          </p:cNvGraphicFramePr>
          <p:nvPr>
            <p:custDataLst>
              <p:tags r:id="rId1"/>
            </p:custDataLst>
            <p:extLst>
              <p:ext uri="{D42A27DB-BD31-4B8C-83A1-F6EECF244321}">
                <p14:modId xmlns:p14="http://schemas.microsoft.com/office/powerpoint/2010/main" val="2479314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0" name="Object 9" hidden="1">
                        <a:extLst>
                          <a:ext uri="{FF2B5EF4-FFF2-40B4-BE49-F238E27FC236}">
                            <a16:creationId xmlns:a16="http://schemas.microsoft.com/office/drawing/2014/main" id="{1D444811-9944-4F35-A19D-0A8B877F8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70F925C-63CA-4590-AC38-D13F3D3C5089}"/>
              </a:ext>
            </a:extLst>
          </p:cNvPr>
          <p:cNvPicPr>
            <a:picLocks noChangeAspect="1"/>
          </p:cNvPicPr>
          <p:nvPr/>
        </p:nvPicPr>
        <p:blipFill>
          <a:blip r:embed="rId5"/>
          <a:stretch>
            <a:fillRect/>
          </a:stretch>
        </p:blipFill>
        <p:spPr>
          <a:xfrm>
            <a:off x="599355" y="207352"/>
            <a:ext cx="7732022" cy="4728796"/>
          </a:xfrm>
          <a:prstGeom prst="rect">
            <a:avLst/>
          </a:prstGeom>
        </p:spPr>
      </p:pic>
    </p:spTree>
    <p:extLst>
      <p:ext uri="{BB962C8B-B14F-4D97-AF65-F5344CB8AC3E}">
        <p14:creationId xmlns:p14="http://schemas.microsoft.com/office/powerpoint/2010/main" val="41114418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65"/>
        <p:cNvGrpSpPr/>
        <p:nvPr/>
      </p:nvGrpSpPr>
      <p:grpSpPr>
        <a:xfrm>
          <a:off x="0" y="0"/>
          <a:ext cx="0" cy="0"/>
          <a:chOff x="0" y="0"/>
          <a:chExt cx="0" cy="0"/>
        </a:xfrm>
      </p:grpSpPr>
      <p:sp>
        <p:nvSpPr>
          <p:cNvPr id="166" name="Google Shape;166;p17"/>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2800"/>
              <a:buNone/>
            </a:pPr>
            <a:r>
              <a:rPr lang="en"/>
              <a:t>Mobilenet Architecture</a:t>
            </a:r>
            <a:endParaRPr/>
          </a:p>
        </p:txBody>
      </p:sp>
      <p:pic>
        <p:nvPicPr>
          <p:cNvPr id="168" name="Google Shape;168;p17"/>
          <p:cNvPicPr preferRelativeResize="0"/>
          <p:nvPr/>
        </p:nvPicPr>
        <p:blipFill rotWithShape="1">
          <a:blip r:embed="rId3">
            <a:alphaModFix/>
          </a:blip>
          <a:srcRect/>
          <a:stretch/>
        </p:blipFill>
        <p:spPr>
          <a:xfrm>
            <a:off x="3003175" y="1152475"/>
            <a:ext cx="2894095" cy="3416400"/>
          </a:xfrm>
          <a:prstGeom prst="rect">
            <a:avLst/>
          </a:prstGeom>
          <a:noFill/>
          <a:ln>
            <a:noFill/>
          </a:ln>
        </p:spPr>
      </p:pic>
      <mc:AlternateContent xmlns:mc="http://schemas.openxmlformats.org/markup-compatibility/2006">
        <mc:Choice xmlns:p14="http://schemas.microsoft.com/office/powerpoint/2010/main" Requires="p14">
          <p:contentPart p14:bwMode="auto" r:id="rId4">
            <p14:nvContentPartPr>
              <p14:cNvPr id="2" name="Ink 1">
                <a:extLst>
                  <a:ext uri="{FF2B5EF4-FFF2-40B4-BE49-F238E27FC236}">
                    <a16:creationId xmlns:a16="http://schemas.microsoft.com/office/drawing/2014/main" id="{D650193C-0931-5579-C6B6-A74B0974524E}"/>
                  </a:ext>
                </a:extLst>
              </p14:cNvPr>
              <p14:cNvContentPartPr/>
              <p14:nvPr/>
            </p14:nvContentPartPr>
            <p14:xfrm>
              <a:off x="594803" y="1003197"/>
              <a:ext cx="987120" cy="48240"/>
            </p14:xfrm>
          </p:contentPart>
        </mc:Choice>
        <mc:Fallback>
          <p:pic>
            <p:nvPicPr>
              <p:cNvPr id="2" name="Ink 1">
                <a:extLst>
                  <a:ext uri="{FF2B5EF4-FFF2-40B4-BE49-F238E27FC236}">
                    <a16:creationId xmlns:a16="http://schemas.microsoft.com/office/drawing/2014/main" id="{D650193C-0931-5579-C6B6-A74B0974524E}"/>
                  </a:ext>
                </a:extLst>
              </p:cNvPr>
              <p:cNvPicPr/>
              <p:nvPr/>
            </p:nvPicPr>
            <p:blipFill>
              <a:blip r:embed="rId5"/>
              <a:stretch>
                <a:fillRect/>
              </a:stretch>
            </p:blipFill>
            <p:spPr>
              <a:xfrm>
                <a:off x="579683" y="987717"/>
                <a:ext cx="1017720" cy="78840"/>
              </a:xfrm>
              <a:prstGeom prst="rect">
                <a:avLst/>
              </a:prstGeom>
            </p:spPr>
          </p:pic>
        </mc:Fallback>
      </mc:AlternateContent>
      <p:grpSp>
        <p:nvGrpSpPr>
          <p:cNvPr id="14" name="Group 13">
            <a:extLst>
              <a:ext uri="{FF2B5EF4-FFF2-40B4-BE49-F238E27FC236}">
                <a16:creationId xmlns:a16="http://schemas.microsoft.com/office/drawing/2014/main" id="{71F0A1C9-2F89-8572-A164-D437CADB907B}"/>
              </a:ext>
            </a:extLst>
          </p:cNvPr>
          <p:cNvGrpSpPr/>
          <p:nvPr/>
        </p:nvGrpSpPr>
        <p:grpSpPr>
          <a:xfrm>
            <a:off x="596963" y="192837"/>
            <a:ext cx="1837440" cy="339120"/>
            <a:chOff x="596963" y="192837"/>
            <a:chExt cx="1837440" cy="339120"/>
          </a:xfrm>
        </p:grpSpPr>
        <mc:AlternateContent xmlns:mc="http://schemas.openxmlformats.org/markup-compatibility/2006">
          <mc:Choice xmlns:p14="http://schemas.microsoft.com/office/powerpoint/2010/main" Requires="p14">
            <p:contentPart p14:bwMode="auto" r:id="rId6">
              <p14:nvContentPartPr>
                <p14:cNvPr id="3" name="Ink 2">
                  <a:extLst>
                    <a:ext uri="{FF2B5EF4-FFF2-40B4-BE49-F238E27FC236}">
                      <a16:creationId xmlns:a16="http://schemas.microsoft.com/office/drawing/2014/main" id="{D39DD864-A8B9-FEDA-3273-258B17B0310C}"/>
                    </a:ext>
                  </a:extLst>
                </p14:cNvPr>
                <p14:cNvContentPartPr/>
                <p14:nvPr/>
              </p14:nvContentPartPr>
              <p14:xfrm>
                <a:off x="596963" y="226317"/>
                <a:ext cx="96840" cy="156960"/>
              </p14:xfrm>
            </p:contentPart>
          </mc:Choice>
          <mc:Fallback>
            <p:pic>
              <p:nvPicPr>
                <p:cNvPr id="3" name="Ink 2">
                  <a:extLst>
                    <a:ext uri="{FF2B5EF4-FFF2-40B4-BE49-F238E27FC236}">
                      <a16:creationId xmlns:a16="http://schemas.microsoft.com/office/drawing/2014/main" id="{D39DD864-A8B9-FEDA-3273-258B17B0310C}"/>
                    </a:ext>
                  </a:extLst>
                </p:cNvPr>
                <p:cNvPicPr/>
                <p:nvPr/>
              </p:nvPicPr>
              <p:blipFill>
                <a:blip r:embed="rId7"/>
                <a:stretch>
                  <a:fillRect/>
                </a:stretch>
              </p:blipFill>
              <p:spPr>
                <a:xfrm>
                  <a:off x="581843" y="210837"/>
                  <a:ext cx="127440" cy="18756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4" name="Ink 3">
                  <a:extLst>
                    <a:ext uri="{FF2B5EF4-FFF2-40B4-BE49-F238E27FC236}">
                      <a16:creationId xmlns:a16="http://schemas.microsoft.com/office/drawing/2014/main" id="{42FC7C3F-F427-3DDA-5DF9-ECF288EA4294}"/>
                    </a:ext>
                  </a:extLst>
                </p14:cNvPr>
                <p14:cNvContentPartPr/>
                <p14:nvPr/>
              </p14:nvContentPartPr>
              <p14:xfrm>
                <a:off x="765443" y="251517"/>
                <a:ext cx="275760" cy="167400"/>
              </p14:xfrm>
            </p:contentPart>
          </mc:Choice>
          <mc:Fallback>
            <p:pic>
              <p:nvPicPr>
                <p:cNvPr id="4" name="Ink 3">
                  <a:extLst>
                    <a:ext uri="{FF2B5EF4-FFF2-40B4-BE49-F238E27FC236}">
                      <a16:creationId xmlns:a16="http://schemas.microsoft.com/office/drawing/2014/main" id="{42FC7C3F-F427-3DDA-5DF9-ECF288EA4294}"/>
                    </a:ext>
                  </a:extLst>
                </p:cNvPr>
                <p:cNvPicPr/>
                <p:nvPr/>
              </p:nvPicPr>
              <p:blipFill>
                <a:blip r:embed="rId9"/>
                <a:stretch>
                  <a:fillRect/>
                </a:stretch>
              </p:blipFill>
              <p:spPr>
                <a:xfrm>
                  <a:off x="750323" y="236397"/>
                  <a:ext cx="306360" cy="197640"/>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5" name="Ink 4">
                  <a:extLst>
                    <a:ext uri="{FF2B5EF4-FFF2-40B4-BE49-F238E27FC236}">
                      <a16:creationId xmlns:a16="http://schemas.microsoft.com/office/drawing/2014/main" id="{D27C5E33-938B-2DF9-E18E-BDBB84D76440}"/>
                    </a:ext>
                  </a:extLst>
                </p14:cNvPr>
                <p14:cNvContentPartPr/>
                <p14:nvPr/>
              </p14:nvContentPartPr>
              <p14:xfrm>
                <a:off x="1100243" y="192837"/>
                <a:ext cx="59400" cy="180720"/>
              </p14:xfrm>
            </p:contentPart>
          </mc:Choice>
          <mc:Fallback>
            <p:pic>
              <p:nvPicPr>
                <p:cNvPr id="5" name="Ink 4">
                  <a:extLst>
                    <a:ext uri="{FF2B5EF4-FFF2-40B4-BE49-F238E27FC236}">
                      <a16:creationId xmlns:a16="http://schemas.microsoft.com/office/drawing/2014/main" id="{D27C5E33-938B-2DF9-E18E-BDBB84D76440}"/>
                    </a:ext>
                  </a:extLst>
                </p:cNvPr>
                <p:cNvPicPr/>
                <p:nvPr/>
              </p:nvPicPr>
              <p:blipFill>
                <a:blip r:embed="rId11"/>
                <a:stretch>
                  <a:fillRect/>
                </a:stretch>
              </p:blipFill>
              <p:spPr>
                <a:xfrm>
                  <a:off x="1085123" y="177717"/>
                  <a:ext cx="90000" cy="21132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6" name="Ink 5">
                  <a:extLst>
                    <a:ext uri="{FF2B5EF4-FFF2-40B4-BE49-F238E27FC236}">
                      <a16:creationId xmlns:a16="http://schemas.microsoft.com/office/drawing/2014/main" id="{6D1B3C31-EA75-F0BE-EB49-9969941F4913}"/>
                    </a:ext>
                  </a:extLst>
                </p14:cNvPr>
                <p14:cNvContentPartPr/>
                <p14:nvPr/>
              </p14:nvContentPartPr>
              <p14:xfrm>
                <a:off x="1115363" y="266277"/>
                <a:ext cx="263160" cy="81360"/>
              </p14:xfrm>
            </p:contentPart>
          </mc:Choice>
          <mc:Fallback>
            <p:pic>
              <p:nvPicPr>
                <p:cNvPr id="6" name="Ink 5">
                  <a:extLst>
                    <a:ext uri="{FF2B5EF4-FFF2-40B4-BE49-F238E27FC236}">
                      <a16:creationId xmlns:a16="http://schemas.microsoft.com/office/drawing/2014/main" id="{6D1B3C31-EA75-F0BE-EB49-9969941F4913}"/>
                    </a:ext>
                  </a:extLst>
                </p:cNvPr>
                <p:cNvPicPr/>
                <p:nvPr/>
              </p:nvPicPr>
              <p:blipFill>
                <a:blip r:embed="rId13"/>
                <a:stretch>
                  <a:fillRect/>
                </a:stretch>
              </p:blipFill>
              <p:spPr>
                <a:xfrm>
                  <a:off x="1100243" y="250797"/>
                  <a:ext cx="293400" cy="111960"/>
                </a:xfrm>
                <a:prstGeom prst="rect">
                  <a:avLst/>
                </a:prstGeom>
              </p:spPr>
            </p:pic>
          </mc:Fallback>
        </mc:AlternateContent>
        <mc:AlternateContent xmlns:mc="http://schemas.openxmlformats.org/markup-compatibility/2006">
          <mc:Choice xmlns:p14="http://schemas.microsoft.com/office/powerpoint/2010/main" Requires="p14">
            <p:contentPart p14:bwMode="auto" r:id="rId14">
              <p14:nvContentPartPr>
                <p14:cNvPr id="7" name="Ink 6">
                  <a:extLst>
                    <a:ext uri="{FF2B5EF4-FFF2-40B4-BE49-F238E27FC236}">
                      <a16:creationId xmlns:a16="http://schemas.microsoft.com/office/drawing/2014/main" id="{4DCAFFBD-80C8-1725-C90C-36BE8141D924}"/>
                    </a:ext>
                  </a:extLst>
                </p14:cNvPr>
                <p14:cNvContentPartPr/>
                <p14:nvPr/>
              </p14:nvContentPartPr>
              <p14:xfrm>
                <a:off x="1475003" y="250437"/>
                <a:ext cx="152640" cy="116280"/>
              </p14:xfrm>
            </p:contentPart>
          </mc:Choice>
          <mc:Fallback>
            <p:pic>
              <p:nvPicPr>
                <p:cNvPr id="7" name="Ink 6">
                  <a:extLst>
                    <a:ext uri="{FF2B5EF4-FFF2-40B4-BE49-F238E27FC236}">
                      <a16:creationId xmlns:a16="http://schemas.microsoft.com/office/drawing/2014/main" id="{4DCAFFBD-80C8-1725-C90C-36BE8141D924}"/>
                    </a:ext>
                  </a:extLst>
                </p:cNvPr>
                <p:cNvPicPr/>
                <p:nvPr/>
              </p:nvPicPr>
              <p:blipFill>
                <a:blip r:embed="rId15"/>
                <a:stretch>
                  <a:fillRect/>
                </a:stretch>
              </p:blipFill>
              <p:spPr>
                <a:xfrm>
                  <a:off x="1459883" y="235317"/>
                  <a:ext cx="183240" cy="146520"/>
                </a:xfrm>
                <a:prstGeom prst="rect">
                  <a:avLst/>
                </a:prstGeom>
              </p:spPr>
            </p:pic>
          </mc:Fallback>
        </mc:AlternateContent>
        <mc:AlternateContent xmlns:mc="http://schemas.openxmlformats.org/markup-compatibility/2006">
          <mc:Choice xmlns:p14="http://schemas.microsoft.com/office/powerpoint/2010/main" Requires="p14">
            <p:contentPart p14:bwMode="auto" r:id="rId16">
              <p14:nvContentPartPr>
                <p14:cNvPr id="8" name="Ink 7">
                  <a:extLst>
                    <a:ext uri="{FF2B5EF4-FFF2-40B4-BE49-F238E27FC236}">
                      <a16:creationId xmlns:a16="http://schemas.microsoft.com/office/drawing/2014/main" id="{4907ADE3-404D-1789-6C98-F2E24C7F0F92}"/>
                    </a:ext>
                  </a:extLst>
                </p14:cNvPr>
                <p14:cNvContentPartPr/>
                <p14:nvPr/>
              </p14:nvContentPartPr>
              <p14:xfrm>
                <a:off x="1685243" y="284997"/>
                <a:ext cx="23040" cy="84600"/>
              </p14:xfrm>
            </p:contentPart>
          </mc:Choice>
          <mc:Fallback>
            <p:pic>
              <p:nvPicPr>
                <p:cNvPr id="8" name="Ink 7">
                  <a:extLst>
                    <a:ext uri="{FF2B5EF4-FFF2-40B4-BE49-F238E27FC236}">
                      <a16:creationId xmlns:a16="http://schemas.microsoft.com/office/drawing/2014/main" id="{4907ADE3-404D-1789-6C98-F2E24C7F0F92}"/>
                    </a:ext>
                  </a:extLst>
                </p:cNvPr>
                <p:cNvPicPr/>
                <p:nvPr/>
              </p:nvPicPr>
              <p:blipFill>
                <a:blip r:embed="rId17"/>
                <a:stretch>
                  <a:fillRect/>
                </a:stretch>
              </p:blipFill>
              <p:spPr>
                <a:xfrm>
                  <a:off x="1670123" y="269877"/>
                  <a:ext cx="53640" cy="115200"/>
                </a:xfrm>
                <a:prstGeom prst="rect">
                  <a:avLst/>
                </a:prstGeom>
              </p:spPr>
            </p:pic>
          </mc:Fallback>
        </mc:AlternateContent>
        <mc:AlternateContent xmlns:mc="http://schemas.openxmlformats.org/markup-compatibility/2006">
          <mc:Choice xmlns:p14="http://schemas.microsoft.com/office/powerpoint/2010/main" Requires="p14">
            <p:contentPart p14:bwMode="auto" r:id="rId18">
              <p14:nvContentPartPr>
                <p14:cNvPr id="9" name="Ink 8">
                  <a:extLst>
                    <a:ext uri="{FF2B5EF4-FFF2-40B4-BE49-F238E27FC236}">
                      <a16:creationId xmlns:a16="http://schemas.microsoft.com/office/drawing/2014/main" id="{18D47C79-0D3B-06FB-8E52-B0C55C8CB183}"/>
                    </a:ext>
                  </a:extLst>
                </p14:cNvPr>
                <p14:cNvContentPartPr/>
                <p14:nvPr/>
              </p14:nvContentPartPr>
              <p14:xfrm>
                <a:off x="1690643" y="210117"/>
                <a:ext cx="8280" cy="41040"/>
              </p14:xfrm>
            </p:contentPart>
          </mc:Choice>
          <mc:Fallback>
            <p:pic>
              <p:nvPicPr>
                <p:cNvPr id="9" name="Ink 8">
                  <a:extLst>
                    <a:ext uri="{FF2B5EF4-FFF2-40B4-BE49-F238E27FC236}">
                      <a16:creationId xmlns:a16="http://schemas.microsoft.com/office/drawing/2014/main" id="{18D47C79-0D3B-06FB-8E52-B0C55C8CB183}"/>
                    </a:ext>
                  </a:extLst>
                </p:cNvPr>
                <p:cNvPicPr/>
                <p:nvPr/>
              </p:nvPicPr>
              <p:blipFill>
                <a:blip r:embed="rId19"/>
                <a:stretch>
                  <a:fillRect/>
                </a:stretch>
              </p:blipFill>
              <p:spPr>
                <a:xfrm>
                  <a:off x="1675523" y="194637"/>
                  <a:ext cx="38880" cy="71640"/>
                </a:xfrm>
                <a:prstGeom prst="rect">
                  <a:avLst/>
                </a:prstGeom>
              </p:spPr>
            </p:pic>
          </mc:Fallback>
        </mc:AlternateContent>
        <mc:AlternateContent xmlns:mc="http://schemas.openxmlformats.org/markup-compatibility/2006">
          <mc:Choice xmlns:p14="http://schemas.microsoft.com/office/powerpoint/2010/main" Requires="p14">
            <p:contentPart p14:bwMode="auto" r:id="rId20">
              <p14:nvContentPartPr>
                <p14:cNvPr id="10" name="Ink 9">
                  <a:extLst>
                    <a:ext uri="{FF2B5EF4-FFF2-40B4-BE49-F238E27FC236}">
                      <a16:creationId xmlns:a16="http://schemas.microsoft.com/office/drawing/2014/main" id="{7024DCD6-5BF1-9C2E-A8D2-6AE8794FAD94}"/>
                    </a:ext>
                  </a:extLst>
                </p14:cNvPr>
                <p14:cNvContentPartPr/>
                <p14:nvPr/>
              </p14:nvContentPartPr>
              <p14:xfrm>
                <a:off x="1789643" y="248277"/>
                <a:ext cx="126720" cy="118800"/>
              </p14:xfrm>
            </p:contentPart>
          </mc:Choice>
          <mc:Fallback>
            <p:pic>
              <p:nvPicPr>
                <p:cNvPr id="10" name="Ink 9">
                  <a:extLst>
                    <a:ext uri="{FF2B5EF4-FFF2-40B4-BE49-F238E27FC236}">
                      <a16:creationId xmlns:a16="http://schemas.microsoft.com/office/drawing/2014/main" id="{7024DCD6-5BF1-9C2E-A8D2-6AE8794FAD94}"/>
                    </a:ext>
                  </a:extLst>
                </p:cNvPr>
                <p:cNvPicPr/>
                <p:nvPr/>
              </p:nvPicPr>
              <p:blipFill>
                <a:blip r:embed="rId21"/>
                <a:stretch>
                  <a:fillRect/>
                </a:stretch>
              </p:blipFill>
              <p:spPr>
                <a:xfrm>
                  <a:off x="1774523" y="232797"/>
                  <a:ext cx="157320" cy="149400"/>
                </a:xfrm>
                <a:prstGeom prst="rect">
                  <a:avLst/>
                </a:prstGeom>
              </p:spPr>
            </p:pic>
          </mc:Fallback>
        </mc:AlternateContent>
        <mc:AlternateContent xmlns:mc="http://schemas.openxmlformats.org/markup-compatibility/2006">
          <mc:Choice xmlns:p14="http://schemas.microsoft.com/office/powerpoint/2010/main" Requires="p14">
            <p:contentPart p14:bwMode="auto" r:id="rId22">
              <p14:nvContentPartPr>
                <p14:cNvPr id="11" name="Ink 10">
                  <a:extLst>
                    <a:ext uri="{FF2B5EF4-FFF2-40B4-BE49-F238E27FC236}">
                      <a16:creationId xmlns:a16="http://schemas.microsoft.com/office/drawing/2014/main" id="{8CAFA502-2E43-3D34-5FE1-4AE86D6EBF62}"/>
                    </a:ext>
                  </a:extLst>
                </p14:cNvPr>
                <p14:cNvContentPartPr/>
                <p14:nvPr/>
              </p14:nvContentPartPr>
              <p14:xfrm>
                <a:off x="2031923" y="258357"/>
                <a:ext cx="402480" cy="147240"/>
              </p14:xfrm>
            </p:contentPart>
          </mc:Choice>
          <mc:Fallback>
            <p:pic>
              <p:nvPicPr>
                <p:cNvPr id="11" name="Ink 10">
                  <a:extLst>
                    <a:ext uri="{FF2B5EF4-FFF2-40B4-BE49-F238E27FC236}">
                      <a16:creationId xmlns:a16="http://schemas.microsoft.com/office/drawing/2014/main" id="{8CAFA502-2E43-3D34-5FE1-4AE86D6EBF62}"/>
                    </a:ext>
                  </a:extLst>
                </p:cNvPr>
                <p:cNvPicPr/>
                <p:nvPr/>
              </p:nvPicPr>
              <p:blipFill>
                <a:blip r:embed="rId23"/>
                <a:stretch>
                  <a:fillRect/>
                </a:stretch>
              </p:blipFill>
              <p:spPr>
                <a:xfrm>
                  <a:off x="2016803" y="243237"/>
                  <a:ext cx="433080" cy="177840"/>
                </a:xfrm>
                <a:prstGeom prst="rect">
                  <a:avLst/>
                </a:prstGeom>
              </p:spPr>
            </p:pic>
          </mc:Fallback>
        </mc:AlternateContent>
        <mc:AlternateContent xmlns:mc="http://schemas.openxmlformats.org/markup-compatibility/2006">
          <mc:Choice xmlns:p14="http://schemas.microsoft.com/office/powerpoint/2010/main" Requires="p14">
            <p:contentPart p14:bwMode="auto" r:id="rId24">
              <p14:nvContentPartPr>
                <p14:cNvPr id="12" name="Ink 11">
                  <a:extLst>
                    <a:ext uri="{FF2B5EF4-FFF2-40B4-BE49-F238E27FC236}">
                      <a16:creationId xmlns:a16="http://schemas.microsoft.com/office/drawing/2014/main" id="{8F5DEA59-BA65-447B-686F-11C004E0A6DC}"/>
                    </a:ext>
                  </a:extLst>
                </p14:cNvPr>
                <p14:cNvContentPartPr/>
                <p14:nvPr/>
              </p14:nvContentPartPr>
              <p14:xfrm>
                <a:off x="2324243" y="441957"/>
                <a:ext cx="75240" cy="12600"/>
              </p14:xfrm>
            </p:contentPart>
          </mc:Choice>
          <mc:Fallback>
            <p:pic>
              <p:nvPicPr>
                <p:cNvPr id="12" name="Ink 11">
                  <a:extLst>
                    <a:ext uri="{FF2B5EF4-FFF2-40B4-BE49-F238E27FC236}">
                      <a16:creationId xmlns:a16="http://schemas.microsoft.com/office/drawing/2014/main" id="{8F5DEA59-BA65-447B-686F-11C004E0A6DC}"/>
                    </a:ext>
                  </a:extLst>
                </p:cNvPr>
                <p:cNvPicPr/>
                <p:nvPr/>
              </p:nvPicPr>
              <p:blipFill>
                <a:blip r:embed="rId25"/>
                <a:stretch>
                  <a:fillRect/>
                </a:stretch>
              </p:blipFill>
              <p:spPr>
                <a:xfrm>
                  <a:off x="2309123" y="426837"/>
                  <a:ext cx="105840" cy="43200"/>
                </a:xfrm>
                <a:prstGeom prst="rect">
                  <a:avLst/>
                </a:prstGeom>
              </p:spPr>
            </p:pic>
          </mc:Fallback>
        </mc:AlternateContent>
        <mc:AlternateContent xmlns:mc="http://schemas.openxmlformats.org/markup-compatibility/2006">
          <mc:Choice xmlns:p14="http://schemas.microsoft.com/office/powerpoint/2010/main" Requires="p14">
            <p:contentPart p14:bwMode="auto" r:id="rId26">
              <p14:nvContentPartPr>
                <p14:cNvPr id="13" name="Ink 12">
                  <a:extLst>
                    <a:ext uri="{FF2B5EF4-FFF2-40B4-BE49-F238E27FC236}">
                      <a16:creationId xmlns:a16="http://schemas.microsoft.com/office/drawing/2014/main" id="{65BB334B-AAF2-F9A8-86BA-588A6072FB59}"/>
                    </a:ext>
                  </a:extLst>
                </p14:cNvPr>
                <p14:cNvContentPartPr/>
                <p14:nvPr/>
              </p14:nvContentPartPr>
              <p14:xfrm>
                <a:off x="2304803" y="518277"/>
                <a:ext cx="96840" cy="13680"/>
              </p14:xfrm>
            </p:contentPart>
          </mc:Choice>
          <mc:Fallback>
            <p:pic>
              <p:nvPicPr>
                <p:cNvPr id="13" name="Ink 12">
                  <a:extLst>
                    <a:ext uri="{FF2B5EF4-FFF2-40B4-BE49-F238E27FC236}">
                      <a16:creationId xmlns:a16="http://schemas.microsoft.com/office/drawing/2014/main" id="{65BB334B-AAF2-F9A8-86BA-588A6072FB59}"/>
                    </a:ext>
                  </a:extLst>
                </p:cNvPr>
                <p:cNvPicPr/>
                <p:nvPr/>
              </p:nvPicPr>
              <p:blipFill>
                <a:blip r:embed="rId27"/>
                <a:stretch>
                  <a:fillRect/>
                </a:stretch>
              </p:blipFill>
              <p:spPr>
                <a:xfrm>
                  <a:off x="2289683" y="503157"/>
                  <a:ext cx="127440" cy="4428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28">
            <p14:nvContentPartPr>
              <p14:cNvPr id="15" name="Ink 14">
                <a:extLst>
                  <a:ext uri="{FF2B5EF4-FFF2-40B4-BE49-F238E27FC236}">
                    <a16:creationId xmlns:a16="http://schemas.microsoft.com/office/drawing/2014/main" id="{F100A3B7-716B-9E43-3F7F-53FB21C2866F}"/>
                  </a:ext>
                </a:extLst>
              </p14:cNvPr>
              <p14:cNvContentPartPr/>
              <p14:nvPr/>
            </p14:nvContentPartPr>
            <p14:xfrm>
              <a:off x="3017243" y="1710597"/>
              <a:ext cx="105120" cy="3600"/>
            </p14:xfrm>
          </p:contentPart>
        </mc:Choice>
        <mc:Fallback>
          <p:pic>
            <p:nvPicPr>
              <p:cNvPr id="15" name="Ink 14">
                <a:extLst>
                  <a:ext uri="{FF2B5EF4-FFF2-40B4-BE49-F238E27FC236}">
                    <a16:creationId xmlns:a16="http://schemas.microsoft.com/office/drawing/2014/main" id="{F100A3B7-716B-9E43-3F7F-53FB21C2866F}"/>
                  </a:ext>
                </a:extLst>
              </p:cNvPr>
              <p:cNvPicPr/>
              <p:nvPr/>
            </p:nvPicPr>
            <p:blipFill>
              <a:blip r:embed="rId29"/>
              <a:stretch>
                <a:fillRect/>
              </a:stretch>
            </p:blipFill>
            <p:spPr>
              <a:xfrm>
                <a:off x="3001763" y="1695117"/>
                <a:ext cx="135720" cy="34200"/>
              </a:xfrm>
              <a:prstGeom prst="rect">
                <a:avLst/>
              </a:prstGeom>
            </p:spPr>
          </p:pic>
        </mc:Fallback>
      </mc:AlternateContent>
      <p:grpSp>
        <p:nvGrpSpPr>
          <p:cNvPr id="20" name="Group 19">
            <a:extLst>
              <a:ext uri="{FF2B5EF4-FFF2-40B4-BE49-F238E27FC236}">
                <a16:creationId xmlns:a16="http://schemas.microsoft.com/office/drawing/2014/main" id="{DFAA7FF6-6B66-FA26-3351-2FA7FB7DC939}"/>
              </a:ext>
            </a:extLst>
          </p:cNvPr>
          <p:cNvGrpSpPr/>
          <p:nvPr/>
        </p:nvGrpSpPr>
        <p:grpSpPr>
          <a:xfrm>
            <a:off x="2797283" y="1843797"/>
            <a:ext cx="401760" cy="206640"/>
            <a:chOff x="2797283" y="1843797"/>
            <a:chExt cx="401760" cy="206640"/>
          </a:xfrm>
        </p:grpSpPr>
        <mc:AlternateContent xmlns:mc="http://schemas.openxmlformats.org/markup-compatibility/2006">
          <mc:Choice xmlns:p14="http://schemas.microsoft.com/office/powerpoint/2010/main" Requires="p14">
            <p:contentPart p14:bwMode="auto" r:id="rId30">
              <p14:nvContentPartPr>
                <p14:cNvPr id="16" name="Ink 15">
                  <a:extLst>
                    <a:ext uri="{FF2B5EF4-FFF2-40B4-BE49-F238E27FC236}">
                      <a16:creationId xmlns:a16="http://schemas.microsoft.com/office/drawing/2014/main" id="{D21AFDB9-50DF-81CA-3BD2-7E80A80E0B4A}"/>
                    </a:ext>
                  </a:extLst>
                </p14:cNvPr>
                <p14:cNvContentPartPr/>
                <p14:nvPr/>
              </p14:nvContentPartPr>
              <p14:xfrm>
                <a:off x="3096083" y="1843797"/>
                <a:ext cx="102960" cy="12240"/>
              </p14:xfrm>
            </p:contentPart>
          </mc:Choice>
          <mc:Fallback>
            <p:pic>
              <p:nvPicPr>
                <p:cNvPr id="16" name="Ink 15">
                  <a:extLst>
                    <a:ext uri="{FF2B5EF4-FFF2-40B4-BE49-F238E27FC236}">
                      <a16:creationId xmlns:a16="http://schemas.microsoft.com/office/drawing/2014/main" id="{D21AFDB9-50DF-81CA-3BD2-7E80A80E0B4A}"/>
                    </a:ext>
                  </a:extLst>
                </p:cNvPr>
                <p:cNvPicPr/>
                <p:nvPr/>
              </p:nvPicPr>
              <p:blipFill>
                <a:blip r:embed="rId31"/>
                <a:stretch>
                  <a:fillRect/>
                </a:stretch>
              </p:blipFill>
              <p:spPr>
                <a:xfrm>
                  <a:off x="3080963" y="1828677"/>
                  <a:ext cx="133200" cy="42480"/>
                </a:xfrm>
                <a:prstGeom prst="rect">
                  <a:avLst/>
                </a:prstGeom>
              </p:spPr>
            </p:pic>
          </mc:Fallback>
        </mc:AlternateContent>
        <mc:AlternateContent xmlns:mc="http://schemas.openxmlformats.org/markup-compatibility/2006">
          <mc:Choice xmlns:p14="http://schemas.microsoft.com/office/powerpoint/2010/main" Requires="p14">
            <p:contentPart p14:bwMode="auto" r:id="rId32">
              <p14:nvContentPartPr>
                <p14:cNvPr id="17" name="Ink 16">
                  <a:extLst>
                    <a:ext uri="{FF2B5EF4-FFF2-40B4-BE49-F238E27FC236}">
                      <a16:creationId xmlns:a16="http://schemas.microsoft.com/office/drawing/2014/main" id="{79D47545-391F-19A0-2CA5-A3F99C399854}"/>
                    </a:ext>
                  </a:extLst>
                </p14:cNvPr>
                <p14:cNvContentPartPr/>
                <p14:nvPr/>
              </p14:nvContentPartPr>
              <p14:xfrm>
                <a:off x="3109043" y="1963677"/>
                <a:ext cx="72720" cy="9000"/>
              </p14:xfrm>
            </p:contentPart>
          </mc:Choice>
          <mc:Fallback>
            <p:pic>
              <p:nvPicPr>
                <p:cNvPr id="17" name="Ink 16">
                  <a:extLst>
                    <a:ext uri="{FF2B5EF4-FFF2-40B4-BE49-F238E27FC236}">
                      <a16:creationId xmlns:a16="http://schemas.microsoft.com/office/drawing/2014/main" id="{79D47545-391F-19A0-2CA5-A3F99C399854}"/>
                    </a:ext>
                  </a:extLst>
                </p:cNvPr>
                <p:cNvPicPr/>
                <p:nvPr/>
              </p:nvPicPr>
              <p:blipFill>
                <a:blip r:embed="rId33"/>
                <a:stretch>
                  <a:fillRect/>
                </a:stretch>
              </p:blipFill>
              <p:spPr>
                <a:xfrm>
                  <a:off x="3093563" y="1948197"/>
                  <a:ext cx="102960" cy="39600"/>
                </a:xfrm>
                <a:prstGeom prst="rect">
                  <a:avLst/>
                </a:prstGeom>
              </p:spPr>
            </p:pic>
          </mc:Fallback>
        </mc:AlternateContent>
        <mc:AlternateContent xmlns:mc="http://schemas.openxmlformats.org/markup-compatibility/2006">
          <mc:Choice xmlns:p14="http://schemas.microsoft.com/office/powerpoint/2010/main" Requires="p14">
            <p:contentPart p14:bwMode="auto" r:id="rId34">
              <p14:nvContentPartPr>
                <p14:cNvPr id="18" name="Ink 17">
                  <a:extLst>
                    <a:ext uri="{FF2B5EF4-FFF2-40B4-BE49-F238E27FC236}">
                      <a16:creationId xmlns:a16="http://schemas.microsoft.com/office/drawing/2014/main" id="{530FC421-BC26-7F82-9822-AECC5BC386C0}"/>
                    </a:ext>
                  </a:extLst>
                </p14:cNvPr>
                <p14:cNvContentPartPr/>
                <p14:nvPr/>
              </p14:nvContentPartPr>
              <p14:xfrm>
                <a:off x="2797283" y="1917597"/>
                <a:ext cx="55440" cy="132840"/>
              </p14:xfrm>
            </p:contentPart>
          </mc:Choice>
          <mc:Fallback>
            <p:pic>
              <p:nvPicPr>
                <p:cNvPr id="18" name="Ink 17">
                  <a:extLst>
                    <a:ext uri="{FF2B5EF4-FFF2-40B4-BE49-F238E27FC236}">
                      <a16:creationId xmlns:a16="http://schemas.microsoft.com/office/drawing/2014/main" id="{530FC421-BC26-7F82-9822-AECC5BC386C0}"/>
                    </a:ext>
                  </a:extLst>
                </p:cNvPr>
                <p:cNvPicPr/>
                <p:nvPr/>
              </p:nvPicPr>
              <p:blipFill>
                <a:blip r:embed="rId35"/>
                <a:stretch>
                  <a:fillRect/>
                </a:stretch>
              </p:blipFill>
              <p:spPr>
                <a:xfrm>
                  <a:off x="2781803" y="1902477"/>
                  <a:ext cx="86040" cy="163080"/>
                </a:xfrm>
                <a:prstGeom prst="rect">
                  <a:avLst/>
                </a:prstGeom>
              </p:spPr>
            </p:pic>
          </mc:Fallback>
        </mc:AlternateContent>
        <mc:AlternateContent xmlns:mc="http://schemas.openxmlformats.org/markup-compatibility/2006">
          <mc:Choice xmlns:p14="http://schemas.microsoft.com/office/powerpoint/2010/main" Requires="p14">
            <p:contentPart p14:bwMode="auto" r:id="rId36">
              <p14:nvContentPartPr>
                <p14:cNvPr id="19" name="Ink 18">
                  <a:extLst>
                    <a:ext uri="{FF2B5EF4-FFF2-40B4-BE49-F238E27FC236}">
                      <a16:creationId xmlns:a16="http://schemas.microsoft.com/office/drawing/2014/main" id="{3E7615C7-BBD8-19AA-0E8F-8776FA68C2E4}"/>
                    </a:ext>
                  </a:extLst>
                </p14:cNvPr>
                <p14:cNvContentPartPr/>
                <p14:nvPr/>
              </p14:nvContentPartPr>
              <p14:xfrm>
                <a:off x="2877563" y="1944957"/>
                <a:ext cx="61920" cy="95400"/>
              </p14:xfrm>
            </p:contentPart>
          </mc:Choice>
          <mc:Fallback>
            <p:pic>
              <p:nvPicPr>
                <p:cNvPr id="19" name="Ink 18">
                  <a:extLst>
                    <a:ext uri="{FF2B5EF4-FFF2-40B4-BE49-F238E27FC236}">
                      <a16:creationId xmlns:a16="http://schemas.microsoft.com/office/drawing/2014/main" id="{3E7615C7-BBD8-19AA-0E8F-8776FA68C2E4}"/>
                    </a:ext>
                  </a:extLst>
                </p:cNvPr>
                <p:cNvPicPr/>
                <p:nvPr/>
              </p:nvPicPr>
              <p:blipFill>
                <a:blip r:embed="rId37"/>
                <a:stretch>
                  <a:fillRect/>
                </a:stretch>
              </p:blipFill>
              <p:spPr>
                <a:xfrm>
                  <a:off x="2862443" y="1929837"/>
                  <a:ext cx="92520" cy="126000"/>
                </a:xfrm>
                <a:prstGeom prst="rect">
                  <a:avLst/>
                </a:prstGeom>
              </p:spPr>
            </p:pic>
          </mc:Fallback>
        </mc:AlternateContent>
      </p:grpSp>
      <p:grpSp>
        <p:nvGrpSpPr>
          <p:cNvPr id="24" name="Group 23">
            <a:extLst>
              <a:ext uri="{FF2B5EF4-FFF2-40B4-BE49-F238E27FC236}">
                <a16:creationId xmlns:a16="http://schemas.microsoft.com/office/drawing/2014/main" id="{69E34156-9C4E-1B16-1687-53388EA08291}"/>
              </a:ext>
            </a:extLst>
          </p:cNvPr>
          <p:cNvGrpSpPr/>
          <p:nvPr/>
        </p:nvGrpSpPr>
        <p:grpSpPr>
          <a:xfrm>
            <a:off x="4047203" y="2028837"/>
            <a:ext cx="464760" cy="27000"/>
            <a:chOff x="4047203" y="2028837"/>
            <a:chExt cx="464760" cy="27000"/>
          </a:xfrm>
        </p:grpSpPr>
        <mc:AlternateContent xmlns:mc="http://schemas.openxmlformats.org/markup-compatibility/2006">
          <mc:Choice xmlns:p14="http://schemas.microsoft.com/office/powerpoint/2010/main" Requires="p14">
            <p:contentPart p14:bwMode="auto" r:id="rId38">
              <p14:nvContentPartPr>
                <p14:cNvPr id="21" name="Ink 20">
                  <a:extLst>
                    <a:ext uri="{FF2B5EF4-FFF2-40B4-BE49-F238E27FC236}">
                      <a16:creationId xmlns:a16="http://schemas.microsoft.com/office/drawing/2014/main" id="{DC726709-099C-2D03-8DB2-3BFE61CB97BF}"/>
                    </a:ext>
                  </a:extLst>
                </p14:cNvPr>
                <p14:cNvContentPartPr/>
                <p14:nvPr/>
              </p14:nvContentPartPr>
              <p14:xfrm>
                <a:off x="4047203" y="2028837"/>
                <a:ext cx="108000" cy="7920"/>
              </p14:xfrm>
            </p:contentPart>
          </mc:Choice>
          <mc:Fallback>
            <p:pic>
              <p:nvPicPr>
                <p:cNvPr id="21" name="Ink 20">
                  <a:extLst>
                    <a:ext uri="{FF2B5EF4-FFF2-40B4-BE49-F238E27FC236}">
                      <a16:creationId xmlns:a16="http://schemas.microsoft.com/office/drawing/2014/main" id="{DC726709-099C-2D03-8DB2-3BFE61CB97BF}"/>
                    </a:ext>
                  </a:extLst>
                </p:cNvPr>
                <p:cNvPicPr/>
                <p:nvPr/>
              </p:nvPicPr>
              <p:blipFill>
                <a:blip r:embed="rId39"/>
                <a:stretch>
                  <a:fillRect/>
                </a:stretch>
              </p:blipFill>
              <p:spPr>
                <a:xfrm>
                  <a:off x="4032083" y="2013357"/>
                  <a:ext cx="138600" cy="38520"/>
                </a:xfrm>
                <a:prstGeom prst="rect">
                  <a:avLst/>
                </a:prstGeom>
              </p:spPr>
            </p:pic>
          </mc:Fallback>
        </mc:AlternateContent>
        <mc:AlternateContent xmlns:mc="http://schemas.openxmlformats.org/markup-compatibility/2006">
          <mc:Choice xmlns:p14="http://schemas.microsoft.com/office/powerpoint/2010/main" Requires="p14">
            <p:contentPart p14:bwMode="auto" r:id="rId40">
              <p14:nvContentPartPr>
                <p14:cNvPr id="22" name="Ink 21">
                  <a:extLst>
                    <a:ext uri="{FF2B5EF4-FFF2-40B4-BE49-F238E27FC236}">
                      <a16:creationId xmlns:a16="http://schemas.microsoft.com/office/drawing/2014/main" id="{873CCFAF-11D4-1C24-6F43-53F57AFDFFFF}"/>
                    </a:ext>
                  </a:extLst>
                </p14:cNvPr>
                <p14:cNvContentPartPr/>
                <p14:nvPr/>
              </p14:nvContentPartPr>
              <p14:xfrm>
                <a:off x="4298123" y="2053677"/>
                <a:ext cx="54000" cy="2160"/>
              </p14:xfrm>
            </p:contentPart>
          </mc:Choice>
          <mc:Fallback>
            <p:pic>
              <p:nvPicPr>
                <p:cNvPr id="22" name="Ink 21">
                  <a:extLst>
                    <a:ext uri="{FF2B5EF4-FFF2-40B4-BE49-F238E27FC236}">
                      <a16:creationId xmlns:a16="http://schemas.microsoft.com/office/drawing/2014/main" id="{873CCFAF-11D4-1C24-6F43-53F57AFDFFFF}"/>
                    </a:ext>
                  </a:extLst>
                </p:cNvPr>
                <p:cNvPicPr/>
                <p:nvPr/>
              </p:nvPicPr>
              <p:blipFill>
                <a:blip r:embed="rId41"/>
                <a:stretch>
                  <a:fillRect/>
                </a:stretch>
              </p:blipFill>
              <p:spPr>
                <a:xfrm>
                  <a:off x="4283003" y="2038197"/>
                  <a:ext cx="84240" cy="32760"/>
                </a:xfrm>
                <a:prstGeom prst="rect">
                  <a:avLst/>
                </a:prstGeom>
              </p:spPr>
            </p:pic>
          </mc:Fallback>
        </mc:AlternateContent>
        <mc:AlternateContent xmlns:mc="http://schemas.openxmlformats.org/markup-compatibility/2006">
          <mc:Choice xmlns:p14="http://schemas.microsoft.com/office/powerpoint/2010/main" Requires="p14">
            <p:contentPart p14:bwMode="auto" r:id="rId42">
              <p14:nvContentPartPr>
                <p14:cNvPr id="23" name="Ink 22">
                  <a:extLst>
                    <a:ext uri="{FF2B5EF4-FFF2-40B4-BE49-F238E27FC236}">
                      <a16:creationId xmlns:a16="http://schemas.microsoft.com/office/drawing/2014/main" id="{43F394E3-6CF2-5BD1-51B0-6B02D42EAD98}"/>
                    </a:ext>
                  </a:extLst>
                </p14:cNvPr>
                <p14:cNvContentPartPr/>
                <p14:nvPr/>
              </p14:nvContentPartPr>
              <p14:xfrm>
                <a:off x="4421243" y="2037477"/>
                <a:ext cx="90720" cy="5400"/>
              </p14:xfrm>
            </p:contentPart>
          </mc:Choice>
          <mc:Fallback>
            <p:pic>
              <p:nvPicPr>
                <p:cNvPr id="23" name="Ink 22">
                  <a:extLst>
                    <a:ext uri="{FF2B5EF4-FFF2-40B4-BE49-F238E27FC236}">
                      <a16:creationId xmlns:a16="http://schemas.microsoft.com/office/drawing/2014/main" id="{43F394E3-6CF2-5BD1-51B0-6B02D42EAD98}"/>
                    </a:ext>
                  </a:extLst>
                </p:cNvPr>
                <p:cNvPicPr/>
                <p:nvPr/>
              </p:nvPicPr>
              <p:blipFill>
                <a:blip r:embed="rId43"/>
                <a:stretch>
                  <a:fillRect/>
                </a:stretch>
              </p:blipFill>
              <p:spPr>
                <a:xfrm>
                  <a:off x="4406123" y="2022357"/>
                  <a:ext cx="120960" cy="3600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44">
            <p14:nvContentPartPr>
              <p14:cNvPr id="25" name="Ink 24">
                <a:extLst>
                  <a:ext uri="{FF2B5EF4-FFF2-40B4-BE49-F238E27FC236}">
                    <a16:creationId xmlns:a16="http://schemas.microsoft.com/office/drawing/2014/main" id="{F94B26EF-90BE-9920-DE4D-FED9CEE51E72}"/>
                  </a:ext>
                </a:extLst>
              </p14:cNvPr>
              <p14:cNvContentPartPr/>
              <p14:nvPr/>
            </p14:nvContentPartPr>
            <p14:xfrm>
              <a:off x="5745323" y="1669197"/>
              <a:ext cx="360360" cy="2802240"/>
            </p14:xfrm>
          </p:contentPart>
        </mc:Choice>
        <mc:Fallback>
          <p:pic>
            <p:nvPicPr>
              <p:cNvPr id="25" name="Ink 24">
                <a:extLst>
                  <a:ext uri="{FF2B5EF4-FFF2-40B4-BE49-F238E27FC236}">
                    <a16:creationId xmlns:a16="http://schemas.microsoft.com/office/drawing/2014/main" id="{F94B26EF-90BE-9920-DE4D-FED9CEE51E72}"/>
                  </a:ext>
                </a:extLst>
              </p:cNvPr>
              <p:cNvPicPr/>
              <p:nvPr/>
            </p:nvPicPr>
            <p:blipFill>
              <a:blip r:embed="rId45"/>
              <a:stretch>
                <a:fillRect/>
              </a:stretch>
            </p:blipFill>
            <p:spPr>
              <a:xfrm>
                <a:off x="5730203" y="1654077"/>
                <a:ext cx="390960" cy="2832840"/>
              </a:xfrm>
              <a:prstGeom prst="rect">
                <a:avLst/>
              </a:prstGeom>
            </p:spPr>
          </p:pic>
        </mc:Fallback>
      </mc:AlternateContent>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0B5FD4-7162-49B9-B59A-93F14BE9ED85}"/>
              </a:ext>
            </a:extLst>
          </p:cNvPr>
          <p:cNvGraphicFramePr>
            <a:graphicFrameLocks noChangeAspect="1"/>
          </p:cNvGraphicFramePr>
          <p:nvPr>
            <p:custDataLst>
              <p:tags r:id="rId1"/>
            </p:custDataLst>
            <p:extLst>
              <p:ext uri="{D42A27DB-BD31-4B8C-83A1-F6EECF244321}">
                <p14:modId xmlns:p14="http://schemas.microsoft.com/office/powerpoint/2010/main" val="4073011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3A0B5FD4-7162-49B9-B59A-93F14BE9ED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2D730EBE-567D-40F6-B575-2A50997EC0BD}"/>
              </a:ext>
            </a:extLst>
          </p:cNvPr>
          <p:cNvPicPr>
            <a:picLocks noChangeAspect="1"/>
          </p:cNvPicPr>
          <p:nvPr/>
        </p:nvPicPr>
        <p:blipFill>
          <a:blip r:embed="rId5"/>
          <a:stretch>
            <a:fillRect/>
          </a:stretch>
        </p:blipFill>
        <p:spPr>
          <a:xfrm>
            <a:off x="230522" y="768403"/>
            <a:ext cx="8544644" cy="4049486"/>
          </a:xfrm>
          <a:prstGeom prst="rect">
            <a:avLst/>
          </a:prstGeom>
        </p:spPr>
      </p:pic>
    </p:spTree>
    <p:extLst>
      <p:ext uri="{BB962C8B-B14F-4D97-AF65-F5344CB8AC3E}">
        <p14:creationId xmlns:p14="http://schemas.microsoft.com/office/powerpoint/2010/main" val="38059007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68"/>
        <p:cNvGrpSpPr/>
        <p:nvPr/>
      </p:nvGrpSpPr>
      <p:grpSpPr>
        <a:xfrm>
          <a:off x="0" y="0"/>
          <a:ext cx="0" cy="0"/>
          <a:chOff x="0" y="0"/>
          <a:chExt cx="0" cy="0"/>
        </a:xfrm>
      </p:grpSpPr>
      <p:sp>
        <p:nvSpPr>
          <p:cNvPr id="69" name="Google Shape;69;p2"/>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2800"/>
              <a:buNone/>
            </a:pPr>
            <a:r>
              <a:rPr lang="en"/>
              <a:t>What we have learnt in this week’s videos?</a:t>
            </a:r>
            <a:endParaRPr/>
          </a:p>
        </p:txBody>
      </p:sp>
      <p:sp>
        <p:nvSpPr>
          <p:cNvPr id="70" name="Google Shape;70;p2"/>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p>
            <a:pPr marL="457200" lvl="0" indent="-342900" algn="l" rtl="0">
              <a:lnSpc>
                <a:spcPct val="115000"/>
              </a:lnSpc>
              <a:spcBef>
                <a:spcPts val="0"/>
              </a:spcBef>
              <a:spcAft>
                <a:spcPts val="0"/>
              </a:spcAft>
              <a:buSzPts val="1800"/>
              <a:buChar char="●"/>
            </a:pPr>
            <a:r>
              <a:rPr lang="en"/>
              <a:t>Semantic Segmentation</a:t>
            </a:r>
            <a:endParaRPr/>
          </a:p>
          <a:p>
            <a:pPr marL="457200" lvl="0" indent="-342900" algn="l" rtl="0">
              <a:lnSpc>
                <a:spcPct val="115000"/>
              </a:lnSpc>
              <a:spcBef>
                <a:spcPts val="0"/>
              </a:spcBef>
              <a:spcAft>
                <a:spcPts val="0"/>
              </a:spcAft>
              <a:buSzPts val="1800"/>
              <a:buChar char="●"/>
            </a:pPr>
            <a:r>
              <a:rPr lang="en"/>
              <a:t>U-Net</a:t>
            </a:r>
            <a:endParaRPr/>
          </a:p>
          <a:p>
            <a:pPr marL="457200" lvl="0" indent="-342900" algn="l" rtl="0">
              <a:lnSpc>
                <a:spcPct val="115000"/>
              </a:lnSpc>
              <a:spcBef>
                <a:spcPts val="0"/>
              </a:spcBef>
              <a:spcAft>
                <a:spcPts val="0"/>
              </a:spcAft>
              <a:buSzPts val="1800"/>
              <a:buChar char="●"/>
            </a:pPr>
            <a:r>
              <a:rPr lang="en"/>
              <a:t>Inception and Mobilenet</a:t>
            </a:r>
            <a:endParaRPr/>
          </a:p>
          <a:p>
            <a:pPr marL="457200" lvl="0" indent="-342900" algn="l" rtl="0">
              <a:lnSpc>
                <a:spcPct val="115000"/>
              </a:lnSpc>
              <a:spcBef>
                <a:spcPts val="0"/>
              </a:spcBef>
              <a:spcAft>
                <a:spcPts val="0"/>
              </a:spcAft>
              <a:buSzPts val="1800"/>
              <a:buChar char="●"/>
            </a:pPr>
            <a:r>
              <a:rPr lang="en"/>
              <a:t>Faster RCNN</a:t>
            </a:r>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72"/>
        <p:cNvGrpSpPr/>
        <p:nvPr/>
      </p:nvGrpSpPr>
      <p:grpSpPr>
        <a:xfrm>
          <a:off x="0" y="0"/>
          <a:ext cx="0" cy="0"/>
          <a:chOff x="0" y="0"/>
          <a:chExt cx="0" cy="0"/>
        </a:xfrm>
      </p:grpSpPr>
      <p:sp>
        <p:nvSpPr>
          <p:cNvPr id="173" name="Google Shape;173;p18"/>
          <p:cNvSpPr txBox="1">
            <a:spLocks noGrp="1"/>
          </p:cNvSpPr>
          <p:nvPr>
            <p:ph type="title"/>
          </p:nvPr>
        </p:nvSpPr>
        <p:spPr>
          <a:xfrm>
            <a:off x="311700" y="2285400"/>
            <a:ext cx="8520600" cy="572700"/>
          </a:xfrm>
          <a:prstGeom prst="rect">
            <a:avLst/>
          </a:prstGeom>
          <a:noFill/>
          <a:ln>
            <a:noFill/>
          </a:ln>
        </p:spPr>
        <p:txBody>
          <a:bodyPr spcFirstLastPara="1" wrap="square" lIns="91425" tIns="91425" rIns="91425" bIns="91425" anchor="t" anchorCtr="0">
            <a:noAutofit/>
          </a:bodyPr>
          <a:lstStyle/>
          <a:p>
            <a:pPr marL="0" lvl="0" indent="0" algn="ctr" rtl="0">
              <a:lnSpc>
                <a:spcPct val="100000"/>
              </a:lnSpc>
              <a:spcBef>
                <a:spcPts val="0"/>
              </a:spcBef>
              <a:spcAft>
                <a:spcPts val="0"/>
              </a:spcAft>
              <a:buSzPts val="2800"/>
              <a:buNone/>
            </a:pPr>
            <a:r>
              <a:rPr lang="en" sz="3600" b="1">
                <a:solidFill>
                  <a:srgbClr val="0B5394"/>
                </a:solidFill>
              </a:rPr>
              <a:t>Faster</a:t>
            </a:r>
            <a:r>
              <a:rPr lang="en" sz="3600"/>
              <a:t> </a:t>
            </a:r>
            <a:r>
              <a:rPr lang="en" sz="3600">
                <a:solidFill>
                  <a:srgbClr val="3D85C6"/>
                </a:solidFill>
              </a:rPr>
              <a:t>RCNN</a:t>
            </a:r>
            <a:endParaRPr sz="3600">
              <a:solidFill>
                <a:srgbClr val="3D85C6"/>
              </a:solidFill>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177"/>
        <p:cNvGrpSpPr/>
        <p:nvPr/>
      </p:nvGrpSpPr>
      <p:grpSpPr>
        <a:xfrm>
          <a:off x="0" y="0"/>
          <a:ext cx="0" cy="0"/>
          <a:chOff x="0" y="0"/>
          <a:chExt cx="0" cy="0"/>
        </a:xfrm>
      </p:grpSpPr>
      <p:sp>
        <p:nvSpPr>
          <p:cNvPr id="178" name="Google Shape;178;p19"/>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2800"/>
              <a:buNone/>
            </a:pPr>
            <a:r>
              <a:rPr lang="en"/>
              <a:t>Region Proposal Network (RPN)</a:t>
            </a:r>
            <a:endParaRPr/>
          </a:p>
          <a:p>
            <a:pPr marL="0" lvl="0" indent="0" algn="l" rtl="0">
              <a:lnSpc>
                <a:spcPct val="100000"/>
              </a:lnSpc>
              <a:spcBef>
                <a:spcPts val="0"/>
              </a:spcBef>
              <a:spcAft>
                <a:spcPts val="0"/>
              </a:spcAft>
              <a:buSzPts val="2800"/>
              <a:buNone/>
            </a:pPr>
            <a:endParaRPr/>
          </a:p>
        </p:txBody>
      </p:sp>
      <p:sp>
        <p:nvSpPr>
          <p:cNvPr id="179" name="Google Shape;179;p19"/>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800"/>
              <a:buNone/>
            </a:pPr>
            <a:endParaRPr sz="1200" b="1">
              <a:solidFill>
                <a:schemeClr val="dk1"/>
              </a:solidFill>
              <a:highlight>
                <a:srgbClr val="FFFFFF"/>
              </a:highlight>
            </a:endParaRPr>
          </a:p>
          <a:p>
            <a:pPr marL="0" lvl="0" indent="0" algn="l" rtl="0">
              <a:lnSpc>
                <a:spcPct val="100000"/>
              </a:lnSpc>
              <a:spcBef>
                <a:spcPts val="1600"/>
              </a:spcBef>
              <a:spcAft>
                <a:spcPts val="0"/>
              </a:spcAft>
              <a:buSzPts val="1800"/>
              <a:buNone/>
            </a:pPr>
            <a:endParaRPr sz="1200" b="1">
              <a:solidFill>
                <a:schemeClr val="dk1"/>
              </a:solidFill>
              <a:highlight>
                <a:srgbClr val="FFFFFF"/>
              </a:highlight>
            </a:endParaRPr>
          </a:p>
          <a:p>
            <a:pPr marL="0" lvl="0" indent="0" algn="l" rtl="0">
              <a:lnSpc>
                <a:spcPct val="100000"/>
              </a:lnSpc>
              <a:spcBef>
                <a:spcPts val="1600"/>
              </a:spcBef>
              <a:spcAft>
                <a:spcPts val="0"/>
              </a:spcAft>
              <a:buSzPts val="1800"/>
              <a:buNone/>
            </a:pPr>
            <a:endParaRPr sz="1200" b="1">
              <a:solidFill>
                <a:schemeClr val="dk1"/>
              </a:solidFill>
              <a:highlight>
                <a:srgbClr val="FFFFFF"/>
              </a:highlight>
            </a:endParaRPr>
          </a:p>
          <a:p>
            <a:pPr marL="0" lvl="0" indent="0" algn="l" rtl="0">
              <a:lnSpc>
                <a:spcPct val="100000"/>
              </a:lnSpc>
              <a:spcBef>
                <a:spcPts val="1600"/>
              </a:spcBef>
              <a:spcAft>
                <a:spcPts val="0"/>
              </a:spcAft>
              <a:buSzPts val="1800"/>
              <a:buNone/>
            </a:pPr>
            <a:endParaRPr sz="1200" b="1">
              <a:solidFill>
                <a:schemeClr val="dk1"/>
              </a:solidFill>
              <a:highlight>
                <a:srgbClr val="FFFFFF"/>
              </a:highlight>
            </a:endParaRPr>
          </a:p>
          <a:p>
            <a:pPr marL="0" lvl="0" indent="0" algn="l" rtl="0">
              <a:lnSpc>
                <a:spcPct val="100000"/>
              </a:lnSpc>
              <a:spcBef>
                <a:spcPts val="1600"/>
              </a:spcBef>
              <a:spcAft>
                <a:spcPts val="0"/>
              </a:spcAft>
              <a:buSzPts val="1800"/>
              <a:buNone/>
            </a:pPr>
            <a:endParaRPr sz="1200" b="1">
              <a:solidFill>
                <a:schemeClr val="dk1"/>
              </a:solidFill>
              <a:highlight>
                <a:srgbClr val="FFFFFF"/>
              </a:highlight>
            </a:endParaRPr>
          </a:p>
          <a:p>
            <a:pPr marL="0" lvl="0" indent="0" algn="l" rtl="0">
              <a:lnSpc>
                <a:spcPct val="100000"/>
              </a:lnSpc>
              <a:spcBef>
                <a:spcPts val="1600"/>
              </a:spcBef>
              <a:spcAft>
                <a:spcPts val="0"/>
              </a:spcAft>
              <a:buSzPts val="1800"/>
              <a:buNone/>
            </a:pPr>
            <a:endParaRPr sz="1200" b="1">
              <a:solidFill>
                <a:schemeClr val="dk1"/>
              </a:solidFill>
              <a:highlight>
                <a:srgbClr val="FFFFFF"/>
              </a:highlight>
            </a:endParaRPr>
          </a:p>
          <a:p>
            <a:pPr marL="0" lvl="0" indent="0" algn="l" rtl="0">
              <a:lnSpc>
                <a:spcPct val="100000"/>
              </a:lnSpc>
              <a:spcBef>
                <a:spcPts val="1600"/>
              </a:spcBef>
              <a:spcAft>
                <a:spcPts val="0"/>
              </a:spcAft>
              <a:buSzPts val="1800"/>
              <a:buNone/>
            </a:pPr>
            <a:endParaRPr sz="1200" b="1">
              <a:solidFill>
                <a:schemeClr val="dk1"/>
              </a:solidFill>
              <a:highlight>
                <a:srgbClr val="FFFFFF"/>
              </a:highlight>
            </a:endParaRPr>
          </a:p>
          <a:p>
            <a:pPr marL="0" lvl="0" indent="0" algn="l" rtl="0">
              <a:lnSpc>
                <a:spcPct val="100000"/>
              </a:lnSpc>
              <a:spcBef>
                <a:spcPts val="1600"/>
              </a:spcBef>
              <a:spcAft>
                <a:spcPts val="0"/>
              </a:spcAft>
              <a:buSzPts val="1800"/>
              <a:buNone/>
            </a:pPr>
            <a:r>
              <a:rPr lang="en" sz="1200">
                <a:solidFill>
                  <a:schemeClr val="dk1"/>
                </a:solidFill>
                <a:highlight>
                  <a:srgbClr val="FFFFFF"/>
                </a:highlight>
              </a:rPr>
              <a:t>RPN is small neural network sliding on the last feature map of the convolution layers and predict wether there is an object or not and also predict the bounding box of those objects.</a:t>
            </a:r>
            <a:endParaRPr sz="1200">
              <a:solidFill>
                <a:schemeClr val="dk1"/>
              </a:solidFill>
              <a:highlight>
                <a:srgbClr val="FFFFFF"/>
              </a:highlight>
            </a:endParaRPr>
          </a:p>
          <a:p>
            <a:pPr marL="0" lvl="0" indent="0" algn="l" rtl="0">
              <a:lnSpc>
                <a:spcPct val="100000"/>
              </a:lnSpc>
              <a:spcBef>
                <a:spcPts val="1600"/>
              </a:spcBef>
              <a:spcAft>
                <a:spcPts val="0"/>
              </a:spcAft>
              <a:buSzPts val="1800"/>
              <a:buNone/>
            </a:pPr>
            <a:endParaRPr sz="1600">
              <a:solidFill>
                <a:schemeClr val="dk1"/>
              </a:solidFill>
              <a:highlight>
                <a:srgbClr val="FFFFFF"/>
              </a:highlight>
              <a:latin typeface="Georgia"/>
              <a:ea typeface="Georgia"/>
              <a:cs typeface="Georgia"/>
              <a:sym typeface="Georgia"/>
            </a:endParaRPr>
          </a:p>
          <a:p>
            <a:pPr marL="0" lvl="0" indent="0" algn="l" rtl="0">
              <a:lnSpc>
                <a:spcPct val="100000"/>
              </a:lnSpc>
              <a:spcBef>
                <a:spcPts val="1600"/>
              </a:spcBef>
              <a:spcAft>
                <a:spcPts val="1600"/>
              </a:spcAft>
              <a:buSzPts val="1800"/>
              <a:buNone/>
            </a:pPr>
            <a:endParaRPr sz="1600">
              <a:solidFill>
                <a:schemeClr val="dk1"/>
              </a:solidFill>
              <a:highlight>
                <a:srgbClr val="FFFFFF"/>
              </a:highlight>
              <a:latin typeface="Georgia"/>
              <a:ea typeface="Georgia"/>
              <a:cs typeface="Georgia"/>
              <a:sym typeface="Georgia"/>
            </a:endParaRPr>
          </a:p>
        </p:txBody>
      </p:sp>
      <p:pic>
        <p:nvPicPr>
          <p:cNvPr id="180" name="Google Shape;180;p19"/>
          <p:cNvPicPr preferRelativeResize="0"/>
          <p:nvPr/>
        </p:nvPicPr>
        <p:blipFill rotWithShape="1">
          <a:blip r:embed="rId3">
            <a:alphaModFix/>
          </a:blip>
          <a:srcRect/>
          <a:stretch/>
        </p:blipFill>
        <p:spPr>
          <a:xfrm>
            <a:off x="2228350" y="1017725"/>
            <a:ext cx="4687325" cy="2636626"/>
          </a:xfrm>
          <a:prstGeom prst="rect">
            <a:avLst/>
          </a:prstGeom>
          <a:noFill/>
          <a:ln>
            <a:noFill/>
          </a:ln>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84"/>
        <p:cNvGrpSpPr/>
        <p:nvPr/>
      </p:nvGrpSpPr>
      <p:grpSpPr>
        <a:xfrm>
          <a:off x="0" y="0"/>
          <a:ext cx="0" cy="0"/>
          <a:chOff x="0" y="0"/>
          <a:chExt cx="0" cy="0"/>
        </a:xfrm>
      </p:grpSpPr>
      <p:sp>
        <p:nvSpPr>
          <p:cNvPr id="185" name="Google Shape;185;p20"/>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2800"/>
              <a:buNone/>
            </a:pPr>
            <a:r>
              <a:rPr lang="en"/>
              <a:t>Faster RCNN</a:t>
            </a:r>
            <a:endParaRPr/>
          </a:p>
        </p:txBody>
      </p:sp>
      <p:sp>
        <p:nvSpPr>
          <p:cNvPr id="186" name="Google Shape;186;p20"/>
          <p:cNvSpPr txBox="1">
            <a:spLocks noGrp="1"/>
          </p:cNvSpPr>
          <p:nvPr>
            <p:ph type="body" idx="1"/>
          </p:nvPr>
        </p:nvSpPr>
        <p:spPr>
          <a:xfrm>
            <a:off x="311700" y="950200"/>
            <a:ext cx="8520600" cy="4125900"/>
          </a:xfrm>
          <a:prstGeom prst="rect">
            <a:avLst/>
          </a:prstGeom>
          <a:noFill/>
          <a:ln>
            <a:noFill/>
          </a:ln>
        </p:spPr>
        <p:txBody>
          <a:bodyPr spcFirstLastPara="1" wrap="square" lIns="91425" tIns="91425" rIns="91425" bIns="91425" anchor="t" anchorCtr="0">
            <a:noAutofit/>
          </a:bodyPr>
          <a:lstStyle/>
          <a:p>
            <a:pPr marL="2286000" lvl="0" indent="457200" algn="l" rtl="0">
              <a:lnSpc>
                <a:spcPct val="115000"/>
              </a:lnSpc>
              <a:spcBef>
                <a:spcPts val="0"/>
              </a:spcBef>
              <a:spcAft>
                <a:spcPts val="0"/>
              </a:spcAft>
              <a:buSzPts val="1800"/>
              <a:buNone/>
            </a:pPr>
            <a:r>
              <a:rPr lang="en" sz="1200">
                <a:solidFill>
                  <a:schemeClr val="dk1"/>
                </a:solidFill>
                <a:highlight>
                  <a:srgbClr val="FFFFFF"/>
                </a:highlight>
              </a:rPr>
              <a:t>Using another Fully connected neural networks that takes as an input the regions proposed by the RPN and predict object class ( classification) and Bounding boxes (Regression).						</a:t>
            </a:r>
            <a:endParaRPr sz="1200">
              <a:solidFill>
                <a:schemeClr val="dk1"/>
              </a:solidFill>
              <a:highlight>
                <a:srgbClr val="FFFFFF"/>
              </a:highlight>
            </a:endParaRPr>
          </a:p>
          <a:p>
            <a:pPr marL="5029200" lvl="0" indent="457200" algn="l" rtl="0">
              <a:lnSpc>
                <a:spcPct val="115000"/>
              </a:lnSpc>
              <a:spcBef>
                <a:spcPts val="1600"/>
              </a:spcBef>
              <a:spcAft>
                <a:spcPts val="0"/>
              </a:spcAft>
              <a:buSzPts val="1800"/>
              <a:buNone/>
            </a:pPr>
            <a:r>
              <a:rPr lang="en" sz="1200" b="1">
                <a:solidFill>
                  <a:schemeClr val="dk1"/>
                </a:solidFill>
                <a:highlight>
                  <a:srgbClr val="FFFFFF"/>
                </a:highlight>
              </a:rPr>
              <a:t>ROI Pooling:</a:t>
            </a:r>
            <a:endParaRPr sz="1200" b="1">
              <a:solidFill>
                <a:schemeClr val="dk1"/>
              </a:solidFill>
              <a:highlight>
                <a:srgbClr val="FFFFFF"/>
              </a:highlight>
            </a:endParaRPr>
          </a:p>
          <a:p>
            <a:pPr marL="5486400" lvl="0" indent="457200" algn="l" rtl="0">
              <a:lnSpc>
                <a:spcPct val="100000"/>
              </a:lnSpc>
              <a:spcBef>
                <a:spcPts val="1600"/>
              </a:spcBef>
              <a:spcAft>
                <a:spcPts val="0"/>
              </a:spcAft>
              <a:buClr>
                <a:schemeClr val="dk1"/>
              </a:buClr>
              <a:buSzPts val="1100"/>
              <a:buFont typeface="Arial"/>
              <a:buNone/>
            </a:pPr>
            <a:r>
              <a:rPr lang="en" sz="1200">
                <a:solidFill>
                  <a:schemeClr val="dk1"/>
                </a:solidFill>
                <a:highlight>
                  <a:srgbClr val="FFFFFF"/>
                </a:highlight>
              </a:rPr>
              <a:t>For every region of interest from the input list, it takes a section of the input feature map that corresponds to it and scales it to some predefined size (e.g., 7×7).</a:t>
            </a:r>
            <a:endParaRPr sz="1200">
              <a:solidFill>
                <a:schemeClr val="dk1"/>
              </a:solidFill>
              <a:highlight>
                <a:srgbClr val="FFFFFF"/>
              </a:highlight>
            </a:endParaRPr>
          </a:p>
          <a:p>
            <a:pPr marL="0" lvl="0" indent="0" algn="l" rtl="0">
              <a:lnSpc>
                <a:spcPct val="170000"/>
              </a:lnSpc>
              <a:spcBef>
                <a:spcPts val="1600"/>
              </a:spcBef>
              <a:spcAft>
                <a:spcPts val="0"/>
              </a:spcAft>
              <a:buSzPts val="1800"/>
              <a:buNone/>
            </a:pPr>
            <a:r>
              <a:rPr lang="en" sz="1200">
                <a:solidFill>
                  <a:schemeClr val="dk1"/>
                </a:solidFill>
              </a:rPr>
              <a:t>The scaling is done by:					</a:t>
            </a:r>
            <a:endParaRPr sz="1200">
              <a:solidFill>
                <a:schemeClr val="dk1"/>
              </a:solidFill>
            </a:endParaRPr>
          </a:p>
          <a:p>
            <a:pPr marL="0" lvl="0" indent="0" algn="l" rtl="0">
              <a:lnSpc>
                <a:spcPct val="170000"/>
              </a:lnSpc>
              <a:spcBef>
                <a:spcPts val="900"/>
              </a:spcBef>
              <a:spcAft>
                <a:spcPts val="0"/>
              </a:spcAft>
              <a:buClr>
                <a:schemeClr val="dk1"/>
              </a:buClr>
              <a:buSzPts val="1100"/>
              <a:buFont typeface="Arial"/>
              <a:buNone/>
            </a:pPr>
            <a:r>
              <a:rPr lang="en" sz="1200">
                <a:solidFill>
                  <a:schemeClr val="dk1"/>
                </a:solidFill>
              </a:rPr>
              <a:t>T</a:t>
            </a:r>
            <a:endParaRPr sz="1200">
              <a:solidFill>
                <a:schemeClr val="dk1"/>
              </a:solidFill>
            </a:endParaRPr>
          </a:p>
          <a:p>
            <a:pPr marL="3492500" lvl="0" indent="-304800" algn="l" rtl="0">
              <a:lnSpc>
                <a:spcPct val="100000"/>
              </a:lnSpc>
              <a:spcBef>
                <a:spcPts val="900"/>
              </a:spcBef>
              <a:spcAft>
                <a:spcPts val="0"/>
              </a:spcAft>
              <a:buClr>
                <a:schemeClr val="dk1"/>
              </a:buClr>
              <a:buSzPts val="1200"/>
              <a:buChar char="●"/>
            </a:pPr>
            <a:r>
              <a:rPr lang="en" sz="1200">
                <a:solidFill>
                  <a:schemeClr val="dk1"/>
                </a:solidFill>
              </a:rPr>
              <a:t>Dividing the region proposal into equal-sized sections (the number of which is the same as the dimension of the output)</a:t>
            </a:r>
            <a:endParaRPr sz="1200">
              <a:solidFill>
                <a:schemeClr val="dk1"/>
              </a:solidFill>
            </a:endParaRPr>
          </a:p>
          <a:p>
            <a:pPr marL="3492500" lvl="0" indent="-304800" algn="l" rtl="0">
              <a:lnSpc>
                <a:spcPct val="100000"/>
              </a:lnSpc>
              <a:spcBef>
                <a:spcPts val="0"/>
              </a:spcBef>
              <a:spcAft>
                <a:spcPts val="0"/>
              </a:spcAft>
              <a:buClr>
                <a:schemeClr val="dk1"/>
              </a:buClr>
              <a:buSzPts val="1200"/>
              <a:buChar char="●"/>
            </a:pPr>
            <a:r>
              <a:rPr lang="en" sz="1200">
                <a:solidFill>
                  <a:schemeClr val="dk1"/>
                </a:solidFill>
              </a:rPr>
              <a:t>Finding the largest value in each section</a:t>
            </a:r>
            <a:endParaRPr sz="1200">
              <a:solidFill>
                <a:schemeClr val="dk1"/>
              </a:solidFill>
            </a:endParaRPr>
          </a:p>
          <a:p>
            <a:pPr marL="3492500" lvl="0" indent="-304800" algn="l" rtl="0">
              <a:lnSpc>
                <a:spcPct val="100000"/>
              </a:lnSpc>
              <a:spcBef>
                <a:spcPts val="0"/>
              </a:spcBef>
              <a:spcAft>
                <a:spcPts val="0"/>
              </a:spcAft>
              <a:buClr>
                <a:schemeClr val="dk1"/>
              </a:buClr>
              <a:buSzPts val="1200"/>
              <a:buChar char="●"/>
            </a:pPr>
            <a:r>
              <a:rPr lang="en" sz="1200">
                <a:solidFill>
                  <a:schemeClr val="dk1"/>
                </a:solidFill>
              </a:rPr>
              <a:t>Copying these max values to the output buffer.</a:t>
            </a:r>
            <a:endParaRPr sz="1200">
              <a:solidFill>
                <a:schemeClr val="dk1"/>
              </a:solidFill>
            </a:endParaRPr>
          </a:p>
          <a:p>
            <a:pPr marL="3657600" lvl="0" indent="0" algn="l" rtl="0">
              <a:lnSpc>
                <a:spcPct val="100000"/>
              </a:lnSpc>
              <a:spcBef>
                <a:spcPts val="3000"/>
              </a:spcBef>
              <a:spcAft>
                <a:spcPts val="0"/>
              </a:spcAft>
              <a:buSzPts val="1800"/>
              <a:buNone/>
            </a:pPr>
            <a:endParaRPr sz="1200">
              <a:solidFill>
                <a:schemeClr val="dk1"/>
              </a:solidFill>
              <a:highlight>
                <a:srgbClr val="FFFFFF"/>
              </a:highlight>
            </a:endParaRPr>
          </a:p>
          <a:p>
            <a:pPr marL="3657600" lvl="0" indent="457200" algn="l" rtl="0">
              <a:lnSpc>
                <a:spcPct val="115000"/>
              </a:lnSpc>
              <a:spcBef>
                <a:spcPts val="1600"/>
              </a:spcBef>
              <a:spcAft>
                <a:spcPts val="1600"/>
              </a:spcAft>
              <a:buSzPts val="1800"/>
              <a:buNone/>
            </a:pPr>
            <a:endParaRPr sz="1200">
              <a:solidFill>
                <a:schemeClr val="dk1"/>
              </a:solidFill>
              <a:highlight>
                <a:srgbClr val="FFFFFF"/>
              </a:highlight>
            </a:endParaRPr>
          </a:p>
        </p:txBody>
      </p:sp>
      <p:pic>
        <p:nvPicPr>
          <p:cNvPr id="187" name="Google Shape;187;p20"/>
          <p:cNvPicPr preferRelativeResize="0"/>
          <p:nvPr/>
        </p:nvPicPr>
        <p:blipFill rotWithShape="1">
          <a:blip r:embed="rId3">
            <a:alphaModFix/>
          </a:blip>
          <a:srcRect/>
          <a:stretch/>
        </p:blipFill>
        <p:spPr>
          <a:xfrm>
            <a:off x="361500" y="1017725"/>
            <a:ext cx="2200970" cy="4125775"/>
          </a:xfrm>
          <a:prstGeom prst="rect">
            <a:avLst/>
          </a:prstGeom>
          <a:noFill/>
          <a:ln>
            <a:noFill/>
          </a:ln>
        </p:spPr>
      </p:pic>
      <p:pic>
        <p:nvPicPr>
          <p:cNvPr id="188" name="Google Shape;188;p20"/>
          <p:cNvPicPr preferRelativeResize="0"/>
          <p:nvPr/>
        </p:nvPicPr>
        <p:blipFill rotWithShape="1">
          <a:blip r:embed="rId4">
            <a:alphaModFix/>
          </a:blip>
          <a:srcRect/>
          <a:stretch/>
        </p:blipFill>
        <p:spPr>
          <a:xfrm>
            <a:off x="2654375" y="1678350"/>
            <a:ext cx="3453376" cy="1942525"/>
          </a:xfrm>
          <a:prstGeom prst="rect">
            <a:avLst/>
          </a:prstGeom>
          <a:noFill/>
          <a:ln>
            <a:noFill/>
          </a:ln>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96"/>
        <p:cNvGrpSpPr/>
        <p:nvPr/>
      </p:nvGrpSpPr>
      <p:grpSpPr>
        <a:xfrm>
          <a:off x="0" y="0"/>
          <a:ext cx="0" cy="0"/>
          <a:chOff x="0" y="0"/>
          <a:chExt cx="0" cy="0"/>
        </a:xfrm>
      </p:grpSpPr>
      <p:sp>
        <p:nvSpPr>
          <p:cNvPr id="98" name="Google Shape;98;p1"/>
          <p:cNvSpPr/>
          <p:nvPr/>
        </p:nvSpPr>
        <p:spPr>
          <a:xfrm>
            <a:off x="1" y="7433"/>
            <a:ext cx="9143999" cy="5171527"/>
          </a:xfrm>
          <a:prstGeom prst="rect">
            <a:avLst/>
          </a:prstGeom>
          <a:gradFill>
            <a:gsLst>
              <a:gs pos="0">
                <a:srgbClr val="051249"/>
              </a:gs>
              <a:gs pos="50000">
                <a:srgbClr val="040F47"/>
              </a:gs>
              <a:gs pos="100000">
                <a:srgbClr val="020842"/>
              </a:gs>
            </a:gsLst>
            <a:lin ang="5400012" scaled="0"/>
          </a:gradFill>
          <a:ln>
            <a:noFill/>
          </a:ln>
        </p:spPr>
        <p:txBody>
          <a:bodyPr spcFirstLastPara="1" wrap="square" lIns="68569" tIns="68569" rIns="68569" bIns="68569" anchor="ctr" anchorCtr="0">
            <a:noAutofit/>
          </a:bodyPr>
          <a:lstStyle/>
          <a:p>
            <a:endParaRPr sz="1050"/>
          </a:p>
        </p:txBody>
      </p:sp>
      <p:pic>
        <p:nvPicPr>
          <p:cNvPr id="97" name="Google Shape;97;p1"/>
          <p:cNvPicPr preferRelativeResize="0"/>
          <p:nvPr/>
        </p:nvPicPr>
        <p:blipFill rotWithShape="1">
          <a:blip r:embed="rId3">
            <a:alphaModFix/>
          </a:blip>
          <a:srcRect l="51444" t="2456" r="7298"/>
          <a:stretch/>
        </p:blipFill>
        <p:spPr>
          <a:xfrm>
            <a:off x="1" y="316523"/>
            <a:ext cx="3597812" cy="4862436"/>
          </a:xfrm>
          <a:prstGeom prst="rect">
            <a:avLst/>
          </a:prstGeom>
          <a:noFill/>
          <a:ln>
            <a:noFill/>
          </a:ln>
        </p:spPr>
      </p:pic>
      <p:pic>
        <p:nvPicPr>
          <p:cNvPr id="99" name="Google Shape;99;p1"/>
          <p:cNvPicPr preferRelativeResize="0"/>
          <p:nvPr/>
        </p:nvPicPr>
        <p:blipFill rotWithShape="1">
          <a:blip r:embed="rId4">
            <a:alphaModFix/>
          </a:blip>
          <a:srcRect/>
          <a:stretch/>
        </p:blipFill>
        <p:spPr>
          <a:xfrm>
            <a:off x="7420469" y="91841"/>
            <a:ext cx="1723531" cy="604511"/>
          </a:xfrm>
          <a:prstGeom prst="rect">
            <a:avLst/>
          </a:prstGeom>
          <a:noFill/>
          <a:ln>
            <a:noFill/>
          </a:ln>
        </p:spPr>
      </p:pic>
      <p:sp>
        <p:nvSpPr>
          <p:cNvPr id="100" name="Google Shape;100;p1"/>
          <p:cNvSpPr/>
          <p:nvPr/>
        </p:nvSpPr>
        <p:spPr>
          <a:xfrm>
            <a:off x="3403926" y="158305"/>
            <a:ext cx="4113405" cy="1200298"/>
          </a:xfrm>
          <a:prstGeom prst="rect">
            <a:avLst/>
          </a:prstGeom>
          <a:noFill/>
          <a:ln>
            <a:noFill/>
          </a:ln>
        </p:spPr>
        <p:txBody>
          <a:bodyPr spcFirstLastPara="1" wrap="square" lIns="68569" tIns="34275" rIns="68569" bIns="34275" anchor="t" anchorCtr="0">
            <a:spAutoFit/>
          </a:bodyPr>
          <a:lstStyle/>
          <a:p>
            <a:pPr algn="just"/>
            <a:r>
              <a:rPr lang="en-US" sz="4050" b="1" i="1" dirty="0">
                <a:solidFill>
                  <a:srgbClr val="FFFFFF"/>
                </a:solidFill>
                <a:latin typeface="Montserrat"/>
                <a:ea typeface="Montserrat"/>
                <a:cs typeface="Montserrat"/>
                <a:sym typeface="Montserrat"/>
              </a:rPr>
              <a:t>AIML @WORK</a:t>
            </a:r>
            <a:endParaRPr sz="4050" b="1" i="1" dirty="0">
              <a:solidFill>
                <a:srgbClr val="FFFFFF"/>
              </a:solidFill>
              <a:latin typeface="Montserrat"/>
              <a:ea typeface="Montserrat"/>
              <a:cs typeface="Montserrat"/>
              <a:sym typeface="Montserrat"/>
            </a:endParaRPr>
          </a:p>
          <a:p>
            <a:pPr algn="just"/>
            <a:r>
              <a:rPr lang="en-US" sz="3300" i="1" dirty="0">
                <a:solidFill>
                  <a:schemeClr val="dk1"/>
                </a:solidFill>
                <a:latin typeface="Montserrat"/>
                <a:ea typeface="Montserrat"/>
                <a:cs typeface="Montserrat"/>
                <a:sym typeface="Montserrat"/>
              </a:rPr>
              <a:t> </a:t>
            </a:r>
            <a:r>
              <a:rPr lang="en-US" sz="1800" b="1" i="1" dirty="0">
                <a:solidFill>
                  <a:srgbClr val="FFFFFF"/>
                </a:solidFill>
                <a:latin typeface="Montserrat"/>
                <a:ea typeface="Montserrat"/>
                <a:cs typeface="Montserrat"/>
                <a:sym typeface="Montserrat"/>
              </a:rPr>
              <a:t>PGPAIML @ Great Learning</a:t>
            </a:r>
            <a:r>
              <a:rPr lang="en-US" sz="1350" b="1" i="1" dirty="0">
                <a:solidFill>
                  <a:srgbClr val="FFFFFF"/>
                </a:solidFill>
                <a:latin typeface="Montserrat"/>
                <a:ea typeface="Montserrat"/>
                <a:cs typeface="Montserrat"/>
                <a:sym typeface="Montserrat"/>
              </a:rPr>
              <a:t> </a:t>
            </a:r>
            <a:endParaRPr sz="1350" b="1" i="1" dirty="0">
              <a:solidFill>
                <a:srgbClr val="FFFFFF"/>
              </a:solidFill>
              <a:latin typeface="Montserrat"/>
              <a:ea typeface="Montserrat"/>
              <a:cs typeface="Montserrat"/>
              <a:sym typeface="Montserrat"/>
            </a:endParaRPr>
          </a:p>
        </p:txBody>
      </p:sp>
      <p:sp>
        <p:nvSpPr>
          <p:cNvPr id="101" name="Google Shape;101;p1"/>
          <p:cNvSpPr/>
          <p:nvPr/>
        </p:nvSpPr>
        <p:spPr>
          <a:xfrm>
            <a:off x="3517856" y="1246709"/>
            <a:ext cx="5022000" cy="323143"/>
          </a:xfrm>
          <a:prstGeom prst="rect">
            <a:avLst/>
          </a:prstGeom>
          <a:noFill/>
          <a:ln>
            <a:noFill/>
          </a:ln>
        </p:spPr>
        <p:txBody>
          <a:bodyPr spcFirstLastPara="1" wrap="square" lIns="68569" tIns="68569" rIns="68569" bIns="68569" anchor="t" anchorCtr="0">
            <a:spAutoFit/>
          </a:bodyPr>
          <a:lstStyle/>
          <a:p>
            <a:pPr lvl="0"/>
            <a:r>
              <a:rPr lang="en-US" sz="1200" b="1" i="1" dirty="0">
                <a:solidFill>
                  <a:srgbClr val="FFFFFF"/>
                </a:solidFill>
                <a:latin typeface="Montserrat"/>
              </a:rPr>
              <a:t>Enabling Learners to Apply the AI/ML Concepts at Work</a:t>
            </a:r>
            <a:endParaRPr sz="1200" b="1" i="1" dirty="0">
              <a:solidFill>
                <a:srgbClr val="FFFFFF"/>
              </a:solidFill>
              <a:latin typeface="Montserrat"/>
              <a:sym typeface="Montserrat"/>
            </a:endParaRPr>
          </a:p>
        </p:txBody>
      </p:sp>
      <p:sp>
        <p:nvSpPr>
          <p:cNvPr id="102" name="Google Shape;102;p1"/>
          <p:cNvSpPr/>
          <p:nvPr/>
        </p:nvSpPr>
        <p:spPr>
          <a:xfrm>
            <a:off x="7420469" y="4672322"/>
            <a:ext cx="1701213" cy="265435"/>
          </a:xfrm>
          <a:prstGeom prst="rect">
            <a:avLst/>
          </a:prstGeom>
          <a:noFill/>
          <a:ln>
            <a:noFill/>
          </a:ln>
        </p:spPr>
        <p:txBody>
          <a:bodyPr spcFirstLastPara="1" wrap="square" lIns="68569" tIns="68569" rIns="68569" bIns="68569" anchor="t" anchorCtr="0">
            <a:spAutoFit/>
          </a:bodyPr>
          <a:lstStyle/>
          <a:p>
            <a:r>
              <a:rPr lang="en-US" sz="825" b="1" i="1" dirty="0">
                <a:solidFill>
                  <a:srgbClr val="FFFFFF"/>
                </a:solidFill>
                <a:latin typeface="Montserrat"/>
                <a:ea typeface="Montserrat"/>
                <a:cs typeface="Montserrat"/>
                <a:sym typeface="Montserrat"/>
              </a:rPr>
              <a:t>AIML Operations | AIMLAW</a:t>
            </a:r>
            <a:endParaRPr sz="825" b="1" i="1" dirty="0">
              <a:solidFill>
                <a:srgbClr val="FFFFFF"/>
              </a:solidFill>
              <a:latin typeface="Montserrat"/>
              <a:ea typeface="Montserrat"/>
              <a:cs typeface="Montserrat"/>
              <a:sym typeface="Montserrat"/>
            </a:endParaRPr>
          </a:p>
        </p:txBody>
      </p:sp>
      <p:sp>
        <p:nvSpPr>
          <p:cNvPr id="103" name="Google Shape;103;p1"/>
          <p:cNvSpPr/>
          <p:nvPr/>
        </p:nvSpPr>
        <p:spPr>
          <a:xfrm>
            <a:off x="4881562" y="4876655"/>
            <a:ext cx="4262438" cy="230810"/>
          </a:xfrm>
          <a:prstGeom prst="rect">
            <a:avLst/>
          </a:prstGeom>
          <a:noFill/>
          <a:ln>
            <a:noFill/>
          </a:ln>
        </p:spPr>
        <p:txBody>
          <a:bodyPr spcFirstLastPara="1" wrap="square" lIns="68569" tIns="68569" rIns="68569" bIns="68569" anchor="t" anchorCtr="0">
            <a:spAutoFit/>
          </a:bodyPr>
          <a:lstStyle/>
          <a:p>
            <a:r>
              <a:rPr lang="en-US" sz="600" b="1" i="1" dirty="0">
                <a:solidFill>
                  <a:srgbClr val="FFFFFF"/>
                </a:solidFill>
                <a:latin typeface="Montserrat"/>
                <a:ea typeface="Montserrat"/>
                <a:cs typeface="Montserrat"/>
                <a:sym typeface="Montserrat"/>
              </a:rPr>
              <a:t>@Great Learning Proprietary Content. All rights reserved. Unauthorized use or distribution prohibited</a:t>
            </a:r>
            <a:endParaRPr sz="600" b="1" i="1" dirty="0">
              <a:solidFill>
                <a:srgbClr val="FFFFFF"/>
              </a:solidFill>
              <a:latin typeface="Montserrat"/>
              <a:ea typeface="Montserrat"/>
              <a:cs typeface="Montserrat"/>
              <a:sym typeface="Montserrat"/>
            </a:endParaRPr>
          </a:p>
        </p:txBody>
      </p:sp>
      <p:sp>
        <p:nvSpPr>
          <p:cNvPr id="2" name="TextBox 1">
            <a:extLst>
              <a:ext uri="{FF2B5EF4-FFF2-40B4-BE49-F238E27FC236}">
                <a16:creationId xmlns:a16="http://schemas.microsoft.com/office/drawing/2014/main" id="{08B1BD05-425E-487B-B1CC-9CBEB4843B3D}"/>
              </a:ext>
            </a:extLst>
          </p:cNvPr>
          <p:cNvSpPr txBox="1"/>
          <p:nvPr/>
        </p:nvSpPr>
        <p:spPr>
          <a:xfrm>
            <a:off x="3517857" y="1549156"/>
            <a:ext cx="5706100" cy="3300904"/>
          </a:xfrm>
          <a:prstGeom prst="rect">
            <a:avLst/>
          </a:prstGeom>
          <a:noFill/>
        </p:spPr>
        <p:txBody>
          <a:bodyPr wrap="square" rtlCol="0">
            <a:spAutoFit/>
          </a:bodyPr>
          <a:lstStyle/>
          <a:p>
            <a:pPr marL="9525">
              <a:lnSpc>
                <a:spcPct val="150000"/>
              </a:lnSpc>
              <a:spcBef>
                <a:spcPts val="68"/>
              </a:spcBef>
            </a:pPr>
            <a:r>
              <a:rPr lang="en-US" sz="1200" b="1" i="1" dirty="0">
                <a:solidFill>
                  <a:srgbClr val="FFFFFF"/>
                </a:solidFill>
                <a:latin typeface="Montserrat"/>
              </a:rPr>
              <a:t>Apply  </a:t>
            </a:r>
            <a:r>
              <a:rPr lang="en-US" sz="1200" b="1" i="1" dirty="0">
                <a:solidFill>
                  <a:srgbClr val="FFFF00"/>
                </a:solidFill>
                <a:latin typeface="Montserrat"/>
              </a:rPr>
              <a:t>AIML at your workplace </a:t>
            </a:r>
            <a:r>
              <a:rPr lang="en-US" sz="1200" b="1" i="1" dirty="0">
                <a:solidFill>
                  <a:srgbClr val="FFFFFF"/>
                </a:solidFill>
                <a:latin typeface="Montserrat"/>
              </a:rPr>
              <a:t>to gain some instant benefits:</a:t>
            </a:r>
          </a:p>
          <a:p>
            <a:pPr marL="433388" marR="1283017" indent="-424339">
              <a:lnSpc>
                <a:spcPct val="150000"/>
              </a:lnSpc>
              <a:buClr>
                <a:schemeClr val="bg1"/>
              </a:buClr>
              <a:buSzPct val="202000"/>
              <a:buChar char="•"/>
              <a:tabLst>
                <a:tab pos="433388" algn="l"/>
                <a:tab pos="433864" algn="l"/>
              </a:tabLst>
            </a:pPr>
            <a:r>
              <a:rPr lang="en-US" sz="1200" b="1" i="1" dirty="0">
                <a:solidFill>
                  <a:srgbClr val="FFFFFF"/>
                </a:solidFill>
                <a:latin typeface="Montserrat"/>
              </a:rPr>
              <a:t>Get noticed by your management with your outstanding analysis backed by data  science.</a:t>
            </a:r>
          </a:p>
          <a:p>
            <a:pPr marL="433388" marR="807720" indent="-424339">
              <a:lnSpc>
                <a:spcPct val="150000"/>
              </a:lnSpc>
              <a:buClr>
                <a:schemeClr val="bg1"/>
              </a:buClr>
              <a:buSzPct val="202000"/>
              <a:buChar char="•"/>
              <a:tabLst>
                <a:tab pos="433388" algn="l"/>
                <a:tab pos="433864" algn="l"/>
              </a:tabLst>
            </a:pPr>
            <a:r>
              <a:rPr lang="en-US" sz="1200" b="1" i="1" dirty="0">
                <a:solidFill>
                  <a:srgbClr val="FFFFFF"/>
                </a:solidFill>
                <a:latin typeface="Montserrat"/>
              </a:rPr>
              <a:t>Create an impact in your organization by taking up small projects/initiatives to solve  critical issues using data science.</a:t>
            </a:r>
          </a:p>
          <a:p>
            <a:pPr marL="433388" marR="786765" indent="-424339">
              <a:lnSpc>
                <a:spcPct val="150000"/>
              </a:lnSpc>
              <a:buClr>
                <a:schemeClr val="bg1"/>
              </a:buClr>
              <a:buSzPct val="202000"/>
              <a:buChar char="•"/>
              <a:tabLst>
                <a:tab pos="433388" algn="l"/>
                <a:tab pos="433864" algn="l"/>
              </a:tabLst>
            </a:pPr>
            <a:r>
              <a:rPr lang="en-US" sz="1200" b="1" i="1" dirty="0">
                <a:solidFill>
                  <a:srgbClr val="FFFFFF"/>
                </a:solidFill>
                <a:latin typeface="Montserrat"/>
              </a:rPr>
              <a:t>Network with members from the data science vertical of your organization and seek  opportunities to contribute in small projects.</a:t>
            </a:r>
          </a:p>
          <a:p>
            <a:pPr marL="433388" marR="3810" indent="-424339">
              <a:lnSpc>
                <a:spcPct val="150000"/>
              </a:lnSpc>
              <a:buClr>
                <a:schemeClr val="bg1"/>
              </a:buClr>
              <a:buSzPct val="202000"/>
              <a:buChar char="•"/>
              <a:tabLst>
                <a:tab pos="433388" algn="l"/>
                <a:tab pos="433864" algn="l"/>
              </a:tabLst>
            </a:pPr>
            <a:r>
              <a:rPr lang="en-US" sz="1200" b="1" i="1" dirty="0">
                <a:solidFill>
                  <a:srgbClr val="FFFFFF"/>
                </a:solidFill>
                <a:latin typeface="Montserrat"/>
              </a:rPr>
              <a:t>Share your success stories with us and the world to position yourself as a subject matter  expert in data science.</a:t>
            </a:r>
          </a:p>
          <a:p>
            <a:endParaRPr lang="en-US" sz="1050" dirty="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92"/>
        <p:cNvGrpSpPr/>
        <p:nvPr/>
      </p:nvGrpSpPr>
      <p:grpSpPr>
        <a:xfrm>
          <a:off x="0" y="0"/>
          <a:ext cx="0" cy="0"/>
          <a:chOff x="0" y="0"/>
          <a:chExt cx="0" cy="0"/>
        </a:xfrm>
      </p:grpSpPr>
      <p:sp>
        <p:nvSpPr>
          <p:cNvPr id="193" name="Google Shape;193;p21"/>
          <p:cNvSpPr txBox="1">
            <a:spLocks noGrp="1"/>
          </p:cNvSpPr>
          <p:nvPr>
            <p:ph type="title"/>
          </p:nvPr>
        </p:nvSpPr>
        <p:spPr>
          <a:xfrm>
            <a:off x="311700" y="2285400"/>
            <a:ext cx="8520600" cy="572700"/>
          </a:xfrm>
          <a:prstGeom prst="rect">
            <a:avLst/>
          </a:prstGeom>
          <a:noFill/>
          <a:ln>
            <a:noFill/>
          </a:ln>
        </p:spPr>
        <p:txBody>
          <a:bodyPr spcFirstLastPara="1" wrap="square" lIns="91425" tIns="91425" rIns="91425" bIns="91425" anchor="t" anchorCtr="0">
            <a:noAutofit/>
          </a:bodyPr>
          <a:lstStyle/>
          <a:p>
            <a:pPr marL="0" lvl="0" indent="0" algn="ctr" rtl="0">
              <a:lnSpc>
                <a:spcPct val="100000"/>
              </a:lnSpc>
              <a:spcBef>
                <a:spcPts val="0"/>
              </a:spcBef>
              <a:spcAft>
                <a:spcPts val="0"/>
              </a:spcAft>
              <a:buSzPts val="2800"/>
              <a:buNone/>
            </a:pPr>
            <a:r>
              <a:rPr lang="en" sz="3600" b="1">
                <a:solidFill>
                  <a:srgbClr val="0B5394"/>
                </a:solidFill>
              </a:rPr>
              <a:t>Summary</a:t>
            </a:r>
            <a:endParaRPr sz="3600">
              <a:solidFill>
                <a:srgbClr val="3D85C6"/>
              </a:solidFill>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97"/>
        <p:cNvGrpSpPr/>
        <p:nvPr/>
      </p:nvGrpSpPr>
      <p:grpSpPr>
        <a:xfrm>
          <a:off x="0" y="0"/>
          <a:ext cx="0" cy="0"/>
          <a:chOff x="0" y="0"/>
          <a:chExt cx="0" cy="0"/>
        </a:xfrm>
      </p:grpSpPr>
      <p:sp>
        <p:nvSpPr>
          <p:cNvPr id="198" name="Google Shape;198;p22"/>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2800"/>
              <a:buNone/>
            </a:pPr>
            <a:r>
              <a:rPr lang="en"/>
              <a:t>Summary</a:t>
            </a:r>
            <a:endParaRPr/>
          </a:p>
        </p:txBody>
      </p:sp>
      <p:sp>
        <p:nvSpPr>
          <p:cNvPr id="199" name="Google Shape;199;p22"/>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0"/>
              </a:spcBef>
              <a:spcAft>
                <a:spcPts val="0"/>
              </a:spcAft>
              <a:buSzPts val="1800"/>
              <a:buNone/>
            </a:pPr>
            <a:r>
              <a:rPr lang="en"/>
              <a:t>We learnt about,</a:t>
            </a:r>
            <a:endParaRPr/>
          </a:p>
          <a:p>
            <a:pPr marL="457200" lvl="0" indent="-342900" algn="l" rtl="0">
              <a:lnSpc>
                <a:spcPct val="115000"/>
              </a:lnSpc>
              <a:spcBef>
                <a:spcPts val="1600"/>
              </a:spcBef>
              <a:spcAft>
                <a:spcPts val="0"/>
              </a:spcAft>
              <a:buSzPts val="1800"/>
              <a:buChar char="●"/>
            </a:pPr>
            <a:r>
              <a:rPr lang="en"/>
              <a:t>Semantic Segmentation</a:t>
            </a:r>
            <a:endParaRPr/>
          </a:p>
          <a:p>
            <a:pPr marL="457200" lvl="0" indent="-342900" algn="l" rtl="0">
              <a:lnSpc>
                <a:spcPct val="115000"/>
              </a:lnSpc>
              <a:spcBef>
                <a:spcPts val="0"/>
              </a:spcBef>
              <a:spcAft>
                <a:spcPts val="0"/>
              </a:spcAft>
              <a:buSzPts val="1800"/>
              <a:buChar char="●"/>
            </a:pPr>
            <a:r>
              <a:rPr lang="en"/>
              <a:t>U-Net</a:t>
            </a:r>
            <a:endParaRPr/>
          </a:p>
          <a:p>
            <a:pPr marL="457200" lvl="0" indent="-342900" algn="l" rtl="0">
              <a:lnSpc>
                <a:spcPct val="115000"/>
              </a:lnSpc>
              <a:spcBef>
                <a:spcPts val="0"/>
              </a:spcBef>
              <a:spcAft>
                <a:spcPts val="0"/>
              </a:spcAft>
              <a:buSzPts val="1800"/>
              <a:buChar char="●"/>
            </a:pPr>
            <a:r>
              <a:rPr lang="en"/>
              <a:t>Depthwise Separable Convolutions</a:t>
            </a:r>
            <a:endParaRPr/>
          </a:p>
          <a:p>
            <a:pPr marL="457200" lvl="0" indent="-342900" algn="l" rtl="0">
              <a:lnSpc>
                <a:spcPct val="115000"/>
              </a:lnSpc>
              <a:spcBef>
                <a:spcPts val="0"/>
              </a:spcBef>
              <a:spcAft>
                <a:spcPts val="0"/>
              </a:spcAft>
              <a:buSzPts val="1800"/>
              <a:buChar char="●"/>
            </a:pPr>
            <a:r>
              <a:rPr lang="en"/>
              <a:t>Mobilenet</a:t>
            </a:r>
            <a:endParaRPr/>
          </a:p>
          <a:p>
            <a:pPr marL="457200" lvl="0" indent="-342900" algn="l" rtl="0">
              <a:lnSpc>
                <a:spcPct val="115000"/>
              </a:lnSpc>
              <a:spcBef>
                <a:spcPts val="0"/>
              </a:spcBef>
              <a:spcAft>
                <a:spcPts val="0"/>
              </a:spcAft>
              <a:buSzPts val="1800"/>
              <a:buChar char="●"/>
            </a:pPr>
            <a:r>
              <a:rPr lang="en"/>
              <a:t>Faster RCNN</a:t>
            </a:r>
            <a:endParaRPr/>
          </a:p>
          <a:p>
            <a:pPr marL="457200" lvl="0" indent="-342900" algn="l" rtl="0">
              <a:lnSpc>
                <a:spcPct val="115000"/>
              </a:lnSpc>
              <a:spcBef>
                <a:spcPts val="0"/>
              </a:spcBef>
              <a:spcAft>
                <a:spcPts val="0"/>
              </a:spcAft>
              <a:buSzPts val="1800"/>
              <a:buChar char="●"/>
            </a:pPr>
            <a:r>
              <a:rPr lang="en"/>
              <a:t>ROI Pooling</a:t>
            </a:r>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203"/>
        <p:cNvGrpSpPr/>
        <p:nvPr/>
      </p:nvGrpSpPr>
      <p:grpSpPr>
        <a:xfrm>
          <a:off x="0" y="0"/>
          <a:ext cx="0" cy="0"/>
          <a:chOff x="0" y="0"/>
          <a:chExt cx="0" cy="0"/>
        </a:xfrm>
      </p:grpSpPr>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74"/>
        <p:cNvGrpSpPr/>
        <p:nvPr/>
      </p:nvGrpSpPr>
      <p:grpSpPr>
        <a:xfrm>
          <a:off x="0" y="0"/>
          <a:ext cx="0" cy="0"/>
          <a:chOff x="0" y="0"/>
          <a:chExt cx="0" cy="0"/>
        </a:xfrm>
      </p:grpSpPr>
      <p:sp>
        <p:nvSpPr>
          <p:cNvPr id="75" name="Google Shape;75;p3"/>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2800"/>
              <a:buNone/>
            </a:pPr>
            <a:r>
              <a:rPr lang="en"/>
              <a:t>Session Agenda</a:t>
            </a:r>
            <a:endParaRPr/>
          </a:p>
        </p:txBody>
      </p:sp>
      <p:sp>
        <p:nvSpPr>
          <p:cNvPr id="76" name="Google Shape;76;p3"/>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p>
            <a:pPr marL="457200" lvl="0" indent="-342900" algn="l" rtl="0">
              <a:lnSpc>
                <a:spcPct val="115000"/>
              </a:lnSpc>
              <a:spcBef>
                <a:spcPts val="0"/>
              </a:spcBef>
              <a:spcAft>
                <a:spcPts val="0"/>
              </a:spcAft>
              <a:buSzPts val="1800"/>
              <a:buChar char="●"/>
            </a:pPr>
            <a:r>
              <a:rPr lang="en"/>
              <a:t>Semantic Segmentation</a:t>
            </a:r>
            <a:endParaRPr/>
          </a:p>
          <a:p>
            <a:pPr marL="457200" lvl="0" indent="-342900" algn="l" rtl="0">
              <a:lnSpc>
                <a:spcPct val="115000"/>
              </a:lnSpc>
              <a:spcBef>
                <a:spcPts val="0"/>
              </a:spcBef>
              <a:spcAft>
                <a:spcPts val="0"/>
              </a:spcAft>
              <a:buSzPts val="1800"/>
              <a:buChar char="●"/>
            </a:pPr>
            <a:r>
              <a:rPr lang="en"/>
              <a:t>U-Net</a:t>
            </a:r>
            <a:endParaRPr/>
          </a:p>
          <a:p>
            <a:pPr marL="457200" lvl="0" indent="-342900" algn="l" rtl="0">
              <a:lnSpc>
                <a:spcPct val="115000"/>
              </a:lnSpc>
              <a:spcBef>
                <a:spcPts val="0"/>
              </a:spcBef>
              <a:spcAft>
                <a:spcPts val="0"/>
              </a:spcAft>
              <a:buSzPts val="1800"/>
              <a:buChar char="●"/>
            </a:pPr>
            <a:r>
              <a:rPr lang="en"/>
              <a:t>Depthwise Separable Convolutions</a:t>
            </a:r>
            <a:endParaRPr/>
          </a:p>
          <a:p>
            <a:pPr marL="457200" lvl="0" indent="-342900" algn="l" rtl="0">
              <a:lnSpc>
                <a:spcPct val="115000"/>
              </a:lnSpc>
              <a:spcBef>
                <a:spcPts val="0"/>
              </a:spcBef>
              <a:spcAft>
                <a:spcPts val="0"/>
              </a:spcAft>
              <a:buSzPts val="1800"/>
              <a:buChar char="●"/>
            </a:pPr>
            <a:r>
              <a:rPr lang="en"/>
              <a:t>Mobilenet</a:t>
            </a:r>
            <a:endParaRPr/>
          </a:p>
          <a:p>
            <a:pPr marL="457200" lvl="0" indent="-342900" algn="l" rtl="0">
              <a:lnSpc>
                <a:spcPct val="115000"/>
              </a:lnSpc>
              <a:spcBef>
                <a:spcPts val="0"/>
              </a:spcBef>
              <a:spcAft>
                <a:spcPts val="0"/>
              </a:spcAft>
              <a:buSzPts val="1800"/>
              <a:buChar char="●"/>
            </a:pPr>
            <a:r>
              <a:rPr lang="en"/>
              <a:t>Faster RCNN</a:t>
            </a:r>
            <a:endParaRPr/>
          </a:p>
          <a:p>
            <a:pPr marL="457200" lvl="0" indent="-342900" algn="l" rtl="0">
              <a:lnSpc>
                <a:spcPct val="115000"/>
              </a:lnSpc>
              <a:spcBef>
                <a:spcPts val="0"/>
              </a:spcBef>
              <a:spcAft>
                <a:spcPts val="0"/>
              </a:spcAft>
              <a:buSzPts val="1800"/>
              <a:buChar char="●"/>
            </a:pPr>
            <a:r>
              <a:rPr lang="en"/>
              <a:t>Case study</a:t>
            </a:r>
            <a:endParaRPr/>
          </a:p>
          <a:p>
            <a:pPr marL="457200" lvl="0" indent="-342900" algn="l" rtl="0">
              <a:lnSpc>
                <a:spcPct val="115000"/>
              </a:lnSpc>
              <a:spcBef>
                <a:spcPts val="0"/>
              </a:spcBef>
              <a:spcAft>
                <a:spcPts val="0"/>
              </a:spcAft>
              <a:buSzPts val="1800"/>
              <a:buChar char="●"/>
            </a:pPr>
            <a:r>
              <a:rPr lang="en"/>
              <a:t>Questions</a:t>
            </a:r>
            <a:endParaRPr/>
          </a:p>
          <a:p>
            <a:pPr marL="0" lvl="0" indent="0" algn="l" rtl="0">
              <a:lnSpc>
                <a:spcPct val="115000"/>
              </a:lnSpc>
              <a:spcBef>
                <a:spcPts val="1600"/>
              </a:spcBef>
              <a:spcAft>
                <a:spcPts val="0"/>
              </a:spcAft>
              <a:buSzPts val="1800"/>
              <a:buNone/>
            </a:pPr>
            <a:endParaRPr/>
          </a:p>
          <a:p>
            <a:pPr marL="0" lvl="0" indent="0" algn="l" rtl="0">
              <a:lnSpc>
                <a:spcPct val="115000"/>
              </a:lnSpc>
              <a:spcBef>
                <a:spcPts val="1600"/>
              </a:spcBef>
              <a:spcAft>
                <a:spcPts val="1600"/>
              </a:spcAft>
              <a:buSzPts val="1800"/>
              <a:buNone/>
            </a:pPr>
            <a:endParaRPr/>
          </a:p>
        </p:txBody>
      </p:sp>
      <mc:AlternateContent xmlns:mc="http://schemas.openxmlformats.org/markup-compatibility/2006" xmlns:p14="http://schemas.microsoft.com/office/powerpoint/2010/main">
        <mc:Choice Requires="p14">
          <p:contentPart p14:bwMode="auto" r:id="rId3">
            <p14:nvContentPartPr>
              <p14:cNvPr id="19" name="Ink 18">
                <a:extLst>
                  <a:ext uri="{FF2B5EF4-FFF2-40B4-BE49-F238E27FC236}">
                    <a16:creationId xmlns:a16="http://schemas.microsoft.com/office/drawing/2014/main" id="{8831103A-BF30-4969-A8B7-285EDE209B55}"/>
                  </a:ext>
                </a:extLst>
              </p14:cNvPr>
              <p14:cNvContentPartPr/>
              <p14:nvPr/>
            </p14:nvContentPartPr>
            <p14:xfrm>
              <a:off x="7170513" y="2115908"/>
              <a:ext cx="213480" cy="716760"/>
            </p14:xfrm>
          </p:contentPart>
        </mc:Choice>
        <mc:Fallback xmlns="">
          <p:pic>
            <p:nvPicPr>
              <p:cNvPr id="19" name="Ink 18">
                <a:extLst>
                  <a:ext uri="{FF2B5EF4-FFF2-40B4-BE49-F238E27FC236}">
                    <a16:creationId xmlns:a16="http://schemas.microsoft.com/office/drawing/2014/main" id="{8831103A-BF30-4969-A8B7-285EDE209B55}"/>
                  </a:ext>
                </a:extLst>
              </p:cNvPr>
              <p:cNvPicPr/>
              <p:nvPr/>
            </p:nvPicPr>
            <p:blipFill>
              <a:blip r:embed="rId4"/>
              <a:stretch>
                <a:fillRect/>
              </a:stretch>
            </p:blipFill>
            <p:spPr>
              <a:xfrm>
                <a:off x="7152873" y="2097908"/>
                <a:ext cx="249120" cy="752400"/>
              </a:xfrm>
              <a:prstGeom prst="rect">
                <a:avLst/>
              </a:prstGeom>
            </p:spPr>
          </p:pic>
        </mc:Fallback>
      </mc:AlternateContent>
      <p:grpSp>
        <p:nvGrpSpPr>
          <p:cNvPr id="27" name="Group 26">
            <a:extLst>
              <a:ext uri="{FF2B5EF4-FFF2-40B4-BE49-F238E27FC236}">
                <a16:creationId xmlns:a16="http://schemas.microsoft.com/office/drawing/2014/main" id="{2987446D-7367-468E-AE46-A4F014B8AB2F}"/>
              </a:ext>
            </a:extLst>
          </p:cNvPr>
          <p:cNvGrpSpPr/>
          <p:nvPr/>
        </p:nvGrpSpPr>
        <p:grpSpPr>
          <a:xfrm>
            <a:off x="7937313" y="2096828"/>
            <a:ext cx="838080" cy="683640"/>
            <a:chOff x="7937313" y="2096828"/>
            <a:chExt cx="838080" cy="683640"/>
          </a:xfrm>
        </p:grpSpPr>
        <mc:AlternateContent xmlns:mc="http://schemas.openxmlformats.org/markup-compatibility/2006" xmlns:p14="http://schemas.microsoft.com/office/powerpoint/2010/main">
          <mc:Choice Requires="p14">
            <p:contentPart p14:bwMode="auto" r:id="rId5">
              <p14:nvContentPartPr>
                <p14:cNvPr id="20" name="Ink 19">
                  <a:extLst>
                    <a:ext uri="{FF2B5EF4-FFF2-40B4-BE49-F238E27FC236}">
                      <a16:creationId xmlns:a16="http://schemas.microsoft.com/office/drawing/2014/main" id="{79C6EF2E-3EA5-46E5-9167-0144E513C763}"/>
                    </a:ext>
                  </a:extLst>
                </p14:cNvPr>
                <p14:cNvContentPartPr/>
                <p14:nvPr/>
              </p14:nvContentPartPr>
              <p14:xfrm>
                <a:off x="7937313" y="2096828"/>
                <a:ext cx="140760" cy="620280"/>
              </p14:xfrm>
            </p:contentPart>
          </mc:Choice>
          <mc:Fallback xmlns="">
            <p:pic>
              <p:nvPicPr>
                <p:cNvPr id="20" name="Ink 19">
                  <a:extLst>
                    <a:ext uri="{FF2B5EF4-FFF2-40B4-BE49-F238E27FC236}">
                      <a16:creationId xmlns:a16="http://schemas.microsoft.com/office/drawing/2014/main" id="{79C6EF2E-3EA5-46E5-9167-0144E513C763}"/>
                    </a:ext>
                  </a:extLst>
                </p:cNvPr>
                <p:cNvPicPr/>
                <p:nvPr/>
              </p:nvPicPr>
              <p:blipFill>
                <a:blip r:embed="rId6"/>
                <a:stretch>
                  <a:fillRect/>
                </a:stretch>
              </p:blipFill>
              <p:spPr>
                <a:xfrm>
                  <a:off x="7919313" y="2079188"/>
                  <a:ext cx="176400" cy="65592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21" name="Ink 20">
                  <a:extLst>
                    <a:ext uri="{FF2B5EF4-FFF2-40B4-BE49-F238E27FC236}">
                      <a16:creationId xmlns:a16="http://schemas.microsoft.com/office/drawing/2014/main" id="{A3F1339C-3857-4E37-B027-F4B9EAF66F7F}"/>
                    </a:ext>
                  </a:extLst>
                </p14:cNvPr>
                <p14:cNvContentPartPr/>
                <p14:nvPr/>
              </p14:nvContentPartPr>
              <p14:xfrm>
                <a:off x="8267073" y="2632148"/>
                <a:ext cx="154440" cy="126720"/>
              </p14:xfrm>
            </p:contentPart>
          </mc:Choice>
          <mc:Fallback xmlns="">
            <p:pic>
              <p:nvPicPr>
                <p:cNvPr id="21" name="Ink 20">
                  <a:extLst>
                    <a:ext uri="{FF2B5EF4-FFF2-40B4-BE49-F238E27FC236}">
                      <a16:creationId xmlns:a16="http://schemas.microsoft.com/office/drawing/2014/main" id="{A3F1339C-3857-4E37-B027-F4B9EAF66F7F}"/>
                    </a:ext>
                  </a:extLst>
                </p:cNvPr>
                <p:cNvPicPr/>
                <p:nvPr/>
              </p:nvPicPr>
              <p:blipFill>
                <a:blip r:embed="rId8"/>
                <a:stretch>
                  <a:fillRect/>
                </a:stretch>
              </p:blipFill>
              <p:spPr>
                <a:xfrm>
                  <a:off x="8249433" y="2614148"/>
                  <a:ext cx="190080" cy="162360"/>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22" name="Ink 21">
                  <a:extLst>
                    <a:ext uri="{FF2B5EF4-FFF2-40B4-BE49-F238E27FC236}">
                      <a16:creationId xmlns:a16="http://schemas.microsoft.com/office/drawing/2014/main" id="{55579115-FAEB-424C-AEBE-C2C9C51AA59C}"/>
                    </a:ext>
                  </a:extLst>
                </p14:cNvPr>
                <p14:cNvContentPartPr/>
                <p14:nvPr/>
              </p14:nvContentPartPr>
              <p14:xfrm>
                <a:off x="8490273" y="2652668"/>
                <a:ext cx="149760" cy="101160"/>
              </p14:xfrm>
            </p:contentPart>
          </mc:Choice>
          <mc:Fallback xmlns="">
            <p:pic>
              <p:nvPicPr>
                <p:cNvPr id="22" name="Ink 21">
                  <a:extLst>
                    <a:ext uri="{FF2B5EF4-FFF2-40B4-BE49-F238E27FC236}">
                      <a16:creationId xmlns:a16="http://schemas.microsoft.com/office/drawing/2014/main" id="{55579115-FAEB-424C-AEBE-C2C9C51AA59C}"/>
                    </a:ext>
                  </a:extLst>
                </p:cNvPr>
                <p:cNvPicPr/>
                <p:nvPr/>
              </p:nvPicPr>
              <p:blipFill>
                <a:blip r:embed="rId10"/>
                <a:stretch>
                  <a:fillRect/>
                </a:stretch>
              </p:blipFill>
              <p:spPr>
                <a:xfrm>
                  <a:off x="8472273" y="2634668"/>
                  <a:ext cx="185400" cy="13680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23" name="Ink 22">
                  <a:extLst>
                    <a:ext uri="{FF2B5EF4-FFF2-40B4-BE49-F238E27FC236}">
                      <a16:creationId xmlns:a16="http://schemas.microsoft.com/office/drawing/2014/main" id="{242A788D-B9CB-4841-85F5-FEB618EAB003}"/>
                    </a:ext>
                  </a:extLst>
                </p14:cNvPr>
                <p14:cNvContentPartPr/>
                <p14:nvPr/>
              </p14:nvContentPartPr>
              <p14:xfrm>
                <a:off x="8716353" y="2701268"/>
                <a:ext cx="59040" cy="79200"/>
              </p14:xfrm>
            </p:contentPart>
          </mc:Choice>
          <mc:Fallback xmlns="">
            <p:pic>
              <p:nvPicPr>
                <p:cNvPr id="23" name="Ink 22">
                  <a:extLst>
                    <a:ext uri="{FF2B5EF4-FFF2-40B4-BE49-F238E27FC236}">
                      <a16:creationId xmlns:a16="http://schemas.microsoft.com/office/drawing/2014/main" id="{242A788D-B9CB-4841-85F5-FEB618EAB003}"/>
                    </a:ext>
                  </a:extLst>
                </p:cNvPr>
                <p:cNvPicPr/>
                <p:nvPr/>
              </p:nvPicPr>
              <p:blipFill>
                <a:blip r:embed="rId12"/>
                <a:stretch>
                  <a:fillRect/>
                </a:stretch>
              </p:blipFill>
              <p:spPr>
                <a:xfrm>
                  <a:off x="8698353" y="2683268"/>
                  <a:ext cx="94680" cy="114840"/>
                </a:xfrm>
                <a:prstGeom prst="rect">
                  <a:avLst/>
                </a:prstGeom>
              </p:spPr>
            </p:pic>
          </mc:Fallback>
        </mc:AlternateContent>
      </p:grpSp>
      <p:grpSp>
        <p:nvGrpSpPr>
          <p:cNvPr id="26" name="Group 25">
            <a:extLst>
              <a:ext uri="{FF2B5EF4-FFF2-40B4-BE49-F238E27FC236}">
                <a16:creationId xmlns:a16="http://schemas.microsoft.com/office/drawing/2014/main" id="{A4244B6E-2739-4586-9465-94AD47F67E39}"/>
              </a:ext>
            </a:extLst>
          </p:cNvPr>
          <p:cNvGrpSpPr/>
          <p:nvPr/>
        </p:nvGrpSpPr>
        <p:grpSpPr>
          <a:xfrm>
            <a:off x="7508193" y="2978468"/>
            <a:ext cx="928080" cy="254880"/>
            <a:chOff x="7508193" y="2978468"/>
            <a:chExt cx="928080" cy="254880"/>
          </a:xfrm>
        </p:grpSpPr>
        <mc:AlternateContent xmlns:mc="http://schemas.openxmlformats.org/markup-compatibility/2006" xmlns:p14="http://schemas.microsoft.com/office/powerpoint/2010/main">
          <mc:Choice Requires="p14">
            <p:contentPart p14:bwMode="auto" r:id="rId13">
              <p14:nvContentPartPr>
                <p14:cNvPr id="24" name="Ink 23">
                  <a:extLst>
                    <a:ext uri="{FF2B5EF4-FFF2-40B4-BE49-F238E27FC236}">
                      <a16:creationId xmlns:a16="http://schemas.microsoft.com/office/drawing/2014/main" id="{4ADBB17C-2C25-461E-B8C1-1CA4847380A3}"/>
                    </a:ext>
                  </a:extLst>
                </p14:cNvPr>
                <p14:cNvContentPartPr/>
                <p14:nvPr/>
              </p14:nvContentPartPr>
              <p14:xfrm>
                <a:off x="7508193" y="2978468"/>
                <a:ext cx="928080" cy="101160"/>
              </p14:xfrm>
            </p:contentPart>
          </mc:Choice>
          <mc:Fallback xmlns="">
            <p:pic>
              <p:nvPicPr>
                <p:cNvPr id="24" name="Ink 23">
                  <a:extLst>
                    <a:ext uri="{FF2B5EF4-FFF2-40B4-BE49-F238E27FC236}">
                      <a16:creationId xmlns:a16="http://schemas.microsoft.com/office/drawing/2014/main" id="{4ADBB17C-2C25-461E-B8C1-1CA4847380A3}"/>
                    </a:ext>
                  </a:extLst>
                </p:cNvPr>
                <p:cNvPicPr/>
                <p:nvPr/>
              </p:nvPicPr>
              <p:blipFill>
                <a:blip r:embed="rId14"/>
                <a:stretch>
                  <a:fillRect/>
                </a:stretch>
              </p:blipFill>
              <p:spPr>
                <a:xfrm>
                  <a:off x="7490193" y="2960468"/>
                  <a:ext cx="963720" cy="13680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25" name="Ink 24">
                  <a:extLst>
                    <a:ext uri="{FF2B5EF4-FFF2-40B4-BE49-F238E27FC236}">
                      <a16:creationId xmlns:a16="http://schemas.microsoft.com/office/drawing/2014/main" id="{EBB38A1E-DE56-4530-9C10-FB2E1FBB07C7}"/>
                    </a:ext>
                  </a:extLst>
                </p14:cNvPr>
                <p14:cNvContentPartPr/>
                <p14:nvPr/>
              </p14:nvContentPartPr>
              <p14:xfrm>
                <a:off x="7578393" y="3116348"/>
                <a:ext cx="734040" cy="117000"/>
              </p14:xfrm>
            </p:contentPart>
          </mc:Choice>
          <mc:Fallback xmlns="">
            <p:pic>
              <p:nvPicPr>
                <p:cNvPr id="25" name="Ink 24">
                  <a:extLst>
                    <a:ext uri="{FF2B5EF4-FFF2-40B4-BE49-F238E27FC236}">
                      <a16:creationId xmlns:a16="http://schemas.microsoft.com/office/drawing/2014/main" id="{EBB38A1E-DE56-4530-9C10-FB2E1FBB07C7}"/>
                    </a:ext>
                  </a:extLst>
                </p:cNvPr>
                <p:cNvPicPr/>
                <p:nvPr/>
              </p:nvPicPr>
              <p:blipFill>
                <a:blip r:embed="rId16"/>
                <a:stretch>
                  <a:fillRect/>
                </a:stretch>
              </p:blipFill>
              <p:spPr>
                <a:xfrm>
                  <a:off x="7560393" y="3098348"/>
                  <a:ext cx="769680" cy="15264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17">
            <p14:nvContentPartPr>
              <p14:cNvPr id="64" name="Ink 63">
                <a:extLst>
                  <a:ext uri="{FF2B5EF4-FFF2-40B4-BE49-F238E27FC236}">
                    <a16:creationId xmlns:a16="http://schemas.microsoft.com/office/drawing/2014/main" id="{1E40732B-374C-4884-B861-086E10E2100A}"/>
                  </a:ext>
                </a:extLst>
              </p14:cNvPr>
              <p14:cNvContentPartPr/>
              <p14:nvPr/>
            </p14:nvContentPartPr>
            <p14:xfrm>
              <a:off x="4834113" y="936188"/>
              <a:ext cx="782640" cy="592560"/>
            </p14:xfrm>
          </p:contentPart>
        </mc:Choice>
        <mc:Fallback xmlns="">
          <p:pic>
            <p:nvPicPr>
              <p:cNvPr id="64" name="Ink 63">
                <a:extLst>
                  <a:ext uri="{FF2B5EF4-FFF2-40B4-BE49-F238E27FC236}">
                    <a16:creationId xmlns:a16="http://schemas.microsoft.com/office/drawing/2014/main" id="{1E40732B-374C-4884-B861-086E10E2100A}"/>
                  </a:ext>
                </a:extLst>
              </p:cNvPr>
              <p:cNvPicPr/>
              <p:nvPr/>
            </p:nvPicPr>
            <p:blipFill>
              <a:blip r:embed="rId18"/>
              <a:stretch>
                <a:fillRect/>
              </a:stretch>
            </p:blipFill>
            <p:spPr>
              <a:xfrm>
                <a:off x="4816473" y="918188"/>
                <a:ext cx="818280" cy="628200"/>
              </a:xfrm>
              <a:prstGeom prst="rect">
                <a:avLst/>
              </a:prstGeom>
            </p:spPr>
          </p:pic>
        </mc:Fallback>
      </mc:AlternateContent>
      <mc:AlternateContent xmlns:mc="http://schemas.openxmlformats.org/markup-compatibility/2006" xmlns:p14="http://schemas.microsoft.com/office/powerpoint/2010/main">
        <mc:Choice Requires="p14">
          <p:contentPart p14:bwMode="auto" r:id="rId19">
            <p14:nvContentPartPr>
              <p14:cNvPr id="82" name="Ink 81">
                <a:extLst>
                  <a:ext uri="{FF2B5EF4-FFF2-40B4-BE49-F238E27FC236}">
                    <a16:creationId xmlns:a16="http://schemas.microsoft.com/office/drawing/2014/main" id="{3A54CCF0-1C57-4DA7-AB96-6EF3D5F764A8}"/>
                  </a:ext>
                </a:extLst>
              </p14:cNvPr>
              <p14:cNvContentPartPr/>
              <p14:nvPr/>
            </p14:nvContentPartPr>
            <p14:xfrm>
              <a:off x="7273473" y="1371788"/>
              <a:ext cx="528840" cy="11160"/>
            </p14:xfrm>
          </p:contentPart>
        </mc:Choice>
        <mc:Fallback xmlns="">
          <p:pic>
            <p:nvPicPr>
              <p:cNvPr id="82" name="Ink 81">
                <a:extLst>
                  <a:ext uri="{FF2B5EF4-FFF2-40B4-BE49-F238E27FC236}">
                    <a16:creationId xmlns:a16="http://schemas.microsoft.com/office/drawing/2014/main" id="{3A54CCF0-1C57-4DA7-AB96-6EF3D5F764A8}"/>
                  </a:ext>
                </a:extLst>
              </p:cNvPr>
              <p:cNvPicPr/>
              <p:nvPr/>
            </p:nvPicPr>
            <p:blipFill>
              <a:blip r:embed="rId20"/>
              <a:stretch>
                <a:fillRect/>
              </a:stretch>
            </p:blipFill>
            <p:spPr>
              <a:xfrm>
                <a:off x="7255473" y="1354148"/>
                <a:ext cx="564480" cy="46800"/>
              </a:xfrm>
              <a:prstGeom prst="rect">
                <a:avLst/>
              </a:prstGeom>
            </p:spPr>
          </p:pic>
        </mc:Fallback>
      </mc:AlternateContent>
      <p:grpSp>
        <p:nvGrpSpPr>
          <p:cNvPr id="97" name="Group 96">
            <a:extLst>
              <a:ext uri="{FF2B5EF4-FFF2-40B4-BE49-F238E27FC236}">
                <a16:creationId xmlns:a16="http://schemas.microsoft.com/office/drawing/2014/main" id="{CAAB35DB-7780-4DAB-86CE-274A086B49B2}"/>
              </a:ext>
            </a:extLst>
          </p:cNvPr>
          <p:cNvGrpSpPr/>
          <p:nvPr/>
        </p:nvGrpSpPr>
        <p:grpSpPr>
          <a:xfrm>
            <a:off x="7281033" y="1500668"/>
            <a:ext cx="603360" cy="371160"/>
            <a:chOff x="7281033" y="1500668"/>
            <a:chExt cx="603360" cy="371160"/>
          </a:xfrm>
        </p:grpSpPr>
        <mc:AlternateContent xmlns:mc="http://schemas.openxmlformats.org/markup-compatibility/2006" xmlns:p14="http://schemas.microsoft.com/office/powerpoint/2010/main">
          <mc:Choice Requires="p14">
            <p:contentPart p14:bwMode="auto" r:id="rId21">
              <p14:nvContentPartPr>
                <p14:cNvPr id="16" name="Ink 15">
                  <a:extLst>
                    <a:ext uri="{FF2B5EF4-FFF2-40B4-BE49-F238E27FC236}">
                      <a16:creationId xmlns:a16="http://schemas.microsoft.com/office/drawing/2014/main" id="{BBB542E0-6F32-44E0-AABF-5D6C5C1C7203}"/>
                    </a:ext>
                  </a:extLst>
                </p14:cNvPr>
                <p14:cNvContentPartPr/>
                <p14:nvPr/>
              </p14:nvContentPartPr>
              <p14:xfrm>
                <a:off x="7423233" y="1561148"/>
                <a:ext cx="30240" cy="276480"/>
              </p14:xfrm>
            </p:contentPart>
          </mc:Choice>
          <mc:Fallback xmlns="">
            <p:pic>
              <p:nvPicPr>
                <p:cNvPr id="16" name="Ink 15">
                  <a:extLst>
                    <a:ext uri="{FF2B5EF4-FFF2-40B4-BE49-F238E27FC236}">
                      <a16:creationId xmlns:a16="http://schemas.microsoft.com/office/drawing/2014/main" id="{BBB542E0-6F32-44E0-AABF-5D6C5C1C7203}"/>
                    </a:ext>
                  </a:extLst>
                </p:cNvPr>
                <p:cNvPicPr/>
                <p:nvPr/>
              </p:nvPicPr>
              <p:blipFill>
                <a:blip r:embed="rId22"/>
                <a:stretch>
                  <a:fillRect/>
                </a:stretch>
              </p:blipFill>
              <p:spPr>
                <a:xfrm>
                  <a:off x="7405593" y="1543148"/>
                  <a:ext cx="65880" cy="312120"/>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17" name="Ink 16">
                  <a:extLst>
                    <a:ext uri="{FF2B5EF4-FFF2-40B4-BE49-F238E27FC236}">
                      <a16:creationId xmlns:a16="http://schemas.microsoft.com/office/drawing/2014/main" id="{8AC46C2E-237D-4DB3-9D33-C2F0D712C955}"/>
                    </a:ext>
                  </a:extLst>
                </p14:cNvPr>
                <p14:cNvContentPartPr/>
                <p14:nvPr/>
              </p14:nvContentPartPr>
              <p14:xfrm>
                <a:off x="7516113" y="1606508"/>
                <a:ext cx="9720" cy="262440"/>
              </p14:xfrm>
            </p:contentPart>
          </mc:Choice>
          <mc:Fallback xmlns="">
            <p:pic>
              <p:nvPicPr>
                <p:cNvPr id="17" name="Ink 16">
                  <a:extLst>
                    <a:ext uri="{FF2B5EF4-FFF2-40B4-BE49-F238E27FC236}">
                      <a16:creationId xmlns:a16="http://schemas.microsoft.com/office/drawing/2014/main" id="{8AC46C2E-237D-4DB3-9D33-C2F0D712C955}"/>
                    </a:ext>
                  </a:extLst>
                </p:cNvPr>
                <p:cNvPicPr/>
                <p:nvPr/>
              </p:nvPicPr>
              <p:blipFill>
                <a:blip r:embed="rId24"/>
                <a:stretch>
                  <a:fillRect/>
                </a:stretch>
              </p:blipFill>
              <p:spPr>
                <a:xfrm>
                  <a:off x="7498473" y="1588508"/>
                  <a:ext cx="45360" cy="298080"/>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18" name="Ink 17">
                  <a:extLst>
                    <a:ext uri="{FF2B5EF4-FFF2-40B4-BE49-F238E27FC236}">
                      <a16:creationId xmlns:a16="http://schemas.microsoft.com/office/drawing/2014/main" id="{A4F5322B-EBFA-4BFF-BBA6-BDB55A23AB5C}"/>
                    </a:ext>
                  </a:extLst>
                </p14:cNvPr>
                <p14:cNvContentPartPr/>
                <p14:nvPr/>
              </p14:nvContentPartPr>
              <p14:xfrm>
                <a:off x="7323513" y="1756988"/>
                <a:ext cx="230040" cy="114840"/>
              </p14:xfrm>
            </p:contentPart>
          </mc:Choice>
          <mc:Fallback xmlns="">
            <p:pic>
              <p:nvPicPr>
                <p:cNvPr id="18" name="Ink 17">
                  <a:extLst>
                    <a:ext uri="{FF2B5EF4-FFF2-40B4-BE49-F238E27FC236}">
                      <a16:creationId xmlns:a16="http://schemas.microsoft.com/office/drawing/2014/main" id="{A4F5322B-EBFA-4BFF-BBA6-BDB55A23AB5C}"/>
                    </a:ext>
                  </a:extLst>
                </p:cNvPr>
                <p:cNvPicPr/>
                <p:nvPr/>
              </p:nvPicPr>
              <p:blipFill>
                <a:blip r:embed="rId26"/>
                <a:stretch>
                  <a:fillRect/>
                </a:stretch>
              </p:blipFill>
              <p:spPr>
                <a:xfrm>
                  <a:off x="7305513" y="1738988"/>
                  <a:ext cx="265680" cy="150480"/>
                </a:xfrm>
                <a:prstGeom prst="rect">
                  <a:avLst/>
                </a:prstGeom>
              </p:spPr>
            </p:pic>
          </mc:Fallback>
        </mc:AlternateContent>
        <mc:AlternateContent xmlns:mc="http://schemas.openxmlformats.org/markup-compatibility/2006" xmlns:p14="http://schemas.microsoft.com/office/powerpoint/2010/main">
          <mc:Choice Requires="p14">
            <p:contentPart p14:bwMode="auto" r:id="rId27">
              <p14:nvContentPartPr>
                <p14:cNvPr id="83" name="Ink 82">
                  <a:extLst>
                    <a:ext uri="{FF2B5EF4-FFF2-40B4-BE49-F238E27FC236}">
                      <a16:creationId xmlns:a16="http://schemas.microsoft.com/office/drawing/2014/main" id="{F1883C4C-3282-4E46-AC9F-CCA6181D2BB5}"/>
                    </a:ext>
                  </a:extLst>
                </p14:cNvPr>
                <p14:cNvContentPartPr/>
                <p14:nvPr/>
              </p14:nvContentPartPr>
              <p14:xfrm>
                <a:off x="7281033" y="1500668"/>
                <a:ext cx="603360" cy="16920"/>
              </p14:xfrm>
            </p:contentPart>
          </mc:Choice>
          <mc:Fallback xmlns="">
            <p:pic>
              <p:nvPicPr>
                <p:cNvPr id="83" name="Ink 82">
                  <a:extLst>
                    <a:ext uri="{FF2B5EF4-FFF2-40B4-BE49-F238E27FC236}">
                      <a16:creationId xmlns:a16="http://schemas.microsoft.com/office/drawing/2014/main" id="{F1883C4C-3282-4E46-AC9F-CCA6181D2BB5}"/>
                    </a:ext>
                  </a:extLst>
                </p:cNvPr>
                <p:cNvPicPr/>
                <p:nvPr/>
              </p:nvPicPr>
              <p:blipFill>
                <a:blip r:embed="rId28"/>
                <a:stretch>
                  <a:fillRect/>
                </a:stretch>
              </p:blipFill>
              <p:spPr>
                <a:xfrm>
                  <a:off x="7263033" y="1482668"/>
                  <a:ext cx="639000" cy="52560"/>
                </a:xfrm>
                <a:prstGeom prst="rect">
                  <a:avLst/>
                </a:prstGeom>
              </p:spPr>
            </p:pic>
          </mc:Fallback>
        </mc:AlternateContent>
      </p:grpSp>
      <p:grpSp>
        <p:nvGrpSpPr>
          <p:cNvPr id="95" name="Group 94">
            <a:extLst>
              <a:ext uri="{FF2B5EF4-FFF2-40B4-BE49-F238E27FC236}">
                <a16:creationId xmlns:a16="http://schemas.microsoft.com/office/drawing/2014/main" id="{60B66623-3AD1-48F7-95AF-679CAE17B984}"/>
              </a:ext>
            </a:extLst>
          </p:cNvPr>
          <p:cNvGrpSpPr/>
          <p:nvPr/>
        </p:nvGrpSpPr>
        <p:grpSpPr>
          <a:xfrm>
            <a:off x="6816273" y="3250628"/>
            <a:ext cx="490320" cy="185400"/>
            <a:chOff x="6816273" y="3250628"/>
            <a:chExt cx="490320" cy="185400"/>
          </a:xfrm>
        </p:grpSpPr>
        <mc:AlternateContent xmlns:mc="http://schemas.openxmlformats.org/markup-compatibility/2006" xmlns:p14="http://schemas.microsoft.com/office/powerpoint/2010/main">
          <mc:Choice Requires="p14">
            <p:contentPart p14:bwMode="auto" r:id="rId29">
              <p14:nvContentPartPr>
                <p14:cNvPr id="88" name="Ink 87">
                  <a:extLst>
                    <a:ext uri="{FF2B5EF4-FFF2-40B4-BE49-F238E27FC236}">
                      <a16:creationId xmlns:a16="http://schemas.microsoft.com/office/drawing/2014/main" id="{9053BBD8-B78C-450B-842C-3FF29C62DA71}"/>
                    </a:ext>
                  </a:extLst>
                </p14:cNvPr>
                <p14:cNvContentPartPr/>
                <p14:nvPr/>
              </p14:nvContentPartPr>
              <p14:xfrm>
                <a:off x="6816273" y="3250628"/>
                <a:ext cx="22680" cy="168840"/>
              </p14:xfrm>
            </p:contentPart>
          </mc:Choice>
          <mc:Fallback xmlns="">
            <p:pic>
              <p:nvPicPr>
                <p:cNvPr id="88" name="Ink 87">
                  <a:extLst>
                    <a:ext uri="{FF2B5EF4-FFF2-40B4-BE49-F238E27FC236}">
                      <a16:creationId xmlns:a16="http://schemas.microsoft.com/office/drawing/2014/main" id="{9053BBD8-B78C-450B-842C-3FF29C62DA71}"/>
                    </a:ext>
                  </a:extLst>
                </p:cNvPr>
                <p:cNvPicPr/>
                <p:nvPr/>
              </p:nvPicPr>
              <p:blipFill>
                <a:blip r:embed="rId30"/>
                <a:stretch>
                  <a:fillRect/>
                </a:stretch>
              </p:blipFill>
              <p:spPr>
                <a:xfrm>
                  <a:off x="6798633" y="3232988"/>
                  <a:ext cx="58320" cy="204480"/>
                </a:xfrm>
                <a:prstGeom prst="rect">
                  <a:avLst/>
                </a:prstGeom>
              </p:spPr>
            </p:pic>
          </mc:Fallback>
        </mc:AlternateContent>
        <mc:AlternateContent xmlns:mc="http://schemas.openxmlformats.org/markup-compatibility/2006" xmlns:p14="http://schemas.microsoft.com/office/powerpoint/2010/main">
          <mc:Choice Requires="p14">
            <p:contentPart p14:bwMode="auto" r:id="rId31">
              <p14:nvContentPartPr>
                <p14:cNvPr id="89" name="Ink 88">
                  <a:extLst>
                    <a:ext uri="{FF2B5EF4-FFF2-40B4-BE49-F238E27FC236}">
                      <a16:creationId xmlns:a16="http://schemas.microsoft.com/office/drawing/2014/main" id="{7B8B41ED-33B7-4A12-A507-B325FBF8E297}"/>
                    </a:ext>
                  </a:extLst>
                </p14:cNvPr>
                <p14:cNvContentPartPr/>
                <p14:nvPr/>
              </p14:nvContentPartPr>
              <p14:xfrm>
                <a:off x="6955593" y="3257468"/>
                <a:ext cx="89640" cy="168840"/>
              </p14:xfrm>
            </p:contentPart>
          </mc:Choice>
          <mc:Fallback xmlns="">
            <p:pic>
              <p:nvPicPr>
                <p:cNvPr id="89" name="Ink 88">
                  <a:extLst>
                    <a:ext uri="{FF2B5EF4-FFF2-40B4-BE49-F238E27FC236}">
                      <a16:creationId xmlns:a16="http://schemas.microsoft.com/office/drawing/2014/main" id="{7B8B41ED-33B7-4A12-A507-B325FBF8E297}"/>
                    </a:ext>
                  </a:extLst>
                </p:cNvPr>
                <p:cNvPicPr/>
                <p:nvPr/>
              </p:nvPicPr>
              <p:blipFill>
                <a:blip r:embed="rId32"/>
                <a:stretch>
                  <a:fillRect/>
                </a:stretch>
              </p:blipFill>
              <p:spPr>
                <a:xfrm>
                  <a:off x="6937953" y="3239468"/>
                  <a:ext cx="125280" cy="204480"/>
                </a:xfrm>
                <a:prstGeom prst="rect">
                  <a:avLst/>
                </a:prstGeom>
              </p:spPr>
            </p:pic>
          </mc:Fallback>
        </mc:AlternateContent>
        <mc:AlternateContent xmlns:mc="http://schemas.openxmlformats.org/markup-compatibility/2006" xmlns:p14="http://schemas.microsoft.com/office/powerpoint/2010/main">
          <mc:Choice Requires="p14">
            <p:contentPart p14:bwMode="auto" r:id="rId33">
              <p14:nvContentPartPr>
                <p14:cNvPr id="90" name="Ink 89">
                  <a:extLst>
                    <a:ext uri="{FF2B5EF4-FFF2-40B4-BE49-F238E27FC236}">
                      <a16:creationId xmlns:a16="http://schemas.microsoft.com/office/drawing/2014/main" id="{942A82A8-8C18-4B57-8903-ACBB84A39596}"/>
                    </a:ext>
                  </a:extLst>
                </p14:cNvPr>
                <p14:cNvContentPartPr/>
                <p14:nvPr/>
              </p14:nvContentPartPr>
              <p14:xfrm>
                <a:off x="7086993" y="3306068"/>
                <a:ext cx="145080" cy="129960"/>
              </p14:xfrm>
            </p:contentPart>
          </mc:Choice>
          <mc:Fallback xmlns="">
            <p:pic>
              <p:nvPicPr>
                <p:cNvPr id="90" name="Ink 89">
                  <a:extLst>
                    <a:ext uri="{FF2B5EF4-FFF2-40B4-BE49-F238E27FC236}">
                      <a16:creationId xmlns:a16="http://schemas.microsoft.com/office/drawing/2014/main" id="{942A82A8-8C18-4B57-8903-ACBB84A39596}"/>
                    </a:ext>
                  </a:extLst>
                </p:cNvPr>
                <p:cNvPicPr/>
                <p:nvPr/>
              </p:nvPicPr>
              <p:blipFill>
                <a:blip r:embed="rId34"/>
                <a:stretch>
                  <a:fillRect/>
                </a:stretch>
              </p:blipFill>
              <p:spPr>
                <a:xfrm>
                  <a:off x="7068993" y="3288068"/>
                  <a:ext cx="180720" cy="165600"/>
                </a:xfrm>
                <a:prstGeom prst="rect">
                  <a:avLst/>
                </a:prstGeom>
              </p:spPr>
            </p:pic>
          </mc:Fallback>
        </mc:AlternateContent>
        <mc:AlternateContent xmlns:mc="http://schemas.openxmlformats.org/markup-compatibility/2006" xmlns:p14="http://schemas.microsoft.com/office/powerpoint/2010/main">
          <mc:Choice Requires="p14">
            <p:contentPart p14:bwMode="auto" r:id="rId35">
              <p14:nvContentPartPr>
                <p14:cNvPr id="91" name="Ink 90">
                  <a:extLst>
                    <a:ext uri="{FF2B5EF4-FFF2-40B4-BE49-F238E27FC236}">
                      <a16:creationId xmlns:a16="http://schemas.microsoft.com/office/drawing/2014/main" id="{AF3C4DE2-A06E-478E-AB1D-597E3FDF5BDD}"/>
                    </a:ext>
                  </a:extLst>
                </p14:cNvPr>
                <p14:cNvContentPartPr/>
                <p14:nvPr/>
              </p14:nvContentPartPr>
              <p14:xfrm>
                <a:off x="7297233" y="3298148"/>
                <a:ext cx="9360" cy="135720"/>
              </p14:xfrm>
            </p:contentPart>
          </mc:Choice>
          <mc:Fallback xmlns="">
            <p:pic>
              <p:nvPicPr>
                <p:cNvPr id="91" name="Ink 90">
                  <a:extLst>
                    <a:ext uri="{FF2B5EF4-FFF2-40B4-BE49-F238E27FC236}">
                      <a16:creationId xmlns:a16="http://schemas.microsoft.com/office/drawing/2014/main" id="{AF3C4DE2-A06E-478E-AB1D-597E3FDF5BDD}"/>
                    </a:ext>
                  </a:extLst>
                </p:cNvPr>
                <p:cNvPicPr/>
                <p:nvPr/>
              </p:nvPicPr>
              <p:blipFill>
                <a:blip r:embed="rId36"/>
                <a:stretch>
                  <a:fillRect/>
                </a:stretch>
              </p:blipFill>
              <p:spPr>
                <a:xfrm>
                  <a:off x="7279233" y="3280508"/>
                  <a:ext cx="45000" cy="171360"/>
                </a:xfrm>
                <a:prstGeom prst="rect">
                  <a:avLst/>
                </a:prstGeom>
              </p:spPr>
            </p:pic>
          </mc:Fallback>
        </mc:AlternateContent>
      </p:grpSp>
      <p:grpSp>
        <p:nvGrpSpPr>
          <p:cNvPr id="94" name="Group 93">
            <a:extLst>
              <a:ext uri="{FF2B5EF4-FFF2-40B4-BE49-F238E27FC236}">
                <a16:creationId xmlns:a16="http://schemas.microsoft.com/office/drawing/2014/main" id="{CB3D0E43-A2A9-4B16-B261-30BD2EFD5FA9}"/>
              </a:ext>
            </a:extLst>
          </p:cNvPr>
          <p:cNvGrpSpPr/>
          <p:nvPr/>
        </p:nvGrpSpPr>
        <p:grpSpPr>
          <a:xfrm>
            <a:off x="7001313" y="3651308"/>
            <a:ext cx="297720" cy="209880"/>
            <a:chOff x="7001313" y="3651308"/>
            <a:chExt cx="297720" cy="209880"/>
          </a:xfrm>
        </p:grpSpPr>
        <mc:AlternateContent xmlns:mc="http://schemas.openxmlformats.org/markup-compatibility/2006" xmlns:p14="http://schemas.microsoft.com/office/powerpoint/2010/main">
          <mc:Choice Requires="p14">
            <p:contentPart p14:bwMode="auto" r:id="rId37">
              <p14:nvContentPartPr>
                <p14:cNvPr id="92" name="Ink 91">
                  <a:extLst>
                    <a:ext uri="{FF2B5EF4-FFF2-40B4-BE49-F238E27FC236}">
                      <a16:creationId xmlns:a16="http://schemas.microsoft.com/office/drawing/2014/main" id="{BFDF2910-2FA0-4E3D-A50A-324A70132825}"/>
                    </a:ext>
                  </a:extLst>
                </p14:cNvPr>
                <p14:cNvContentPartPr/>
                <p14:nvPr/>
              </p14:nvContentPartPr>
              <p14:xfrm>
                <a:off x="7048473" y="3651308"/>
                <a:ext cx="11160" cy="162720"/>
              </p14:xfrm>
            </p:contentPart>
          </mc:Choice>
          <mc:Fallback xmlns="">
            <p:pic>
              <p:nvPicPr>
                <p:cNvPr id="92" name="Ink 91">
                  <a:extLst>
                    <a:ext uri="{FF2B5EF4-FFF2-40B4-BE49-F238E27FC236}">
                      <a16:creationId xmlns:a16="http://schemas.microsoft.com/office/drawing/2014/main" id="{BFDF2910-2FA0-4E3D-A50A-324A70132825}"/>
                    </a:ext>
                  </a:extLst>
                </p:cNvPr>
                <p:cNvPicPr/>
                <p:nvPr/>
              </p:nvPicPr>
              <p:blipFill>
                <a:blip r:embed="rId38"/>
                <a:stretch>
                  <a:fillRect/>
                </a:stretch>
              </p:blipFill>
              <p:spPr>
                <a:xfrm>
                  <a:off x="7030833" y="3633308"/>
                  <a:ext cx="46800" cy="198360"/>
                </a:xfrm>
                <a:prstGeom prst="rect">
                  <a:avLst/>
                </a:prstGeom>
              </p:spPr>
            </p:pic>
          </mc:Fallback>
        </mc:AlternateContent>
        <mc:AlternateContent xmlns:mc="http://schemas.openxmlformats.org/markup-compatibility/2006" xmlns:p14="http://schemas.microsoft.com/office/powerpoint/2010/main">
          <mc:Choice Requires="p14">
            <p:contentPart p14:bwMode="auto" r:id="rId39">
              <p14:nvContentPartPr>
                <p14:cNvPr id="93" name="Ink 92">
                  <a:extLst>
                    <a:ext uri="{FF2B5EF4-FFF2-40B4-BE49-F238E27FC236}">
                      <a16:creationId xmlns:a16="http://schemas.microsoft.com/office/drawing/2014/main" id="{B8E8D310-8A04-48B8-8108-2D3DBF659070}"/>
                    </a:ext>
                  </a:extLst>
                </p14:cNvPr>
                <p14:cNvContentPartPr/>
                <p14:nvPr/>
              </p14:nvContentPartPr>
              <p14:xfrm>
                <a:off x="7001313" y="3656708"/>
                <a:ext cx="297720" cy="204480"/>
              </p14:xfrm>
            </p:contentPart>
          </mc:Choice>
          <mc:Fallback xmlns="">
            <p:pic>
              <p:nvPicPr>
                <p:cNvPr id="93" name="Ink 92">
                  <a:extLst>
                    <a:ext uri="{FF2B5EF4-FFF2-40B4-BE49-F238E27FC236}">
                      <a16:creationId xmlns:a16="http://schemas.microsoft.com/office/drawing/2014/main" id="{B8E8D310-8A04-48B8-8108-2D3DBF659070}"/>
                    </a:ext>
                  </a:extLst>
                </p:cNvPr>
                <p:cNvPicPr/>
                <p:nvPr/>
              </p:nvPicPr>
              <p:blipFill>
                <a:blip r:embed="rId40"/>
                <a:stretch>
                  <a:fillRect/>
                </a:stretch>
              </p:blipFill>
              <p:spPr>
                <a:xfrm>
                  <a:off x="6983313" y="3638708"/>
                  <a:ext cx="333360" cy="24012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41">
            <p14:nvContentPartPr>
              <p14:cNvPr id="100" name="Ink 99">
                <a:extLst>
                  <a:ext uri="{FF2B5EF4-FFF2-40B4-BE49-F238E27FC236}">
                    <a16:creationId xmlns:a16="http://schemas.microsoft.com/office/drawing/2014/main" id="{A535E535-7512-49DD-AEFF-D095678378A0}"/>
                  </a:ext>
                </a:extLst>
              </p14:cNvPr>
              <p14:cNvContentPartPr/>
              <p14:nvPr/>
            </p14:nvContentPartPr>
            <p14:xfrm>
              <a:off x="6584793" y="3973148"/>
              <a:ext cx="173880" cy="663120"/>
            </p14:xfrm>
          </p:contentPart>
        </mc:Choice>
        <mc:Fallback xmlns="">
          <p:pic>
            <p:nvPicPr>
              <p:cNvPr id="100" name="Ink 99">
                <a:extLst>
                  <a:ext uri="{FF2B5EF4-FFF2-40B4-BE49-F238E27FC236}">
                    <a16:creationId xmlns:a16="http://schemas.microsoft.com/office/drawing/2014/main" id="{A535E535-7512-49DD-AEFF-D095678378A0}"/>
                  </a:ext>
                </a:extLst>
              </p:cNvPr>
              <p:cNvPicPr/>
              <p:nvPr/>
            </p:nvPicPr>
            <p:blipFill>
              <a:blip r:embed="rId42"/>
              <a:stretch>
                <a:fillRect/>
              </a:stretch>
            </p:blipFill>
            <p:spPr>
              <a:xfrm>
                <a:off x="6566793" y="3955508"/>
                <a:ext cx="209520" cy="698760"/>
              </a:xfrm>
              <a:prstGeom prst="rect">
                <a:avLst/>
              </a:prstGeom>
            </p:spPr>
          </p:pic>
        </mc:Fallback>
      </mc:AlternateContent>
      <p:grpSp>
        <p:nvGrpSpPr>
          <p:cNvPr id="106" name="Group 105">
            <a:extLst>
              <a:ext uri="{FF2B5EF4-FFF2-40B4-BE49-F238E27FC236}">
                <a16:creationId xmlns:a16="http://schemas.microsoft.com/office/drawing/2014/main" id="{18540EE1-8A58-456F-BBE9-AA43973BFEFB}"/>
              </a:ext>
            </a:extLst>
          </p:cNvPr>
          <p:cNvGrpSpPr/>
          <p:nvPr/>
        </p:nvGrpSpPr>
        <p:grpSpPr>
          <a:xfrm>
            <a:off x="7451313" y="4005548"/>
            <a:ext cx="757800" cy="707400"/>
            <a:chOff x="7451313" y="4005548"/>
            <a:chExt cx="757800" cy="707400"/>
          </a:xfrm>
        </p:grpSpPr>
        <mc:AlternateContent xmlns:mc="http://schemas.openxmlformats.org/markup-compatibility/2006" xmlns:p14="http://schemas.microsoft.com/office/powerpoint/2010/main">
          <mc:Choice Requires="p14">
            <p:contentPart p14:bwMode="auto" r:id="rId43">
              <p14:nvContentPartPr>
                <p14:cNvPr id="101" name="Ink 100">
                  <a:extLst>
                    <a:ext uri="{FF2B5EF4-FFF2-40B4-BE49-F238E27FC236}">
                      <a16:creationId xmlns:a16="http://schemas.microsoft.com/office/drawing/2014/main" id="{FC629238-923A-411D-A5DB-D9B94E2B9423}"/>
                    </a:ext>
                  </a:extLst>
                </p14:cNvPr>
                <p14:cNvContentPartPr/>
                <p14:nvPr/>
              </p14:nvContentPartPr>
              <p14:xfrm>
                <a:off x="7451313" y="4005548"/>
                <a:ext cx="131400" cy="543240"/>
              </p14:xfrm>
            </p:contentPart>
          </mc:Choice>
          <mc:Fallback xmlns="">
            <p:pic>
              <p:nvPicPr>
                <p:cNvPr id="101" name="Ink 100">
                  <a:extLst>
                    <a:ext uri="{FF2B5EF4-FFF2-40B4-BE49-F238E27FC236}">
                      <a16:creationId xmlns:a16="http://schemas.microsoft.com/office/drawing/2014/main" id="{FC629238-923A-411D-A5DB-D9B94E2B9423}"/>
                    </a:ext>
                  </a:extLst>
                </p:cNvPr>
                <p:cNvPicPr/>
                <p:nvPr/>
              </p:nvPicPr>
              <p:blipFill>
                <a:blip r:embed="rId44"/>
                <a:stretch>
                  <a:fillRect/>
                </a:stretch>
              </p:blipFill>
              <p:spPr>
                <a:xfrm>
                  <a:off x="7433313" y="3987908"/>
                  <a:ext cx="167040" cy="578880"/>
                </a:xfrm>
                <a:prstGeom prst="rect">
                  <a:avLst/>
                </a:prstGeom>
              </p:spPr>
            </p:pic>
          </mc:Fallback>
        </mc:AlternateContent>
        <mc:AlternateContent xmlns:mc="http://schemas.openxmlformats.org/markup-compatibility/2006" xmlns:p14="http://schemas.microsoft.com/office/powerpoint/2010/main">
          <mc:Choice Requires="p14">
            <p:contentPart p14:bwMode="auto" r:id="rId45">
              <p14:nvContentPartPr>
                <p14:cNvPr id="102" name="Ink 101">
                  <a:extLst>
                    <a:ext uri="{FF2B5EF4-FFF2-40B4-BE49-F238E27FC236}">
                      <a16:creationId xmlns:a16="http://schemas.microsoft.com/office/drawing/2014/main" id="{373AA00D-3F9F-4585-B35D-033A25970261}"/>
                    </a:ext>
                  </a:extLst>
                </p14:cNvPr>
                <p14:cNvContentPartPr/>
                <p14:nvPr/>
              </p14:nvContentPartPr>
              <p14:xfrm>
                <a:off x="7738593" y="4355108"/>
                <a:ext cx="190440" cy="132480"/>
              </p14:xfrm>
            </p:contentPart>
          </mc:Choice>
          <mc:Fallback xmlns="">
            <p:pic>
              <p:nvPicPr>
                <p:cNvPr id="102" name="Ink 101">
                  <a:extLst>
                    <a:ext uri="{FF2B5EF4-FFF2-40B4-BE49-F238E27FC236}">
                      <a16:creationId xmlns:a16="http://schemas.microsoft.com/office/drawing/2014/main" id="{373AA00D-3F9F-4585-B35D-033A25970261}"/>
                    </a:ext>
                  </a:extLst>
                </p:cNvPr>
                <p:cNvPicPr/>
                <p:nvPr/>
              </p:nvPicPr>
              <p:blipFill>
                <a:blip r:embed="rId46"/>
                <a:stretch>
                  <a:fillRect/>
                </a:stretch>
              </p:blipFill>
              <p:spPr>
                <a:xfrm>
                  <a:off x="7720953" y="4337468"/>
                  <a:ext cx="226080" cy="168120"/>
                </a:xfrm>
                <a:prstGeom prst="rect">
                  <a:avLst/>
                </a:prstGeom>
              </p:spPr>
            </p:pic>
          </mc:Fallback>
        </mc:AlternateContent>
        <mc:AlternateContent xmlns:mc="http://schemas.openxmlformats.org/markup-compatibility/2006" xmlns:p14="http://schemas.microsoft.com/office/powerpoint/2010/main">
          <mc:Choice Requires="p14">
            <p:contentPart p14:bwMode="auto" r:id="rId47">
              <p14:nvContentPartPr>
                <p14:cNvPr id="103" name="Ink 102">
                  <a:extLst>
                    <a:ext uri="{FF2B5EF4-FFF2-40B4-BE49-F238E27FC236}">
                      <a16:creationId xmlns:a16="http://schemas.microsoft.com/office/drawing/2014/main" id="{9394630D-5FA0-4BE7-882E-B7CA815AB933}"/>
                    </a:ext>
                  </a:extLst>
                </p14:cNvPr>
                <p14:cNvContentPartPr/>
                <p14:nvPr/>
              </p14:nvContentPartPr>
              <p14:xfrm>
                <a:off x="7958193" y="4439708"/>
                <a:ext cx="78120" cy="64080"/>
              </p14:xfrm>
            </p:contentPart>
          </mc:Choice>
          <mc:Fallback xmlns="">
            <p:pic>
              <p:nvPicPr>
                <p:cNvPr id="103" name="Ink 102">
                  <a:extLst>
                    <a:ext uri="{FF2B5EF4-FFF2-40B4-BE49-F238E27FC236}">
                      <a16:creationId xmlns:a16="http://schemas.microsoft.com/office/drawing/2014/main" id="{9394630D-5FA0-4BE7-882E-B7CA815AB933}"/>
                    </a:ext>
                  </a:extLst>
                </p:cNvPr>
                <p:cNvPicPr/>
                <p:nvPr/>
              </p:nvPicPr>
              <p:blipFill>
                <a:blip r:embed="rId48"/>
                <a:stretch>
                  <a:fillRect/>
                </a:stretch>
              </p:blipFill>
              <p:spPr>
                <a:xfrm>
                  <a:off x="7940193" y="4422068"/>
                  <a:ext cx="113760" cy="99720"/>
                </a:xfrm>
                <a:prstGeom prst="rect">
                  <a:avLst/>
                </a:prstGeom>
              </p:spPr>
            </p:pic>
          </mc:Fallback>
        </mc:AlternateContent>
        <mc:AlternateContent xmlns:mc="http://schemas.openxmlformats.org/markup-compatibility/2006" xmlns:p14="http://schemas.microsoft.com/office/powerpoint/2010/main">
          <mc:Choice Requires="p14">
            <p:contentPart p14:bwMode="auto" r:id="rId49">
              <p14:nvContentPartPr>
                <p14:cNvPr id="104" name="Ink 103">
                  <a:extLst>
                    <a:ext uri="{FF2B5EF4-FFF2-40B4-BE49-F238E27FC236}">
                      <a16:creationId xmlns:a16="http://schemas.microsoft.com/office/drawing/2014/main" id="{D79E8CC3-918F-48DC-8CD1-6B8A85B7AD70}"/>
                    </a:ext>
                  </a:extLst>
                </p14:cNvPr>
                <p14:cNvContentPartPr/>
                <p14:nvPr/>
              </p14:nvContentPartPr>
              <p14:xfrm>
                <a:off x="8103993" y="4428908"/>
                <a:ext cx="105120" cy="126720"/>
              </p14:xfrm>
            </p:contentPart>
          </mc:Choice>
          <mc:Fallback xmlns="">
            <p:pic>
              <p:nvPicPr>
                <p:cNvPr id="104" name="Ink 103">
                  <a:extLst>
                    <a:ext uri="{FF2B5EF4-FFF2-40B4-BE49-F238E27FC236}">
                      <a16:creationId xmlns:a16="http://schemas.microsoft.com/office/drawing/2014/main" id="{D79E8CC3-918F-48DC-8CD1-6B8A85B7AD70}"/>
                    </a:ext>
                  </a:extLst>
                </p:cNvPr>
                <p:cNvPicPr/>
                <p:nvPr/>
              </p:nvPicPr>
              <p:blipFill>
                <a:blip r:embed="rId50"/>
                <a:stretch>
                  <a:fillRect/>
                </a:stretch>
              </p:blipFill>
              <p:spPr>
                <a:xfrm>
                  <a:off x="8085993" y="4411268"/>
                  <a:ext cx="140760" cy="162360"/>
                </a:xfrm>
                <a:prstGeom prst="rect">
                  <a:avLst/>
                </a:prstGeom>
              </p:spPr>
            </p:pic>
          </mc:Fallback>
        </mc:AlternateContent>
        <mc:AlternateContent xmlns:mc="http://schemas.openxmlformats.org/markup-compatibility/2006" xmlns:p14="http://schemas.microsoft.com/office/powerpoint/2010/main">
          <mc:Choice Requires="p14">
            <p:contentPart p14:bwMode="auto" r:id="rId51">
              <p14:nvContentPartPr>
                <p14:cNvPr id="105" name="Ink 104">
                  <a:extLst>
                    <a:ext uri="{FF2B5EF4-FFF2-40B4-BE49-F238E27FC236}">
                      <a16:creationId xmlns:a16="http://schemas.microsoft.com/office/drawing/2014/main" id="{3D457D73-254D-4780-A83A-E9E014D41514}"/>
                    </a:ext>
                  </a:extLst>
                </p14:cNvPr>
                <p14:cNvContentPartPr/>
                <p14:nvPr/>
              </p14:nvContentPartPr>
              <p14:xfrm>
                <a:off x="7921473" y="4632668"/>
                <a:ext cx="276840" cy="80280"/>
              </p14:xfrm>
            </p:contentPart>
          </mc:Choice>
          <mc:Fallback xmlns="">
            <p:pic>
              <p:nvPicPr>
                <p:cNvPr id="105" name="Ink 104">
                  <a:extLst>
                    <a:ext uri="{FF2B5EF4-FFF2-40B4-BE49-F238E27FC236}">
                      <a16:creationId xmlns:a16="http://schemas.microsoft.com/office/drawing/2014/main" id="{3D457D73-254D-4780-A83A-E9E014D41514}"/>
                    </a:ext>
                  </a:extLst>
                </p:cNvPr>
                <p:cNvPicPr/>
                <p:nvPr/>
              </p:nvPicPr>
              <p:blipFill>
                <a:blip r:embed="rId52"/>
                <a:stretch>
                  <a:fillRect/>
                </a:stretch>
              </p:blipFill>
              <p:spPr>
                <a:xfrm>
                  <a:off x="7903833" y="4614668"/>
                  <a:ext cx="312480" cy="115920"/>
                </a:xfrm>
                <a:prstGeom prst="rect">
                  <a:avLst/>
                </a:prstGeom>
              </p:spPr>
            </p:pic>
          </mc:Fallback>
        </mc:AlternateContent>
      </p:grpSp>
      <p:grpSp>
        <p:nvGrpSpPr>
          <p:cNvPr id="161" name="Group 160">
            <a:extLst>
              <a:ext uri="{FF2B5EF4-FFF2-40B4-BE49-F238E27FC236}">
                <a16:creationId xmlns:a16="http://schemas.microsoft.com/office/drawing/2014/main" id="{68022C22-CA00-4F7A-B99A-139CF8BBA81A}"/>
              </a:ext>
            </a:extLst>
          </p:cNvPr>
          <p:cNvGrpSpPr/>
          <p:nvPr/>
        </p:nvGrpSpPr>
        <p:grpSpPr>
          <a:xfrm>
            <a:off x="3837273" y="3104828"/>
            <a:ext cx="2674440" cy="909000"/>
            <a:chOff x="3837273" y="3104828"/>
            <a:chExt cx="2674440" cy="909000"/>
          </a:xfrm>
        </p:grpSpPr>
        <mc:AlternateContent xmlns:mc="http://schemas.openxmlformats.org/markup-compatibility/2006" xmlns:p14="http://schemas.microsoft.com/office/powerpoint/2010/main">
          <mc:Choice Requires="p14">
            <p:contentPart p14:bwMode="auto" r:id="rId53">
              <p14:nvContentPartPr>
                <p14:cNvPr id="71" name="Ink 70">
                  <a:extLst>
                    <a:ext uri="{FF2B5EF4-FFF2-40B4-BE49-F238E27FC236}">
                      <a16:creationId xmlns:a16="http://schemas.microsoft.com/office/drawing/2014/main" id="{67F53274-2309-48DC-8315-6F698C8C547D}"/>
                    </a:ext>
                  </a:extLst>
                </p14:cNvPr>
                <p14:cNvContentPartPr/>
                <p14:nvPr/>
              </p14:nvContentPartPr>
              <p14:xfrm>
                <a:off x="4376193" y="3104828"/>
                <a:ext cx="51480" cy="298800"/>
              </p14:xfrm>
            </p:contentPart>
          </mc:Choice>
          <mc:Fallback xmlns="">
            <p:pic>
              <p:nvPicPr>
                <p:cNvPr id="71" name="Ink 70">
                  <a:extLst>
                    <a:ext uri="{FF2B5EF4-FFF2-40B4-BE49-F238E27FC236}">
                      <a16:creationId xmlns:a16="http://schemas.microsoft.com/office/drawing/2014/main" id="{67F53274-2309-48DC-8315-6F698C8C547D}"/>
                    </a:ext>
                  </a:extLst>
                </p:cNvPr>
                <p:cNvPicPr/>
                <p:nvPr/>
              </p:nvPicPr>
              <p:blipFill>
                <a:blip r:embed="rId54"/>
                <a:stretch>
                  <a:fillRect/>
                </a:stretch>
              </p:blipFill>
              <p:spPr>
                <a:xfrm>
                  <a:off x="4358553" y="3086828"/>
                  <a:ext cx="87120" cy="334440"/>
                </a:xfrm>
                <a:prstGeom prst="rect">
                  <a:avLst/>
                </a:prstGeom>
              </p:spPr>
            </p:pic>
          </mc:Fallback>
        </mc:AlternateContent>
        <mc:AlternateContent xmlns:mc="http://schemas.openxmlformats.org/markup-compatibility/2006" xmlns:p14="http://schemas.microsoft.com/office/powerpoint/2010/main">
          <mc:Choice Requires="p14">
            <p:contentPart p14:bwMode="auto" r:id="rId55">
              <p14:nvContentPartPr>
                <p14:cNvPr id="72" name="Ink 71">
                  <a:extLst>
                    <a:ext uri="{FF2B5EF4-FFF2-40B4-BE49-F238E27FC236}">
                      <a16:creationId xmlns:a16="http://schemas.microsoft.com/office/drawing/2014/main" id="{9B72AA54-2860-4DFF-A829-E887DD886E0A}"/>
                    </a:ext>
                  </a:extLst>
                </p14:cNvPr>
                <p14:cNvContentPartPr/>
                <p14:nvPr/>
              </p14:nvContentPartPr>
              <p14:xfrm>
                <a:off x="4511193" y="3185108"/>
                <a:ext cx="105840" cy="205200"/>
              </p14:xfrm>
            </p:contentPart>
          </mc:Choice>
          <mc:Fallback xmlns="">
            <p:pic>
              <p:nvPicPr>
                <p:cNvPr id="72" name="Ink 71">
                  <a:extLst>
                    <a:ext uri="{FF2B5EF4-FFF2-40B4-BE49-F238E27FC236}">
                      <a16:creationId xmlns:a16="http://schemas.microsoft.com/office/drawing/2014/main" id="{9B72AA54-2860-4DFF-A829-E887DD886E0A}"/>
                    </a:ext>
                  </a:extLst>
                </p:cNvPr>
                <p:cNvPicPr/>
                <p:nvPr/>
              </p:nvPicPr>
              <p:blipFill>
                <a:blip r:embed="rId56"/>
                <a:stretch>
                  <a:fillRect/>
                </a:stretch>
              </p:blipFill>
              <p:spPr>
                <a:xfrm>
                  <a:off x="4493193" y="3167468"/>
                  <a:ext cx="141480" cy="240840"/>
                </a:xfrm>
                <a:prstGeom prst="rect">
                  <a:avLst/>
                </a:prstGeom>
              </p:spPr>
            </p:pic>
          </mc:Fallback>
        </mc:AlternateContent>
        <mc:AlternateContent xmlns:mc="http://schemas.openxmlformats.org/markup-compatibility/2006" xmlns:p14="http://schemas.microsoft.com/office/powerpoint/2010/main">
          <mc:Choice Requires="p14">
            <p:contentPart p14:bwMode="auto" r:id="rId57">
              <p14:nvContentPartPr>
                <p14:cNvPr id="73" name="Ink 72">
                  <a:extLst>
                    <a:ext uri="{FF2B5EF4-FFF2-40B4-BE49-F238E27FC236}">
                      <a16:creationId xmlns:a16="http://schemas.microsoft.com/office/drawing/2014/main" id="{6D3799BB-4640-4DF4-83EC-9BF81C357E3E}"/>
                    </a:ext>
                  </a:extLst>
                </p14:cNvPr>
                <p14:cNvContentPartPr/>
                <p14:nvPr/>
              </p14:nvContentPartPr>
              <p14:xfrm>
                <a:off x="4687593" y="3181508"/>
                <a:ext cx="161640" cy="178200"/>
              </p14:xfrm>
            </p:contentPart>
          </mc:Choice>
          <mc:Fallback xmlns="">
            <p:pic>
              <p:nvPicPr>
                <p:cNvPr id="73" name="Ink 72">
                  <a:extLst>
                    <a:ext uri="{FF2B5EF4-FFF2-40B4-BE49-F238E27FC236}">
                      <a16:creationId xmlns:a16="http://schemas.microsoft.com/office/drawing/2014/main" id="{6D3799BB-4640-4DF4-83EC-9BF81C357E3E}"/>
                    </a:ext>
                  </a:extLst>
                </p:cNvPr>
                <p:cNvPicPr/>
                <p:nvPr/>
              </p:nvPicPr>
              <p:blipFill>
                <a:blip r:embed="rId58"/>
                <a:stretch>
                  <a:fillRect/>
                </a:stretch>
              </p:blipFill>
              <p:spPr>
                <a:xfrm>
                  <a:off x="4669593" y="3163868"/>
                  <a:ext cx="197280" cy="213840"/>
                </a:xfrm>
                <a:prstGeom prst="rect">
                  <a:avLst/>
                </a:prstGeom>
              </p:spPr>
            </p:pic>
          </mc:Fallback>
        </mc:AlternateContent>
        <mc:AlternateContent xmlns:mc="http://schemas.openxmlformats.org/markup-compatibility/2006" xmlns:p14="http://schemas.microsoft.com/office/powerpoint/2010/main">
          <mc:Choice Requires="p14">
            <p:contentPart p14:bwMode="auto" r:id="rId59">
              <p14:nvContentPartPr>
                <p14:cNvPr id="74" name="Ink 73">
                  <a:extLst>
                    <a:ext uri="{FF2B5EF4-FFF2-40B4-BE49-F238E27FC236}">
                      <a16:creationId xmlns:a16="http://schemas.microsoft.com/office/drawing/2014/main" id="{2BBF301F-9DD2-48FF-BC70-5D30F4B0710B}"/>
                    </a:ext>
                  </a:extLst>
                </p14:cNvPr>
                <p14:cNvContentPartPr/>
                <p14:nvPr/>
              </p14:nvContentPartPr>
              <p14:xfrm>
                <a:off x="4950033" y="3200588"/>
                <a:ext cx="110160" cy="195840"/>
              </p14:xfrm>
            </p:contentPart>
          </mc:Choice>
          <mc:Fallback xmlns="">
            <p:pic>
              <p:nvPicPr>
                <p:cNvPr id="74" name="Ink 73">
                  <a:extLst>
                    <a:ext uri="{FF2B5EF4-FFF2-40B4-BE49-F238E27FC236}">
                      <a16:creationId xmlns:a16="http://schemas.microsoft.com/office/drawing/2014/main" id="{2BBF301F-9DD2-48FF-BC70-5D30F4B0710B}"/>
                    </a:ext>
                  </a:extLst>
                </p:cNvPr>
                <p:cNvPicPr/>
                <p:nvPr/>
              </p:nvPicPr>
              <p:blipFill>
                <a:blip r:embed="rId60"/>
                <a:stretch>
                  <a:fillRect/>
                </a:stretch>
              </p:blipFill>
              <p:spPr>
                <a:xfrm>
                  <a:off x="4932393" y="3182588"/>
                  <a:ext cx="145800" cy="231480"/>
                </a:xfrm>
                <a:prstGeom prst="rect">
                  <a:avLst/>
                </a:prstGeom>
              </p:spPr>
            </p:pic>
          </mc:Fallback>
        </mc:AlternateContent>
        <mc:AlternateContent xmlns:mc="http://schemas.openxmlformats.org/markup-compatibility/2006" xmlns:p14="http://schemas.microsoft.com/office/powerpoint/2010/main">
          <mc:Choice Requires="p14">
            <p:contentPart p14:bwMode="auto" r:id="rId61">
              <p14:nvContentPartPr>
                <p14:cNvPr id="77" name="Ink 76">
                  <a:extLst>
                    <a:ext uri="{FF2B5EF4-FFF2-40B4-BE49-F238E27FC236}">
                      <a16:creationId xmlns:a16="http://schemas.microsoft.com/office/drawing/2014/main" id="{BB1F213B-8807-4C45-864A-F71B2AAC0511}"/>
                    </a:ext>
                  </a:extLst>
                </p14:cNvPr>
                <p14:cNvContentPartPr/>
                <p14:nvPr/>
              </p14:nvContentPartPr>
              <p14:xfrm>
                <a:off x="5387073" y="3208148"/>
                <a:ext cx="72000" cy="113760"/>
              </p14:xfrm>
            </p:contentPart>
          </mc:Choice>
          <mc:Fallback xmlns="">
            <p:pic>
              <p:nvPicPr>
                <p:cNvPr id="77" name="Ink 76">
                  <a:extLst>
                    <a:ext uri="{FF2B5EF4-FFF2-40B4-BE49-F238E27FC236}">
                      <a16:creationId xmlns:a16="http://schemas.microsoft.com/office/drawing/2014/main" id="{BB1F213B-8807-4C45-864A-F71B2AAC0511}"/>
                    </a:ext>
                  </a:extLst>
                </p:cNvPr>
                <p:cNvPicPr/>
                <p:nvPr/>
              </p:nvPicPr>
              <p:blipFill>
                <a:blip r:embed="rId62"/>
                <a:stretch>
                  <a:fillRect/>
                </a:stretch>
              </p:blipFill>
              <p:spPr>
                <a:xfrm>
                  <a:off x="5369073" y="3190148"/>
                  <a:ext cx="107640" cy="149400"/>
                </a:xfrm>
                <a:prstGeom prst="rect">
                  <a:avLst/>
                </a:prstGeom>
              </p:spPr>
            </p:pic>
          </mc:Fallback>
        </mc:AlternateContent>
        <mc:AlternateContent xmlns:mc="http://schemas.openxmlformats.org/markup-compatibility/2006" xmlns:p14="http://schemas.microsoft.com/office/powerpoint/2010/main">
          <mc:Choice Requires="p14">
            <p:contentPart p14:bwMode="auto" r:id="rId63">
              <p14:nvContentPartPr>
                <p14:cNvPr id="78" name="Ink 77">
                  <a:extLst>
                    <a:ext uri="{FF2B5EF4-FFF2-40B4-BE49-F238E27FC236}">
                      <a16:creationId xmlns:a16="http://schemas.microsoft.com/office/drawing/2014/main" id="{4A429C0F-4495-4C0A-A942-D716369AFDA3}"/>
                    </a:ext>
                  </a:extLst>
                </p14:cNvPr>
                <p14:cNvContentPartPr/>
                <p14:nvPr/>
              </p14:nvContentPartPr>
              <p14:xfrm>
                <a:off x="5379873" y="3236228"/>
                <a:ext cx="136080" cy="92880"/>
              </p14:xfrm>
            </p:contentPart>
          </mc:Choice>
          <mc:Fallback xmlns="">
            <p:pic>
              <p:nvPicPr>
                <p:cNvPr id="78" name="Ink 77">
                  <a:extLst>
                    <a:ext uri="{FF2B5EF4-FFF2-40B4-BE49-F238E27FC236}">
                      <a16:creationId xmlns:a16="http://schemas.microsoft.com/office/drawing/2014/main" id="{4A429C0F-4495-4C0A-A942-D716369AFDA3}"/>
                    </a:ext>
                  </a:extLst>
                </p:cNvPr>
                <p:cNvPicPr/>
                <p:nvPr/>
              </p:nvPicPr>
              <p:blipFill>
                <a:blip r:embed="rId64"/>
                <a:stretch>
                  <a:fillRect/>
                </a:stretch>
              </p:blipFill>
              <p:spPr>
                <a:xfrm>
                  <a:off x="5362233" y="3218588"/>
                  <a:ext cx="171720" cy="128520"/>
                </a:xfrm>
                <a:prstGeom prst="rect">
                  <a:avLst/>
                </a:prstGeom>
              </p:spPr>
            </p:pic>
          </mc:Fallback>
        </mc:AlternateContent>
        <mc:AlternateContent xmlns:mc="http://schemas.openxmlformats.org/markup-compatibility/2006" xmlns:p14="http://schemas.microsoft.com/office/powerpoint/2010/main">
          <mc:Choice Requires="p14">
            <p:contentPart p14:bwMode="auto" r:id="rId65">
              <p14:nvContentPartPr>
                <p14:cNvPr id="79" name="Ink 78">
                  <a:extLst>
                    <a:ext uri="{FF2B5EF4-FFF2-40B4-BE49-F238E27FC236}">
                      <a16:creationId xmlns:a16="http://schemas.microsoft.com/office/drawing/2014/main" id="{BE005DBF-CF52-4A6E-92B4-D5CF298C31C2}"/>
                    </a:ext>
                  </a:extLst>
                </p14:cNvPr>
                <p14:cNvContentPartPr/>
                <p14:nvPr/>
              </p14:nvContentPartPr>
              <p14:xfrm>
                <a:off x="5346393" y="3277628"/>
                <a:ext cx="112320" cy="31680"/>
              </p14:xfrm>
            </p:contentPart>
          </mc:Choice>
          <mc:Fallback xmlns="">
            <p:pic>
              <p:nvPicPr>
                <p:cNvPr id="79" name="Ink 78">
                  <a:extLst>
                    <a:ext uri="{FF2B5EF4-FFF2-40B4-BE49-F238E27FC236}">
                      <a16:creationId xmlns:a16="http://schemas.microsoft.com/office/drawing/2014/main" id="{BE005DBF-CF52-4A6E-92B4-D5CF298C31C2}"/>
                    </a:ext>
                  </a:extLst>
                </p:cNvPr>
                <p:cNvPicPr/>
                <p:nvPr/>
              </p:nvPicPr>
              <p:blipFill>
                <a:blip r:embed="rId66"/>
                <a:stretch>
                  <a:fillRect/>
                </a:stretch>
              </p:blipFill>
              <p:spPr>
                <a:xfrm>
                  <a:off x="5328393" y="3259988"/>
                  <a:ext cx="147960" cy="67320"/>
                </a:xfrm>
                <a:prstGeom prst="rect">
                  <a:avLst/>
                </a:prstGeom>
              </p:spPr>
            </p:pic>
          </mc:Fallback>
        </mc:AlternateContent>
        <mc:AlternateContent xmlns:mc="http://schemas.openxmlformats.org/markup-compatibility/2006" xmlns:p14="http://schemas.microsoft.com/office/powerpoint/2010/main">
          <mc:Choice Requires="p14">
            <p:contentPart p14:bwMode="auto" r:id="rId67">
              <p14:nvContentPartPr>
                <p14:cNvPr id="80" name="Ink 79">
                  <a:extLst>
                    <a:ext uri="{FF2B5EF4-FFF2-40B4-BE49-F238E27FC236}">
                      <a16:creationId xmlns:a16="http://schemas.microsoft.com/office/drawing/2014/main" id="{A5492019-D9EB-44B3-B0F4-17404B5A249C}"/>
                    </a:ext>
                  </a:extLst>
                </p14:cNvPr>
                <p14:cNvContentPartPr/>
                <p14:nvPr/>
              </p14:nvContentPartPr>
              <p14:xfrm>
                <a:off x="5432073" y="3263588"/>
                <a:ext cx="75960" cy="15120"/>
              </p14:xfrm>
            </p:contentPart>
          </mc:Choice>
          <mc:Fallback xmlns="">
            <p:pic>
              <p:nvPicPr>
                <p:cNvPr id="80" name="Ink 79">
                  <a:extLst>
                    <a:ext uri="{FF2B5EF4-FFF2-40B4-BE49-F238E27FC236}">
                      <a16:creationId xmlns:a16="http://schemas.microsoft.com/office/drawing/2014/main" id="{A5492019-D9EB-44B3-B0F4-17404B5A249C}"/>
                    </a:ext>
                  </a:extLst>
                </p:cNvPr>
                <p:cNvPicPr/>
                <p:nvPr/>
              </p:nvPicPr>
              <p:blipFill>
                <a:blip r:embed="rId68"/>
                <a:stretch>
                  <a:fillRect/>
                </a:stretch>
              </p:blipFill>
              <p:spPr>
                <a:xfrm>
                  <a:off x="5414433" y="3245948"/>
                  <a:ext cx="111600" cy="50760"/>
                </a:xfrm>
                <a:prstGeom prst="rect">
                  <a:avLst/>
                </a:prstGeom>
              </p:spPr>
            </p:pic>
          </mc:Fallback>
        </mc:AlternateContent>
        <mc:AlternateContent xmlns:mc="http://schemas.openxmlformats.org/markup-compatibility/2006" xmlns:p14="http://schemas.microsoft.com/office/powerpoint/2010/main">
          <mc:Choice Requires="p14">
            <p:contentPart p14:bwMode="auto" r:id="rId69">
              <p14:nvContentPartPr>
                <p14:cNvPr id="81" name="Ink 80">
                  <a:extLst>
                    <a:ext uri="{FF2B5EF4-FFF2-40B4-BE49-F238E27FC236}">
                      <a16:creationId xmlns:a16="http://schemas.microsoft.com/office/drawing/2014/main" id="{DAE86899-D2BC-44E2-BB93-5FFEC9E9557A}"/>
                    </a:ext>
                  </a:extLst>
                </p14:cNvPr>
                <p14:cNvContentPartPr/>
                <p14:nvPr/>
              </p14:nvContentPartPr>
              <p14:xfrm>
                <a:off x="5268993" y="3158108"/>
                <a:ext cx="320040" cy="270360"/>
              </p14:xfrm>
            </p:contentPart>
          </mc:Choice>
          <mc:Fallback xmlns="">
            <p:pic>
              <p:nvPicPr>
                <p:cNvPr id="81" name="Ink 80">
                  <a:extLst>
                    <a:ext uri="{FF2B5EF4-FFF2-40B4-BE49-F238E27FC236}">
                      <a16:creationId xmlns:a16="http://schemas.microsoft.com/office/drawing/2014/main" id="{DAE86899-D2BC-44E2-BB93-5FFEC9E9557A}"/>
                    </a:ext>
                  </a:extLst>
                </p:cNvPr>
                <p:cNvPicPr/>
                <p:nvPr/>
              </p:nvPicPr>
              <p:blipFill>
                <a:blip r:embed="rId70"/>
                <a:stretch>
                  <a:fillRect/>
                </a:stretch>
              </p:blipFill>
              <p:spPr>
                <a:xfrm>
                  <a:off x="5251353" y="3140108"/>
                  <a:ext cx="355680" cy="306000"/>
                </a:xfrm>
                <a:prstGeom prst="rect">
                  <a:avLst/>
                </a:prstGeom>
              </p:spPr>
            </p:pic>
          </mc:Fallback>
        </mc:AlternateContent>
        <mc:AlternateContent xmlns:mc="http://schemas.openxmlformats.org/markup-compatibility/2006" xmlns:p14="http://schemas.microsoft.com/office/powerpoint/2010/main">
          <mc:Choice Requires="p14">
            <p:contentPart p14:bwMode="auto" r:id="rId71">
              <p14:nvContentPartPr>
                <p14:cNvPr id="84" name="Ink 83">
                  <a:extLst>
                    <a:ext uri="{FF2B5EF4-FFF2-40B4-BE49-F238E27FC236}">
                      <a16:creationId xmlns:a16="http://schemas.microsoft.com/office/drawing/2014/main" id="{DB903D3A-D634-4D31-BB75-1C25E31BD4CB}"/>
                    </a:ext>
                  </a:extLst>
                </p14:cNvPr>
                <p14:cNvContentPartPr/>
                <p14:nvPr/>
              </p14:nvContentPartPr>
              <p14:xfrm>
                <a:off x="5782713" y="3159908"/>
                <a:ext cx="129600" cy="198000"/>
              </p14:xfrm>
            </p:contentPart>
          </mc:Choice>
          <mc:Fallback xmlns="">
            <p:pic>
              <p:nvPicPr>
                <p:cNvPr id="84" name="Ink 83">
                  <a:extLst>
                    <a:ext uri="{FF2B5EF4-FFF2-40B4-BE49-F238E27FC236}">
                      <a16:creationId xmlns:a16="http://schemas.microsoft.com/office/drawing/2014/main" id="{DB903D3A-D634-4D31-BB75-1C25E31BD4CB}"/>
                    </a:ext>
                  </a:extLst>
                </p:cNvPr>
                <p:cNvPicPr/>
                <p:nvPr/>
              </p:nvPicPr>
              <p:blipFill>
                <a:blip r:embed="rId72"/>
                <a:stretch>
                  <a:fillRect/>
                </a:stretch>
              </p:blipFill>
              <p:spPr>
                <a:xfrm>
                  <a:off x="5764713" y="3142268"/>
                  <a:ext cx="165240" cy="233640"/>
                </a:xfrm>
                <a:prstGeom prst="rect">
                  <a:avLst/>
                </a:prstGeom>
              </p:spPr>
            </p:pic>
          </mc:Fallback>
        </mc:AlternateContent>
        <mc:AlternateContent xmlns:mc="http://schemas.openxmlformats.org/markup-compatibility/2006" xmlns:p14="http://schemas.microsoft.com/office/powerpoint/2010/main">
          <mc:Choice Requires="p14">
            <p:contentPart p14:bwMode="auto" r:id="rId73">
              <p14:nvContentPartPr>
                <p14:cNvPr id="85" name="Ink 84">
                  <a:extLst>
                    <a:ext uri="{FF2B5EF4-FFF2-40B4-BE49-F238E27FC236}">
                      <a16:creationId xmlns:a16="http://schemas.microsoft.com/office/drawing/2014/main" id="{6FA3D34D-CF7F-4324-8740-EC172F5F9EDC}"/>
                    </a:ext>
                  </a:extLst>
                </p14:cNvPr>
                <p14:cNvContentPartPr/>
                <p14:nvPr/>
              </p14:nvContentPartPr>
              <p14:xfrm>
                <a:off x="5959113" y="3238028"/>
                <a:ext cx="108360" cy="102240"/>
              </p14:xfrm>
            </p:contentPart>
          </mc:Choice>
          <mc:Fallback xmlns="">
            <p:pic>
              <p:nvPicPr>
                <p:cNvPr id="85" name="Ink 84">
                  <a:extLst>
                    <a:ext uri="{FF2B5EF4-FFF2-40B4-BE49-F238E27FC236}">
                      <a16:creationId xmlns:a16="http://schemas.microsoft.com/office/drawing/2014/main" id="{6FA3D34D-CF7F-4324-8740-EC172F5F9EDC}"/>
                    </a:ext>
                  </a:extLst>
                </p:cNvPr>
                <p:cNvPicPr/>
                <p:nvPr/>
              </p:nvPicPr>
              <p:blipFill>
                <a:blip r:embed="rId74"/>
                <a:stretch>
                  <a:fillRect/>
                </a:stretch>
              </p:blipFill>
              <p:spPr>
                <a:xfrm>
                  <a:off x="5941113" y="3220388"/>
                  <a:ext cx="144000" cy="137880"/>
                </a:xfrm>
                <a:prstGeom prst="rect">
                  <a:avLst/>
                </a:prstGeom>
              </p:spPr>
            </p:pic>
          </mc:Fallback>
        </mc:AlternateContent>
        <mc:AlternateContent xmlns:mc="http://schemas.openxmlformats.org/markup-compatibility/2006" xmlns:p14="http://schemas.microsoft.com/office/powerpoint/2010/main">
          <mc:Choice Requires="p14">
            <p:contentPart p14:bwMode="auto" r:id="rId75">
              <p14:nvContentPartPr>
                <p14:cNvPr id="86" name="Ink 85">
                  <a:extLst>
                    <a:ext uri="{FF2B5EF4-FFF2-40B4-BE49-F238E27FC236}">
                      <a16:creationId xmlns:a16="http://schemas.microsoft.com/office/drawing/2014/main" id="{628BB412-2C1D-4B14-8EC4-8717838A2CA7}"/>
                    </a:ext>
                  </a:extLst>
                </p14:cNvPr>
                <p14:cNvContentPartPr/>
                <p14:nvPr/>
              </p14:nvContentPartPr>
              <p14:xfrm>
                <a:off x="5958393" y="3246668"/>
                <a:ext cx="214560" cy="128160"/>
              </p14:xfrm>
            </p:contentPart>
          </mc:Choice>
          <mc:Fallback xmlns="">
            <p:pic>
              <p:nvPicPr>
                <p:cNvPr id="86" name="Ink 85">
                  <a:extLst>
                    <a:ext uri="{FF2B5EF4-FFF2-40B4-BE49-F238E27FC236}">
                      <a16:creationId xmlns:a16="http://schemas.microsoft.com/office/drawing/2014/main" id="{628BB412-2C1D-4B14-8EC4-8717838A2CA7}"/>
                    </a:ext>
                  </a:extLst>
                </p:cNvPr>
                <p:cNvPicPr/>
                <p:nvPr/>
              </p:nvPicPr>
              <p:blipFill>
                <a:blip r:embed="rId76"/>
                <a:stretch>
                  <a:fillRect/>
                </a:stretch>
              </p:blipFill>
              <p:spPr>
                <a:xfrm>
                  <a:off x="5940753" y="3229028"/>
                  <a:ext cx="250200" cy="163800"/>
                </a:xfrm>
                <a:prstGeom prst="rect">
                  <a:avLst/>
                </a:prstGeom>
              </p:spPr>
            </p:pic>
          </mc:Fallback>
        </mc:AlternateContent>
        <mc:AlternateContent xmlns:mc="http://schemas.openxmlformats.org/markup-compatibility/2006" xmlns:p14="http://schemas.microsoft.com/office/powerpoint/2010/main">
          <mc:Choice Requires="p14">
            <p:contentPart p14:bwMode="auto" r:id="rId77">
              <p14:nvContentPartPr>
                <p14:cNvPr id="87" name="Ink 86">
                  <a:extLst>
                    <a:ext uri="{FF2B5EF4-FFF2-40B4-BE49-F238E27FC236}">
                      <a16:creationId xmlns:a16="http://schemas.microsoft.com/office/drawing/2014/main" id="{6D8C6C0A-F675-40DC-A122-8A7B97845108}"/>
                    </a:ext>
                  </a:extLst>
                </p14:cNvPr>
                <p14:cNvContentPartPr/>
                <p14:nvPr/>
              </p14:nvContentPartPr>
              <p14:xfrm>
                <a:off x="6383553" y="3257468"/>
                <a:ext cx="128160" cy="104400"/>
              </p14:xfrm>
            </p:contentPart>
          </mc:Choice>
          <mc:Fallback xmlns="">
            <p:pic>
              <p:nvPicPr>
                <p:cNvPr id="87" name="Ink 86">
                  <a:extLst>
                    <a:ext uri="{FF2B5EF4-FFF2-40B4-BE49-F238E27FC236}">
                      <a16:creationId xmlns:a16="http://schemas.microsoft.com/office/drawing/2014/main" id="{6D8C6C0A-F675-40DC-A122-8A7B97845108}"/>
                    </a:ext>
                  </a:extLst>
                </p:cNvPr>
                <p:cNvPicPr/>
                <p:nvPr/>
              </p:nvPicPr>
              <p:blipFill>
                <a:blip r:embed="rId78"/>
                <a:stretch>
                  <a:fillRect/>
                </a:stretch>
              </p:blipFill>
              <p:spPr>
                <a:xfrm>
                  <a:off x="6365913" y="3239468"/>
                  <a:ext cx="163800" cy="140040"/>
                </a:xfrm>
                <a:prstGeom prst="rect">
                  <a:avLst/>
                </a:prstGeom>
              </p:spPr>
            </p:pic>
          </mc:Fallback>
        </mc:AlternateContent>
        <mc:AlternateContent xmlns:mc="http://schemas.openxmlformats.org/markup-compatibility/2006" xmlns:p14="http://schemas.microsoft.com/office/powerpoint/2010/main">
          <mc:Choice Requires="p14">
            <p:contentPart p14:bwMode="auto" r:id="rId79">
              <p14:nvContentPartPr>
                <p14:cNvPr id="136" name="Ink 135">
                  <a:extLst>
                    <a:ext uri="{FF2B5EF4-FFF2-40B4-BE49-F238E27FC236}">
                      <a16:creationId xmlns:a16="http://schemas.microsoft.com/office/drawing/2014/main" id="{15F98A62-B9EA-4EC1-99CE-80360BAC4FBD}"/>
                    </a:ext>
                  </a:extLst>
                </p14:cNvPr>
                <p14:cNvContentPartPr/>
                <p14:nvPr/>
              </p14:nvContentPartPr>
              <p14:xfrm>
                <a:off x="4447473" y="3523508"/>
                <a:ext cx="708840" cy="78480"/>
              </p14:xfrm>
            </p:contentPart>
          </mc:Choice>
          <mc:Fallback xmlns="">
            <p:pic>
              <p:nvPicPr>
                <p:cNvPr id="136" name="Ink 135">
                  <a:extLst>
                    <a:ext uri="{FF2B5EF4-FFF2-40B4-BE49-F238E27FC236}">
                      <a16:creationId xmlns:a16="http://schemas.microsoft.com/office/drawing/2014/main" id="{15F98A62-B9EA-4EC1-99CE-80360BAC4FBD}"/>
                    </a:ext>
                  </a:extLst>
                </p:cNvPr>
                <p:cNvPicPr/>
                <p:nvPr/>
              </p:nvPicPr>
              <p:blipFill>
                <a:blip r:embed="rId80"/>
                <a:stretch>
                  <a:fillRect/>
                </a:stretch>
              </p:blipFill>
              <p:spPr>
                <a:xfrm>
                  <a:off x="4429473" y="3505868"/>
                  <a:ext cx="744480" cy="114120"/>
                </a:xfrm>
                <a:prstGeom prst="rect">
                  <a:avLst/>
                </a:prstGeom>
              </p:spPr>
            </p:pic>
          </mc:Fallback>
        </mc:AlternateContent>
        <mc:AlternateContent xmlns:mc="http://schemas.openxmlformats.org/markup-compatibility/2006" xmlns:p14="http://schemas.microsoft.com/office/powerpoint/2010/main">
          <mc:Choice Requires="p14">
            <p:contentPart p14:bwMode="auto" r:id="rId81">
              <p14:nvContentPartPr>
                <p14:cNvPr id="137" name="Ink 136">
                  <a:extLst>
                    <a:ext uri="{FF2B5EF4-FFF2-40B4-BE49-F238E27FC236}">
                      <a16:creationId xmlns:a16="http://schemas.microsoft.com/office/drawing/2014/main" id="{2BB76172-DF76-4D1D-AE42-7AA2B89F5374}"/>
                    </a:ext>
                  </a:extLst>
                </p14:cNvPr>
                <p14:cNvContentPartPr/>
                <p14:nvPr/>
              </p14:nvContentPartPr>
              <p14:xfrm>
                <a:off x="4505073" y="3638348"/>
                <a:ext cx="498600" cy="65880"/>
              </p14:xfrm>
            </p:contentPart>
          </mc:Choice>
          <mc:Fallback xmlns="">
            <p:pic>
              <p:nvPicPr>
                <p:cNvPr id="137" name="Ink 136">
                  <a:extLst>
                    <a:ext uri="{FF2B5EF4-FFF2-40B4-BE49-F238E27FC236}">
                      <a16:creationId xmlns:a16="http://schemas.microsoft.com/office/drawing/2014/main" id="{2BB76172-DF76-4D1D-AE42-7AA2B89F5374}"/>
                    </a:ext>
                  </a:extLst>
                </p:cNvPr>
                <p:cNvPicPr/>
                <p:nvPr/>
              </p:nvPicPr>
              <p:blipFill>
                <a:blip r:embed="rId82"/>
                <a:stretch>
                  <a:fillRect/>
                </a:stretch>
              </p:blipFill>
              <p:spPr>
                <a:xfrm>
                  <a:off x="4487433" y="3620708"/>
                  <a:ext cx="534240" cy="101520"/>
                </a:xfrm>
                <a:prstGeom prst="rect">
                  <a:avLst/>
                </a:prstGeom>
              </p:spPr>
            </p:pic>
          </mc:Fallback>
        </mc:AlternateContent>
        <mc:AlternateContent xmlns:mc="http://schemas.openxmlformats.org/markup-compatibility/2006" xmlns:p14="http://schemas.microsoft.com/office/powerpoint/2010/main">
          <mc:Choice Requires="p14">
            <p:contentPart p14:bwMode="auto" r:id="rId83">
              <p14:nvContentPartPr>
                <p14:cNvPr id="138" name="Ink 137">
                  <a:extLst>
                    <a:ext uri="{FF2B5EF4-FFF2-40B4-BE49-F238E27FC236}">
                      <a16:creationId xmlns:a16="http://schemas.microsoft.com/office/drawing/2014/main" id="{97991543-72CE-4D01-AA8D-129938308DB9}"/>
                    </a:ext>
                  </a:extLst>
                </p14:cNvPr>
                <p14:cNvContentPartPr/>
                <p14:nvPr/>
              </p14:nvContentPartPr>
              <p14:xfrm>
                <a:off x="3983073" y="3846068"/>
                <a:ext cx="12960" cy="167760"/>
              </p14:xfrm>
            </p:contentPart>
          </mc:Choice>
          <mc:Fallback xmlns="">
            <p:pic>
              <p:nvPicPr>
                <p:cNvPr id="138" name="Ink 137">
                  <a:extLst>
                    <a:ext uri="{FF2B5EF4-FFF2-40B4-BE49-F238E27FC236}">
                      <a16:creationId xmlns:a16="http://schemas.microsoft.com/office/drawing/2014/main" id="{97991543-72CE-4D01-AA8D-129938308DB9}"/>
                    </a:ext>
                  </a:extLst>
                </p:cNvPr>
                <p:cNvPicPr/>
                <p:nvPr/>
              </p:nvPicPr>
              <p:blipFill>
                <a:blip r:embed="rId84"/>
                <a:stretch>
                  <a:fillRect/>
                </a:stretch>
              </p:blipFill>
              <p:spPr>
                <a:xfrm>
                  <a:off x="3965073" y="3828428"/>
                  <a:ext cx="48600" cy="203400"/>
                </a:xfrm>
                <a:prstGeom prst="rect">
                  <a:avLst/>
                </a:prstGeom>
              </p:spPr>
            </p:pic>
          </mc:Fallback>
        </mc:AlternateContent>
        <mc:AlternateContent xmlns:mc="http://schemas.openxmlformats.org/markup-compatibility/2006" xmlns:p14="http://schemas.microsoft.com/office/powerpoint/2010/main">
          <mc:Choice Requires="p14">
            <p:contentPart p14:bwMode="auto" r:id="rId85">
              <p14:nvContentPartPr>
                <p14:cNvPr id="139" name="Ink 138">
                  <a:extLst>
                    <a:ext uri="{FF2B5EF4-FFF2-40B4-BE49-F238E27FC236}">
                      <a16:creationId xmlns:a16="http://schemas.microsoft.com/office/drawing/2014/main" id="{E42EF3B1-3A7D-4B51-88C9-49A3DC31E85D}"/>
                    </a:ext>
                  </a:extLst>
                </p14:cNvPr>
                <p14:cNvContentPartPr/>
                <p14:nvPr/>
              </p14:nvContentPartPr>
              <p14:xfrm>
                <a:off x="3837273" y="3842108"/>
                <a:ext cx="225000" cy="95040"/>
              </p14:xfrm>
            </p:contentPart>
          </mc:Choice>
          <mc:Fallback xmlns="">
            <p:pic>
              <p:nvPicPr>
                <p:cNvPr id="139" name="Ink 138">
                  <a:extLst>
                    <a:ext uri="{FF2B5EF4-FFF2-40B4-BE49-F238E27FC236}">
                      <a16:creationId xmlns:a16="http://schemas.microsoft.com/office/drawing/2014/main" id="{E42EF3B1-3A7D-4B51-88C9-49A3DC31E85D}"/>
                    </a:ext>
                  </a:extLst>
                </p:cNvPr>
                <p:cNvPicPr/>
                <p:nvPr/>
              </p:nvPicPr>
              <p:blipFill>
                <a:blip r:embed="rId86"/>
                <a:stretch>
                  <a:fillRect/>
                </a:stretch>
              </p:blipFill>
              <p:spPr>
                <a:xfrm>
                  <a:off x="3819633" y="3824108"/>
                  <a:ext cx="260640" cy="130680"/>
                </a:xfrm>
                <a:prstGeom prst="rect">
                  <a:avLst/>
                </a:prstGeom>
              </p:spPr>
            </p:pic>
          </mc:Fallback>
        </mc:AlternateContent>
        <mc:AlternateContent xmlns:mc="http://schemas.openxmlformats.org/markup-compatibility/2006" xmlns:p14="http://schemas.microsoft.com/office/powerpoint/2010/main">
          <mc:Choice Requires="p14">
            <p:contentPart p14:bwMode="auto" r:id="rId87">
              <p14:nvContentPartPr>
                <p14:cNvPr id="140" name="Ink 139">
                  <a:extLst>
                    <a:ext uri="{FF2B5EF4-FFF2-40B4-BE49-F238E27FC236}">
                      <a16:creationId xmlns:a16="http://schemas.microsoft.com/office/drawing/2014/main" id="{2211F64F-7707-4F02-AD9F-79F785614D30}"/>
                    </a:ext>
                  </a:extLst>
                </p14:cNvPr>
                <p14:cNvContentPartPr/>
                <p14:nvPr/>
              </p14:nvContentPartPr>
              <p14:xfrm>
                <a:off x="4122753" y="3869108"/>
                <a:ext cx="102240" cy="112680"/>
              </p14:xfrm>
            </p:contentPart>
          </mc:Choice>
          <mc:Fallback xmlns="">
            <p:pic>
              <p:nvPicPr>
                <p:cNvPr id="140" name="Ink 139">
                  <a:extLst>
                    <a:ext uri="{FF2B5EF4-FFF2-40B4-BE49-F238E27FC236}">
                      <a16:creationId xmlns:a16="http://schemas.microsoft.com/office/drawing/2014/main" id="{2211F64F-7707-4F02-AD9F-79F785614D30}"/>
                    </a:ext>
                  </a:extLst>
                </p:cNvPr>
                <p:cNvPicPr/>
                <p:nvPr/>
              </p:nvPicPr>
              <p:blipFill>
                <a:blip r:embed="rId88"/>
                <a:stretch>
                  <a:fillRect/>
                </a:stretch>
              </p:blipFill>
              <p:spPr>
                <a:xfrm>
                  <a:off x="4104753" y="3851108"/>
                  <a:ext cx="137880" cy="148320"/>
                </a:xfrm>
                <a:prstGeom prst="rect">
                  <a:avLst/>
                </a:prstGeom>
              </p:spPr>
            </p:pic>
          </mc:Fallback>
        </mc:AlternateContent>
        <mc:AlternateContent xmlns:mc="http://schemas.openxmlformats.org/markup-compatibility/2006" xmlns:p14="http://schemas.microsoft.com/office/powerpoint/2010/main">
          <mc:Choice Requires="p14">
            <p:contentPart p14:bwMode="auto" r:id="rId89">
              <p14:nvContentPartPr>
                <p14:cNvPr id="141" name="Ink 140">
                  <a:extLst>
                    <a:ext uri="{FF2B5EF4-FFF2-40B4-BE49-F238E27FC236}">
                      <a16:creationId xmlns:a16="http://schemas.microsoft.com/office/drawing/2014/main" id="{10FE623A-06AE-41D4-91D3-884695A89F42}"/>
                    </a:ext>
                  </a:extLst>
                </p14:cNvPr>
                <p14:cNvContentPartPr/>
                <p14:nvPr/>
              </p14:nvContentPartPr>
              <p14:xfrm>
                <a:off x="4314273" y="3960548"/>
                <a:ext cx="12600" cy="3960"/>
              </p14:xfrm>
            </p:contentPart>
          </mc:Choice>
          <mc:Fallback xmlns="">
            <p:pic>
              <p:nvPicPr>
                <p:cNvPr id="141" name="Ink 140">
                  <a:extLst>
                    <a:ext uri="{FF2B5EF4-FFF2-40B4-BE49-F238E27FC236}">
                      <a16:creationId xmlns:a16="http://schemas.microsoft.com/office/drawing/2014/main" id="{10FE623A-06AE-41D4-91D3-884695A89F42}"/>
                    </a:ext>
                  </a:extLst>
                </p:cNvPr>
                <p:cNvPicPr/>
                <p:nvPr/>
              </p:nvPicPr>
              <p:blipFill>
                <a:blip r:embed="rId90"/>
                <a:stretch>
                  <a:fillRect/>
                </a:stretch>
              </p:blipFill>
              <p:spPr>
                <a:xfrm>
                  <a:off x="4296273" y="3942548"/>
                  <a:ext cx="48240" cy="39600"/>
                </a:xfrm>
                <a:prstGeom prst="rect">
                  <a:avLst/>
                </a:prstGeom>
              </p:spPr>
            </p:pic>
          </mc:Fallback>
        </mc:AlternateContent>
        <mc:AlternateContent xmlns:mc="http://schemas.openxmlformats.org/markup-compatibility/2006" xmlns:p14="http://schemas.microsoft.com/office/powerpoint/2010/main">
          <mc:Choice Requires="p14">
            <p:contentPart p14:bwMode="auto" r:id="rId91">
              <p14:nvContentPartPr>
                <p14:cNvPr id="144" name="Ink 143">
                  <a:extLst>
                    <a:ext uri="{FF2B5EF4-FFF2-40B4-BE49-F238E27FC236}">
                      <a16:creationId xmlns:a16="http://schemas.microsoft.com/office/drawing/2014/main" id="{A0905757-1B5B-43FF-8CD7-03E38CDC155E}"/>
                    </a:ext>
                  </a:extLst>
                </p14:cNvPr>
                <p14:cNvContentPartPr/>
                <p14:nvPr/>
              </p14:nvContentPartPr>
              <p14:xfrm>
                <a:off x="5763993" y="3428828"/>
                <a:ext cx="108720" cy="217440"/>
              </p14:xfrm>
            </p:contentPart>
          </mc:Choice>
          <mc:Fallback xmlns="">
            <p:pic>
              <p:nvPicPr>
                <p:cNvPr id="144" name="Ink 143">
                  <a:extLst>
                    <a:ext uri="{FF2B5EF4-FFF2-40B4-BE49-F238E27FC236}">
                      <a16:creationId xmlns:a16="http://schemas.microsoft.com/office/drawing/2014/main" id="{A0905757-1B5B-43FF-8CD7-03E38CDC155E}"/>
                    </a:ext>
                  </a:extLst>
                </p:cNvPr>
                <p:cNvPicPr/>
                <p:nvPr/>
              </p:nvPicPr>
              <p:blipFill>
                <a:blip r:embed="rId92"/>
                <a:stretch>
                  <a:fillRect/>
                </a:stretch>
              </p:blipFill>
              <p:spPr>
                <a:xfrm>
                  <a:off x="5746353" y="3410828"/>
                  <a:ext cx="144360" cy="253080"/>
                </a:xfrm>
                <a:prstGeom prst="rect">
                  <a:avLst/>
                </a:prstGeom>
              </p:spPr>
            </p:pic>
          </mc:Fallback>
        </mc:AlternateContent>
        <mc:AlternateContent xmlns:mc="http://schemas.openxmlformats.org/markup-compatibility/2006" xmlns:p14="http://schemas.microsoft.com/office/powerpoint/2010/main">
          <mc:Choice Requires="p14">
            <p:contentPart p14:bwMode="auto" r:id="rId93">
              <p14:nvContentPartPr>
                <p14:cNvPr id="145" name="Ink 144">
                  <a:extLst>
                    <a:ext uri="{FF2B5EF4-FFF2-40B4-BE49-F238E27FC236}">
                      <a16:creationId xmlns:a16="http://schemas.microsoft.com/office/drawing/2014/main" id="{AC226F60-ED3F-40F5-A32A-51603B3FF10E}"/>
                    </a:ext>
                  </a:extLst>
                </p14:cNvPr>
                <p14:cNvContentPartPr/>
                <p14:nvPr/>
              </p14:nvContentPartPr>
              <p14:xfrm>
                <a:off x="5787033" y="3532868"/>
                <a:ext cx="112320" cy="156240"/>
              </p14:xfrm>
            </p:contentPart>
          </mc:Choice>
          <mc:Fallback xmlns="">
            <p:pic>
              <p:nvPicPr>
                <p:cNvPr id="145" name="Ink 144">
                  <a:extLst>
                    <a:ext uri="{FF2B5EF4-FFF2-40B4-BE49-F238E27FC236}">
                      <a16:creationId xmlns:a16="http://schemas.microsoft.com/office/drawing/2014/main" id="{AC226F60-ED3F-40F5-A32A-51603B3FF10E}"/>
                    </a:ext>
                  </a:extLst>
                </p:cNvPr>
                <p:cNvPicPr/>
                <p:nvPr/>
              </p:nvPicPr>
              <p:blipFill>
                <a:blip r:embed="rId94"/>
                <a:stretch>
                  <a:fillRect/>
                </a:stretch>
              </p:blipFill>
              <p:spPr>
                <a:xfrm>
                  <a:off x="5769393" y="3514868"/>
                  <a:ext cx="147960" cy="191880"/>
                </a:xfrm>
                <a:prstGeom prst="rect">
                  <a:avLst/>
                </a:prstGeom>
              </p:spPr>
            </p:pic>
          </mc:Fallback>
        </mc:AlternateContent>
        <mc:AlternateContent xmlns:mc="http://schemas.openxmlformats.org/markup-compatibility/2006" xmlns:p14="http://schemas.microsoft.com/office/powerpoint/2010/main">
          <mc:Choice Requires="p14">
            <p:contentPart p14:bwMode="auto" r:id="rId95">
              <p14:nvContentPartPr>
                <p14:cNvPr id="146" name="Ink 145">
                  <a:extLst>
                    <a:ext uri="{FF2B5EF4-FFF2-40B4-BE49-F238E27FC236}">
                      <a16:creationId xmlns:a16="http://schemas.microsoft.com/office/drawing/2014/main" id="{AB6AEA2B-231B-41F1-BD97-D7F3F31208EF}"/>
                    </a:ext>
                  </a:extLst>
                </p14:cNvPr>
                <p14:cNvContentPartPr/>
                <p14:nvPr/>
              </p14:nvContentPartPr>
              <p14:xfrm>
                <a:off x="5626833" y="3686588"/>
                <a:ext cx="210600" cy="30600"/>
              </p14:xfrm>
            </p:contentPart>
          </mc:Choice>
          <mc:Fallback xmlns="">
            <p:pic>
              <p:nvPicPr>
                <p:cNvPr id="146" name="Ink 145">
                  <a:extLst>
                    <a:ext uri="{FF2B5EF4-FFF2-40B4-BE49-F238E27FC236}">
                      <a16:creationId xmlns:a16="http://schemas.microsoft.com/office/drawing/2014/main" id="{AB6AEA2B-231B-41F1-BD97-D7F3F31208EF}"/>
                    </a:ext>
                  </a:extLst>
                </p:cNvPr>
                <p:cNvPicPr/>
                <p:nvPr/>
              </p:nvPicPr>
              <p:blipFill>
                <a:blip r:embed="rId96"/>
                <a:stretch>
                  <a:fillRect/>
                </a:stretch>
              </p:blipFill>
              <p:spPr>
                <a:xfrm>
                  <a:off x="5608833" y="3668588"/>
                  <a:ext cx="246240" cy="66240"/>
                </a:xfrm>
                <a:prstGeom prst="rect">
                  <a:avLst/>
                </a:prstGeom>
              </p:spPr>
            </p:pic>
          </mc:Fallback>
        </mc:AlternateContent>
        <mc:AlternateContent xmlns:mc="http://schemas.openxmlformats.org/markup-compatibility/2006" xmlns:p14="http://schemas.microsoft.com/office/powerpoint/2010/main">
          <mc:Choice Requires="p14">
            <p:contentPart p14:bwMode="auto" r:id="rId97">
              <p14:nvContentPartPr>
                <p14:cNvPr id="147" name="Ink 146">
                  <a:extLst>
                    <a:ext uri="{FF2B5EF4-FFF2-40B4-BE49-F238E27FC236}">
                      <a16:creationId xmlns:a16="http://schemas.microsoft.com/office/drawing/2014/main" id="{C0A48C60-4CD6-4E87-BCE1-357C9657F703}"/>
                    </a:ext>
                  </a:extLst>
                </p14:cNvPr>
                <p14:cNvContentPartPr/>
                <p14:nvPr/>
              </p14:nvContentPartPr>
              <p14:xfrm>
                <a:off x="5483193" y="3861548"/>
                <a:ext cx="123480" cy="104040"/>
              </p14:xfrm>
            </p:contentPart>
          </mc:Choice>
          <mc:Fallback xmlns="">
            <p:pic>
              <p:nvPicPr>
                <p:cNvPr id="147" name="Ink 146">
                  <a:extLst>
                    <a:ext uri="{FF2B5EF4-FFF2-40B4-BE49-F238E27FC236}">
                      <a16:creationId xmlns:a16="http://schemas.microsoft.com/office/drawing/2014/main" id="{C0A48C60-4CD6-4E87-BCE1-357C9657F703}"/>
                    </a:ext>
                  </a:extLst>
                </p:cNvPr>
                <p:cNvPicPr/>
                <p:nvPr/>
              </p:nvPicPr>
              <p:blipFill>
                <a:blip r:embed="rId98"/>
                <a:stretch>
                  <a:fillRect/>
                </a:stretch>
              </p:blipFill>
              <p:spPr>
                <a:xfrm>
                  <a:off x="5465193" y="3843548"/>
                  <a:ext cx="159120" cy="139680"/>
                </a:xfrm>
                <a:prstGeom prst="rect">
                  <a:avLst/>
                </a:prstGeom>
              </p:spPr>
            </p:pic>
          </mc:Fallback>
        </mc:AlternateContent>
        <mc:AlternateContent xmlns:mc="http://schemas.openxmlformats.org/markup-compatibility/2006" xmlns:p14="http://schemas.microsoft.com/office/powerpoint/2010/main">
          <mc:Choice Requires="p14">
            <p:contentPart p14:bwMode="auto" r:id="rId99">
              <p14:nvContentPartPr>
                <p14:cNvPr id="148" name="Ink 147">
                  <a:extLst>
                    <a:ext uri="{FF2B5EF4-FFF2-40B4-BE49-F238E27FC236}">
                      <a16:creationId xmlns:a16="http://schemas.microsoft.com/office/drawing/2014/main" id="{7EAE6B00-C0C3-4B2D-BA21-0320F6EC9DAB}"/>
                    </a:ext>
                  </a:extLst>
                </p14:cNvPr>
                <p14:cNvContentPartPr/>
                <p14:nvPr/>
              </p14:nvContentPartPr>
              <p14:xfrm>
                <a:off x="5684793" y="3833108"/>
                <a:ext cx="185040" cy="110880"/>
              </p14:xfrm>
            </p:contentPart>
          </mc:Choice>
          <mc:Fallback xmlns="">
            <p:pic>
              <p:nvPicPr>
                <p:cNvPr id="148" name="Ink 147">
                  <a:extLst>
                    <a:ext uri="{FF2B5EF4-FFF2-40B4-BE49-F238E27FC236}">
                      <a16:creationId xmlns:a16="http://schemas.microsoft.com/office/drawing/2014/main" id="{7EAE6B00-C0C3-4B2D-BA21-0320F6EC9DAB}"/>
                    </a:ext>
                  </a:extLst>
                </p:cNvPr>
                <p:cNvPicPr/>
                <p:nvPr/>
              </p:nvPicPr>
              <p:blipFill>
                <a:blip r:embed="rId100"/>
                <a:stretch>
                  <a:fillRect/>
                </a:stretch>
              </p:blipFill>
              <p:spPr>
                <a:xfrm>
                  <a:off x="5667153" y="3815108"/>
                  <a:ext cx="220680" cy="146520"/>
                </a:xfrm>
                <a:prstGeom prst="rect">
                  <a:avLst/>
                </a:prstGeom>
              </p:spPr>
            </p:pic>
          </mc:Fallback>
        </mc:AlternateContent>
        <mc:AlternateContent xmlns:mc="http://schemas.openxmlformats.org/markup-compatibility/2006" xmlns:p14="http://schemas.microsoft.com/office/powerpoint/2010/main">
          <mc:Choice Requires="p14">
            <p:contentPart p14:bwMode="auto" r:id="rId101">
              <p14:nvContentPartPr>
                <p14:cNvPr id="149" name="Ink 148">
                  <a:extLst>
                    <a:ext uri="{FF2B5EF4-FFF2-40B4-BE49-F238E27FC236}">
                      <a16:creationId xmlns:a16="http://schemas.microsoft.com/office/drawing/2014/main" id="{7B355EB3-69E8-46AE-9301-32030C5A3D8E}"/>
                    </a:ext>
                  </a:extLst>
                </p14:cNvPr>
                <p14:cNvContentPartPr/>
                <p14:nvPr/>
              </p14:nvContentPartPr>
              <p14:xfrm>
                <a:off x="5864793" y="3811868"/>
                <a:ext cx="150840" cy="142920"/>
              </p14:xfrm>
            </p:contentPart>
          </mc:Choice>
          <mc:Fallback xmlns="">
            <p:pic>
              <p:nvPicPr>
                <p:cNvPr id="149" name="Ink 148">
                  <a:extLst>
                    <a:ext uri="{FF2B5EF4-FFF2-40B4-BE49-F238E27FC236}">
                      <a16:creationId xmlns:a16="http://schemas.microsoft.com/office/drawing/2014/main" id="{7B355EB3-69E8-46AE-9301-32030C5A3D8E}"/>
                    </a:ext>
                  </a:extLst>
                </p:cNvPr>
                <p:cNvPicPr/>
                <p:nvPr/>
              </p:nvPicPr>
              <p:blipFill>
                <a:blip r:embed="rId102"/>
                <a:stretch>
                  <a:fillRect/>
                </a:stretch>
              </p:blipFill>
              <p:spPr>
                <a:xfrm>
                  <a:off x="5847153" y="3794228"/>
                  <a:ext cx="186480" cy="178560"/>
                </a:xfrm>
                <a:prstGeom prst="rect">
                  <a:avLst/>
                </a:prstGeom>
              </p:spPr>
            </p:pic>
          </mc:Fallback>
        </mc:AlternateContent>
        <mc:AlternateContent xmlns:mc="http://schemas.openxmlformats.org/markup-compatibility/2006" xmlns:p14="http://schemas.microsoft.com/office/powerpoint/2010/main">
          <mc:Choice Requires="p14">
            <p:contentPart p14:bwMode="auto" r:id="rId103">
              <p14:nvContentPartPr>
                <p14:cNvPr id="150" name="Ink 149">
                  <a:extLst>
                    <a:ext uri="{FF2B5EF4-FFF2-40B4-BE49-F238E27FC236}">
                      <a16:creationId xmlns:a16="http://schemas.microsoft.com/office/drawing/2014/main" id="{CF1C9475-7953-4DA4-AAC4-2E80CA4764BF}"/>
                    </a:ext>
                  </a:extLst>
                </p14:cNvPr>
                <p14:cNvContentPartPr/>
                <p14:nvPr/>
              </p14:nvContentPartPr>
              <p14:xfrm>
                <a:off x="6055593" y="3799988"/>
                <a:ext cx="218880" cy="101520"/>
              </p14:xfrm>
            </p:contentPart>
          </mc:Choice>
          <mc:Fallback xmlns="">
            <p:pic>
              <p:nvPicPr>
                <p:cNvPr id="150" name="Ink 149">
                  <a:extLst>
                    <a:ext uri="{FF2B5EF4-FFF2-40B4-BE49-F238E27FC236}">
                      <a16:creationId xmlns:a16="http://schemas.microsoft.com/office/drawing/2014/main" id="{CF1C9475-7953-4DA4-AAC4-2E80CA4764BF}"/>
                    </a:ext>
                  </a:extLst>
                </p:cNvPr>
                <p:cNvPicPr/>
                <p:nvPr/>
              </p:nvPicPr>
              <p:blipFill>
                <a:blip r:embed="rId104"/>
                <a:stretch>
                  <a:fillRect/>
                </a:stretch>
              </p:blipFill>
              <p:spPr>
                <a:xfrm>
                  <a:off x="6037593" y="3781988"/>
                  <a:ext cx="254520" cy="137160"/>
                </a:xfrm>
                <a:prstGeom prst="rect">
                  <a:avLst/>
                </a:prstGeom>
              </p:spPr>
            </p:pic>
          </mc:Fallback>
        </mc:AlternateContent>
        <mc:AlternateContent xmlns:mc="http://schemas.openxmlformats.org/markup-compatibility/2006" xmlns:p14="http://schemas.microsoft.com/office/powerpoint/2010/main">
          <mc:Choice Requires="p14">
            <p:contentPart p14:bwMode="auto" r:id="rId105">
              <p14:nvContentPartPr>
                <p14:cNvPr id="151" name="Ink 150">
                  <a:extLst>
                    <a:ext uri="{FF2B5EF4-FFF2-40B4-BE49-F238E27FC236}">
                      <a16:creationId xmlns:a16="http://schemas.microsoft.com/office/drawing/2014/main" id="{2F628E5B-B49E-4548-B1F6-E0FAFF487EF9}"/>
                    </a:ext>
                  </a:extLst>
                </p14:cNvPr>
                <p14:cNvContentPartPr/>
                <p14:nvPr/>
              </p14:nvContentPartPr>
              <p14:xfrm>
                <a:off x="6282033" y="3796388"/>
                <a:ext cx="97200" cy="52560"/>
              </p14:xfrm>
            </p:contentPart>
          </mc:Choice>
          <mc:Fallback xmlns="">
            <p:pic>
              <p:nvPicPr>
                <p:cNvPr id="151" name="Ink 150">
                  <a:extLst>
                    <a:ext uri="{FF2B5EF4-FFF2-40B4-BE49-F238E27FC236}">
                      <a16:creationId xmlns:a16="http://schemas.microsoft.com/office/drawing/2014/main" id="{2F628E5B-B49E-4548-B1F6-E0FAFF487EF9}"/>
                    </a:ext>
                  </a:extLst>
                </p:cNvPr>
                <p:cNvPicPr/>
                <p:nvPr/>
              </p:nvPicPr>
              <p:blipFill>
                <a:blip r:embed="rId106"/>
                <a:stretch>
                  <a:fillRect/>
                </a:stretch>
              </p:blipFill>
              <p:spPr>
                <a:xfrm>
                  <a:off x="6264033" y="3778388"/>
                  <a:ext cx="132840" cy="88200"/>
                </a:xfrm>
                <a:prstGeom prst="rect">
                  <a:avLst/>
                </a:prstGeom>
              </p:spPr>
            </p:pic>
          </mc:Fallback>
        </mc:AlternateContent>
      </p:grpSp>
      <p:grpSp>
        <p:nvGrpSpPr>
          <p:cNvPr id="160" name="Group 159">
            <a:extLst>
              <a:ext uri="{FF2B5EF4-FFF2-40B4-BE49-F238E27FC236}">
                <a16:creationId xmlns:a16="http://schemas.microsoft.com/office/drawing/2014/main" id="{EFEEBB11-2EE0-41BB-BF51-3D980F309125}"/>
              </a:ext>
            </a:extLst>
          </p:cNvPr>
          <p:cNvGrpSpPr/>
          <p:nvPr/>
        </p:nvGrpSpPr>
        <p:grpSpPr>
          <a:xfrm>
            <a:off x="7655073" y="3244868"/>
            <a:ext cx="1118880" cy="250560"/>
            <a:chOff x="7655073" y="3244868"/>
            <a:chExt cx="1118880" cy="250560"/>
          </a:xfrm>
        </p:grpSpPr>
        <mc:AlternateContent xmlns:mc="http://schemas.openxmlformats.org/markup-compatibility/2006" xmlns:p14="http://schemas.microsoft.com/office/powerpoint/2010/main">
          <mc:Choice Requires="p14">
            <p:contentPart p14:bwMode="auto" r:id="rId107">
              <p14:nvContentPartPr>
                <p14:cNvPr id="152" name="Ink 151">
                  <a:extLst>
                    <a:ext uri="{FF2B5EF4-FFF2-40B4-BE49-F238E27FC236}">
                      <a16:creationId xmlns:a16="http://schemas.microsoft.com/office/drawing/2014/main" id="{A8453FD5-CDC2-4D55-9B69-FC071F346752}"/>
                    </a:ext>
                  </a:extLst>
                </p14:cNvPr>
                <p14:cNvContentPartPr/>
                <p14:nvPr/>
              </p14:nvContentPartPr>
              <p14:xfrm>
                <a:off x="7655073" y="3352868"/>
                <a:ext cx="118800" cy="15840"/>
              </p14:xfrm>
            </p:contentPart>
          </mc:Choice>
          <mc:Fallback xmlns="">
            <p:pic>
              <p:nvPicPr>
                <p:cNvPr id="152" name="Ink 151">
                  <a:extLst>
                    <a:ext uri="{FF2B5EF4-FFF2-40B4-BE49-F238E27FC236}">
                      <a16:creationId xmlns:a16="http://schemas.microsoft.com/office/drawing/2014/main" id="{A8453FD5-CDC2-4D55-9B69-FC071F346752}"/>
                    </a:ext>
                  </a:extLst>
                </p:cNvPr>
                <p:cNvPicPr/>
                <p:nvPr/>
              </p:nvPicPr>
              <p:blipFill>
                <a:blip r:embed="rId108"/>
                <a:stretch>
                  <a:fillRect/>
                </a:stretch>
              </p:blipFill>
              <p:spPr>
                <a:xfrm>
                  <a:off x="7637433" y="3335228"/>
                  <a:ext cx="154440" cy="51480"/>
                </a:xfrm>
                <a:prstGeom prst="rect">
                  <a:avLst/>
                </a:prstGeom>
              </p:spPr>
            </p:pic>
          </mc:Fallback>
        </mc:AlternateContent>
        <mc:AlternateContent xmlns:mc="http://schemas.openxmlformats.org/markup-compatibility/2006" xmlns:p14="http://schemas.microsoft.com/office/powerpoint/2010/main">
          <mc:Choice Requires="p14">
            <p:contentPart p14:bwMode="auto" r:id="rId109">
              <p14:nvContentPartPr>
                <p14:cNvPr id="153" name="Ink 152">
                  <a:extLst>
                    <a:ext uri="{FF2B5EF4-FFF2-40B4-BE49-F238E27FC236}">
                      <a16:creationId xmlns:a16="http://schemas.microsoft.com/office/drawing/2014/main" id="{DB55A837-9BA0-447E-B14B-47CE1718EAC5}"/>
                    </a:ext>
                  </a:extLst>
                </p14:cNvPr>
                <p14:cNvContentPartPr/>
                <p14:nvPr/>
              </p14:nvContentPartPr>
              <p14:xfrm>
                <a:off x="7897713" y="3292388"/>
                <a:ext cx="90720" cy="161280"/>
              </p14:xfrm>
            </p:contentPart>
          </mc:Choice>
          <mc:Fallback xmlns="">
            <p:pic>
              <p:nvPicPr>
                <p:cNvPr id="153" name="Ink 152">
                  <a:extLst>
                    <a:ext uri="{FF2B5EF4-FFF2-40B4-BE49-F238E27FC236}">
                      <a16:creationId xmlns:a16="http://schemas.microsoft.com/office/drawing/2014/main" id="{DB55A837-9BA0-447E-B14B-47CE1718EAC5}"/>
                    </a:ext>
                  </a:extLst>
                </p:cNvPr>
                <p:cNvPicPr/>
                <p:nvPr/>
              </p:nvPicPr>
              <p:blipFill>
                <a:blip r:embed="rId110"/>
                <a:stretch>
                  <a:fillRect/>
                </a:stretch>
              </p:blipFill>
              <p:spPr>
                <a:xfrm>
                  <a:off x="7879713" y="3274388"/>
                  <a:ext cx="126360" cy="196920"/>
                </a:xfrm>
                <a:prstGeom prst="rect">
                  <a:avLst/>
                </a:prstGeom>
              </p:spPr>
            </p:pic>
          </mc:Fallback>
        </mc:AlternateContent>
        <mc:AlternateContent xmlns:mc="http://schemas.openxmlformats.org/markup-compatibility/2006" xmlns:p14="http://schemas.microsoft.com/office/powerpoint/2010/main">
          <mc:Choice Requires="p14">
            <p:contentPart p14:bwMode="auto" r:id="rId111">
              <p14:nvContentPartPr>
                <p14:cNvPr id="154" name="Ink 153">
                  <a:extLst>
                    <a:ext uri="{FF2B5EF4-FFF2-40B4-BE49-F238E27FC236}">
                      <a16:creationId xmlns:a16="http://schemas.microsoft.com/office/drawing/2014/main" id="{D7DA3586-7501-467F-B8DD-D84F9061B5A5}"/>
                    </a:ext>
                  </a:extLst>
                </p14:cNvPr>
                <p14:cNvContentPartPr/>
                <p14:nvPr/>
              </p14:nvContentPartPr>
              <p14:xfrm>
                <a:off x="7897353" y="3244868"/>
                <a:ext cx="876600" cy="250560"/>
              </p14:xfrm>
            </p:contentPart>
          </mc:Choice>
          <mc:Fallback xmlns="">
            <p:pic>
              <p:nvPicPr>
                <p:cNvPr id="154" name="Ink 153">
                  <a:extLst>
                    <a:ext uri="{FF2B5EF4-FFF2-40B4-BE49-F238E27FC236}">
                      <a16:creationId xmlns:a16="http://schemas.microsoft.com/office/drawing/2014/main" id="{D7DA3586-7501-467F-B8DD-D84F9061B5A5}"/>
                    </a:ext>
                  </a:extLst>
                </p:cNvPr>
                <p:cNvPicPr/>
                <p:nvPr/>
              </p:nvPicPr>
              <p:blipFill>
                <a:blip r:embed="rId112"/>
                <a:stretch>
                  <a:fillRect/>
                </a:stretch>
              </p:blipFill>
              <p:spPr>
                <a:xfrm>
                  <a:off x="7879353" y="3226868"/>
                  <a:ext cx="912240" cy="286200"/>
                </a:xfrm>
                <a:prstGeom prst="rect">
                  <a:avLst/>
                </a:prstGeom>
              </p:spPr>
            </p:pic>
          </mc:Fallback>
        </mc:AlternateContent>
      </p:grpSp>
      <p:grpSp>
        <p:nvGrpSpPr>
          <p:cNvPr id="159" name="Group 158">
            <a:extLst>
              <a:ext uri="{FF2B5EF4-FFF2-40B4-BE49-F238E27FC236}">
                <a16:creationId xmlns:a16="http://schemas.microsoft.com/office/drawing/2014/main" id="{0AC68B1A-E76C-4738-B0C2-B36350FC481D}"/>
              </a:ext>
            </a:extLst>
          </p:cNvPr>
          <p:cNvGrpSpPr/>
          <p:nvPr/>
        </p:nvGrpSpPr>
        <p:grpSpPr>
          <a:xfrm>
            <a:off x="8207313" y="3629708"/>
            <a:ext cx="624600" cy="255240"/>
            <a:chOff x="8207313" y="3629708"/>
            <a:chExt cx="624600" cy="255240"/>
          </a:xfrm>
        </p:grpSpPr>
        <mc:AlternateContent xmlns:mc="http://schemas.openxmlformats.org/markup-compatibility/2006" xmlns:p14="http://schemas.microsoft.com/office/powerpoint/2010/main">
          <mc:Choice Requires="p14">
            <p:contentPart p14:bwMode="auto" r:id="rId113">
              <p14:nvContentPartPr>
                <p14:cNvPr id="155" name="Ink 154">
                  <a:extLst>
                    <a:ext uri="{FF2B5EF4-FFF2-40B4-BE49-F238E27FC236}">
                      <a16:creationId xmlns:a16="http://schemas.microsoft.com/office/drawing/2014/main" id="{5D55596D-E3D4-427A-AF68-CF68418F2C6C}"/>
                    </a:ext>
                  </a:extLst>
                </p14:cNvPr>
                <p14:cNvContentPartPr/>
                <p14:nvPr/>
              </p14:nvContentPartPr>
              <p14:xfrm>
                <a:off x="8207313" y="3629708"/>
                <a:ext cx="148320" cy="150120"/>
              </p14:xfrm>
            </p:contentPart>
          </mc:Choice>
          <mc:Fallback xmlns="">
            <p:pic>
              <p:nvPicPr>
                <p:cNvPr id="155" name="Ink 154">
                  <a:extLst>
                    <a:ext uri="{FF2B5EF4-FFF2-40B4-BE49-F238E27FC236}">
                      <a16:creationId xmlns:a16="http://schemas.microsoft.com/office/drawing/2014/main" id="{5D55596D-E3D4-427A-AF68-CF68418F2C6C}"/>
                    </a:ext>
                  </a:extLst>
                </p:cNvPr>
                <p:cNvPicPr/>
                <p:nvPr/>
              </p:nvPicPr>
              <p:blipFill>
                <a:blip r:embed="rId114"/>
                <a:stretch>
                  <a:fillRect/>
                </a:stretch>
              </p:blipFill>
              <p:spPr>
                <a:xfrm>
                  <a:off x="8189673" y="3612068"/>
                  <a:ext cx="183960" cy="185760"/>
                </a:xfrm>
                <a:prstGeom prst="rect">
                  <a:avLst/>
                </a:prstGeom>
              </p:spPr>
            </p:pic>
          </mc:Fallback>
        </mc:AlternateContent>
        <mc:AlternateContent xmlns:mc="http://schemas.openxmlformats.org/markup-compatibility/2006" xmlns:p14="http://schemas.microsoft.com/office/powerpoint/2010/main">
          <mc:Choice Requires="p14">
            <p:contentPart p14:bwMode="auto" r:id="rId115">
              <p14:nvContentPartPr>
                <p14:cNvPr id="156" name="Ink 155">
                  <a:extLst>
                    <a:ext uri="{FF2B5EF4-FFF2-40B4-BE49-F238E27FC236}">
                      <a16:creationId xmlns:a16="http://schemas.microsoft.com/office/drawing/2014/main" id="{BC32FB9E-879C-40B7-AA3E-40C538FF8319}"/>
                    </a:ext>
                  </a:extLst>
                </p14:cNvPr>
                <p14:cNvContentPartPr/>
                <p14:nvPr/>
              </p14:nvContentPartPr>
              <p14:xfrm>
                <a:off x="8383713" y="3664988"/>
                <a:ext cx="351360" cy="98280"/>
              </p14:xfrm>
            </p:contentPart>
          </mc:Choice>
          <mc:Fallback xmlns="">
            <p:pic>
              <p:nvPicPr>
                <p:cNvPr id="156" name="Ink 155">
                  <a:extLst>
                    <a:ext uri="{FF2B5EF4-FFF2-40B4-BE49-F238E27FC236}">
                      <a16:creationId xmlns:a16="http://schemas.microsoft.com/office/drawing/2014/main" id="{BC32FB9E-879C-40B7-AA3E-40C538FF8319}"/>
                    </a:ext>
                  </a:extLst>
                </p:cNvPr>
                <p:cNvPicPr/>
                <p:nvPr/>
              </p:nvPicPr>
              <p:blipFill>
                <a:blip r:embed="rId116"/>
                <a:stretch>
                  <a:fillRect/>
                </a:stretch>
              </p:blipFill>
              <p:spPr>
                <a:xfrm>
                  <a:off x="8366073" y="3647348"/>
                  <a:ext cx="387000" cy="133920"/>
                </a:xfrm>
                <a:prstGeom prst="rect">
                  <a:avLst/>
                </a:prstGeom>
              </p:spPr>
            </p:pic>
          </mc:Fallback>
        </mc:AlternateContent>
        <mc:AlternateContent xmlns:mc="http://schemas.openxmlformats.org/markup-compatibility/2006" xmlns:p14="http://schemas.microsoft.com/office/powerpoint/2010/main">
          <mc:Choice Requires="p14">
            <p:contentPart p14:bwMode="auto" r:id="rId117">
              <p14:nvContentPartPr>
                <p14:cNvPr id="157" name="Ink 156">
                  <a:extLst>
                    <a:ext uri="{FF2B5EF4-FFF2-40B4-BE49-F238E27FC236}">
                      <a16:creationId xmlns:a16="http://schemas.microsoft.com/office/drawing/2014/main" id="{AD2C6BB7-CF9D-47C6-A933-5803A73F58CC}"/>
                    </a:ext>
                  </a:extLst>
                </p14:cNvPr>
                <p14:cNvContentPartPr/>
                <p14:nvPr/>
              </p14:nvContentPartPr>
              <p14:xfrm>
                <a:off x="8647953" y="3703148"/>
                <a:ext cx="183960" cy="134280"/>
              </p14:xfrm>
            </p:contentPart>
          </mc:Choice>
          <mc:Fallback xmlns="">
            <p:pic>
              <p:nvPicPr>
                <p:cNvPr id="157" name="Ink 156">
                  <a:extLst>
                    <a:ext uri="{FF2B5EF4-FFF2-40B4-BE49-F238E27FC236}">
                      <a16:creationId xmlns:a16="http://schemas.microsoft.com/office/drawing/2014/main" id="{AD2C6BB7-CF9D-47C6-A933-5803A73F58CC}"/>
                    </a:ext>
                  </a:extLst>
                </p:cNvPr>
                <p:cNvPicPr/>
                <p:nvPr/>
              </p:nvPicPr>
              <p:blipFill>
                <a:blip r:embed="rId118"/>
                <a:stretch>
                  <a:fillRect/>
                </a:stretch>
              </p:blipFill>
              <p:spPr>
                <a:xfrm>
                  <a:off x="8630313" y="3685508"/>
                  <a:ext cx="219600" cy="169920"/>
                </a:xfrm>
                <a:prstGeom prst="rect">
                  <a:avLst/>
                </a:prstGeom>
              </p:spPr>
            </p:pic>
          </mc:Fallback>
        </mc:AlternateContent>
        <mc:AlternateContent xmlns:mc="http://schemas.openxmlformats.org/markup-compatibility/2006" xmlns:p14="http://schemas.microsoft.com/office/powerpoint/2010/main">
          <mc:Choice Requires="p14">
            <p:contentPart p14:bwMode="auto" r:id="rId119">
              <p14:nvContentPartPr>
                <p14:cNvPr id="158" name="Ink 157">
                  <a:extLst>
                    <a:ext uri="{FF2B5EF4-FFF2-40B4-BE49-F238E27FC236}">
                      <a16:creationId xmlns:a16="http://schemas.microsoft.com/office/drawing/2014/main" id="{A7B022A5-320A-4201-882D-AD54178136E8}"/>
                    </a:ext>
                  </a:extLst>
                </p14:cNvPr>
                <p14:cNvContentPartPr/>
                <p14:nvPr/>
              </p14:nvContentPartPr>
              <p14:xfrm>
                <a:off x="8684673" y="3875588"/>
                <a:ext cx="117720" cy="9360"/>
              </p14:xfrm>
            </p:contentPart>
          </mc:Choice>
          <mc:Fallback xmlns="">
            <p:pic>
              <p:nvPicPr>
                <p:cNvPr id="158" name="Ink 157">
                  <a:extLst>
                    <a:ext uri="{FF2B5EF4-FFF2-40B4-BE49-F238E27FC236}">
                      <a16:creationId xmlns:a16="http://schemas.microsoft.com/office/drawing/2014/main" id="{A7B022A5-320A-4201-882D-AD54178136E8}"/>
                    </a:ext>
                  </a:extLst>
                </p:cNvPr>
                <p:cNvPicPr/>
                <p:nvPr/>
              </p:nvPicPr>
              <p:blipFill>
                <a:blip r:embed="rId120"/>
                <a:stretch>
                  <a:fillRect/>
                </a:stretch>
              </p:blipFill>
              <p:spPr>
                <a:xfrm>
                  <a:off x="8667033" y="3857948"/>
                  <a:ext cx="153360" cy="45000"/>
                </a:xfrm>
                <a:prstGeom prst="rect">
                  <a:avLst/>
                </a:prstGeom>
              </p:spPr>
            </p:pic>
          </mc:Fallback>
        </mc:AlternateContent>
      </p:grpSp>
      <p:grpSp>
        <p:nvGrpSpPr>
          <p:cNvPr id="185" name="Group 184">
            <a:extLst>
              <a:ext uri="{FF2B5EF4-FFF2-40B4-BE49-F238E27FC236}">
                <a16:creationId xmlns:a16="http://schemas.microsoft.com/office/drawing/2014/main" id="{9D4518EA-B367-4733-AA1F-DF96B193F0DC}"/>
              </a:ext>
            </a:extLst>
          </p:cNvPr>
          <p:cNvGrpSpPr/>
          <p:nvPr/>
        </p:nvGrpSpPr>
        <p:grpSpPr>
          <a:xfrm>
            <a:off x="4005753" y="100268"/>
            <a:ext cx="4698000" cy="1254240"/>
            <a:chOff x="4005753" y="100268"/>
            <a:chExt cx="4698000" cy="1254240"/>
          </a:xfrm>
        </p:grpSpPr>
        <mc:AlternateContent xmlns:mc="http://schemas.openxmlformats.org/markup-compatibility/2006" xmlns:p14="http://schemas.microsoft.com/office/powerpoint/2010/main">
          <mc:Choice Requires="p14">
            <p:contentPart p14:bwMode="auto" r:id="rId121">
              <p14:nvContentPartPr>
                <p14:cNvPr id="7" name="Ink 6">
                  <a:extLst>
                    <a:ext uri="{FF2B5EF4-FFF2-40B4-BE49-F238E27FC236}">
                      <a16:creationId xmlns:a16="http://schemas.microsoft.com/office/drawing/2014/main" id="{D0653F4B-613F-403D-AAB2-8C9B95FEBC49}"/>
                    </a:ext>
                  </a:extLst>
                </p14:cNvPr>
                <p14:cNvContentPartPr/>
                <p14:nvPr/>
              </p14:nvContentPartPr>
              <p14:xfrm>
                <a:off x="6019593" y="1129148"/>
                <a:ext cx="25560" cy="182520"/>
              </p14:xfrm>
            </p:contentPart>
          </mc:Choice>
          <mc:Fallback xmlns="">
            <p:pic>
              <p:nvPicPr>
                <p:cNvPr id="7" name="Ink 6">
                  <a:extLst>
                    <a:ext uri="{FF2B5EF4-FFF2-40B4-BE49-F238E27FC236}">
                      <a16:creationId xmlns:a16="http://schemas.microsoft.com/office/drawing/2014/main" id="{D0653F4B-613F-403D-AAB2-8C9B95FEBC49}"/>
                    </a:ext>
                  </a:extLst>
                </p:cNvPr>
                <p:cNvPicPr/>
                <p:nvPr/>
              </p:nvPicPr>
              <p:blipFill>
                <a:blip r:embed="rId122"/>
                <a:stretch>
                  <a:fillRect/>
                </a:stretch>
              </p:blipFill>
              <p:spPr>
                <a:xfrm>
                  <a:off x="6001593" y="1111508"/>
                  <a:ext cx="61200" cy="218160"/>
                </a:xfrm>
                <a:prstGeom prst="rect">
                  <a:avLst/>
                </a:prstGeom>
              </p:spPr>
            </p:pic>
          </mc:Fallback>
        </mc:AlternateContent>
        <mc:AlternateContent xmlns:mc="http://schemas.openxmlformats.org/markup-compatibility/2006" xmlns:p14="http://schemas.microsoft.com/office/powerpoint/2010/main">
          <mc:Choice Requires="p14">
            <p:contentPart p14:bwMode="auto" r:id="rId123">
              <p14:nvContentPartPr>
                <p14:cNvPr id="8" name="Ink 7">
                  <a:extLst>
                    <a:ext uri="{FF2B5EF4-FFF2-40B4-BE49-F238E27FC236}">
                      <a16:creationId xmlns:a16="http://schemas.microsoft.com/office/drawing/2014/main" id="{3B134075-6E41-46A0-B8BA-374E6DA4D494}"/>
                    </a:ext>
                  </a:extLst>
                </p14:cNvPr>
                <p14:cNvContentPartPr/>
                <p14:nvPr/>
              </p14:nvContentPartPr>
              <p14:xfrm>
                <a:off x="6122553" y="1139948"/>
                <a:ext cx="72720" cy="203760"/>
              </p14:xfrm>
            </p:contentPart>
          </mc:Choice>
          <mc:Fallback xmlns="">
            <p:pic>
              <p:nvPicPr>
                <p:cNvPr id="8" name="Ink 7">
                  <a:extLst>
                    <a:ext uri="{FF2B5EF4-FFF2-40B4-BE49-F238E27FC236}">
                      <a16:creationId xmlns:a16="http://schemas.microsoft.com/office/drawing/2014/main" id="{3B134075-6E41-46A0-B8BA-374E6DA4D494}"/>
                    </a:ext>
                  </a:extLst>
                </p:cNvPr>
                <p:cNvPicPr/>
                <p:nvPr/>
              </p:nvPicPr>
              <p:blipFill>
                <a:blip r:embed="rId124"/>
                <a:stretch>
                  <a:fillRect/>
                </a:stretch>
              </p:blipFill>
              <p:spPr>
                <a:xfrm>
                  <a:off x="6104913" y="1121948"/>
                  <a:ext cx="108360" cy="239400"/>
                </a:xfrm>
                <a:prstGeom prst="rect">
                  <a:avLst/>
                </a:prstGeom>
              </p:spPr>
            </p:pic>
          </mc:Fallback>
        </mc:AlternateContent>
        <mc:AlternateContent xmlns:mc="http://schemas.openxmlformats.org/markup-compatibility/2006" xmlns:p14="http://schemas.microsoft.com/office/powerpoint/2010/main">
          <mc:Choice Requires="p14">
            <p:contentPart p14:bwMode="auto" r:id="rId125">
              <p14:nvContentPartPr>
                <p14:cNvPr id="9" name="Ink 8">
                  <a:extLst>
                    <a:ext uri="{FF2B5EF4-FFF2-40B4-BE49-F238E27FC236}">
                      <a16:creationId xmlns:a16="http://schemas.microsoft.com/office/drawing/2014/main" id="{C9D281E6-777A-4FAB-AC2E-9AF15A52A96D}"/>
                    </a:ext>
                  </a:extLst>
                </p14:cNvPr>
                <p14:cNvContentPartPr/>
                <p14:nvPr/>
              </p14:nvContentPartPr>
              <p14:xfrm>
                <a:off x="6247833" y="1177028"/>
                <a:ext cx="127440" cy="120600"/>
              </p14:xfrm>
            </p:contentPart>
          </mc:Choice>
          <mc:Fallback xmlns="">
            <p:pic>
              <p:nvPicPr>
                <p:cNvPr id="9" name="Ink 8">
                  <a:extLst>
                    <a:ext uri="{FF2B5EF4-FFF2-40B4-BE49-F238E27FC236}">
                      <a16:creationId xmlns:a16="http://schemas.microsoft.com/office/drawing/2014/main" id="{C9D281E6-777A-4FAB-AC2E-9AF15A52A96D}"/>
                    </a:ext>
                  </a:extLst>
                </p:cNvPr>
                <p:cNvPicPr/>
                <p:nvPr/>
              </p:nvPicPr>
              <p:blipFill>
                <a:blip r:embed="rId126"/>
                <a:stretch>
                  <a:fillRect/>
                </a:stretch>
              </p:blipFill>
              <p:spPr>
                <a:xfrm>
                  <a:off x="6229833" y="1159028"/>
                  <a:ext cx="163080" cy="156240"/>
                </a:xfrm>
                <a:prstGeom prst="rect">
                  <a:avLst/>
                </a:prstGeom>
              </p:spPr>
            </p:pic>
          </mc:Fallback>
        </mc:AlternateContent>
        <mc:AlternateContent xmlns:mc="http://schemas.openxmlformats.org/markup-compatibility/2006" xmlns:p14="http://schemas.microsoft.com/office/powerpoint/2010/main">
          <mc:Choice Requires="p14">
            <p:contentPart p14:bwMode="auto" r:id="rId127">
              <p14:nvContentPartPr>
                <p14:cNvPr id="10" name="Ink 9">
                  <a:extLst>
                    <a:ext uri="{FF2B5EF4-FFF2-40B4-BE49-F238E27FC236}">
                      <a16:creationId xmlns:a16="http://schemas.microsoft.com/office/drawing/2014/main" id="{1C6B65FD-D29E-4591-B38A-B1443CCAF4B2}"/>
                    </a:ext>
                  </a:extLst>
                </p14:cNvPr>
                <p14:cNvContentPartPr/>
                <p14:nvPr/>
              </p14:nvContentPartPr>
              <p14:xfrm>
                <a:off x="6235593" y="1164428"/>
                <a:ext cx="250200" cy="177840"/>
              </p14:xfrm>
            </p:contentPart>
          </mc:Choice>
          <mc:Fallback xmlns="">
            <p:pic>
              <p:nvPicPr>
                <p:cNvPr id="10" name="Ink 9">
                  <a:extLst>
                    <a:ext uri="{FF2B5EF4-FFF2-40B4-BE49-F238E27FC236}">
                      <a16:creationId xmlns:a16="http://schemas.microsoft.com/office/drawing/2014/main" id="{1C6B65FD-D29E-4591-B38A-B1443CCAF4B2}"/>
                    </a:ext>
                  </a:extLst>
                </p:cNvPr>
                <p:cNvPicPr/>
                <p:nvPr/>
              </p:nvPicPr>
              <p:blipFill>
                <a:blip r:embed="rId128"/>
                <a:stretch>
                  <a:fillRect/>
                </a:stretch>
              </p:blipFill>
              <p:spPr>
                <a:xfrm>
                  <a:off x="6217593" y="1146428"/>
                  <a:ext cx="285840" cy="213480"/>
                </a:xfrm>
                <a:prstGeom prst="rect">
                  <a:avLst/>
                </a:prstGeom>
              </p:spPr>
            </p:pic>
          </mc:Fallback>
        </mc:AlternateContent>
        <mc:AlternateContent xmlns:mc="http://schemas.openxmlformats.org/markup-compatibility/2006" xmlns:p14="http://schemas.microsoft.com/office/powerpoint/2010/main">
          <mc:Choice Requires="p14">
            <p:contentPart p14:bwMode="auto" r:id="rId129">
              <p14:nvContentPartPr>
                <p14:cNvPr id="11" name="Ink 10">
                  <a:extLst>
                    <a:ext uri="{FF2B5EF4-FFF2-40B4-BE49-F238E27FC236}">
                      <a16:creationId xmlns:a16="http://schemas.microsoft.com/office/drawing/2014/main" id="{6E146A09-11E8-46B5-8F60-FF9F95007A17}"/>
                    </a:ext>
                  </a:extLst>
                </p14:cNvPr>
                <p14:cNvContentPartPr/>
                <p14:nvPr/>
              </p14:nvContentPartPr>
              <p14:xfrm>
                <a:off x="6833193" y="1155428"/>
                <a:ext cx="169920" cy="13680"/>
              </p14:xfrm>
            </p:contentPart>
          </mc:Choice>
          <mc:Fallback xmlns="">
            <p:pic>
              <p:nvPicPr>
                <p:cNvPr id="11" name="Ink 10">
                  <a:extLst>
                    <a:ext uri="{FF2B5EF4-FFF2-40B4-BE49-F238E27FC236}">
                      <a16:creationId xmlns:a16="http://schemas.microsoft.com/office/drawing/2014/main" id="{6E146A09-11E8-46B5-8F60-FF9F95007A17}"/>
                    </a:ext>
                  </a:extLst>
                </p:cNvPr>
                <p:cNvPicPr/>
                <p:nvPr/>
              </p:nvPicPr>
              <p:blipFill>
                <a:blip r:embed="rId130"/>
                <a:stretch>
                  <a:fillRect/>
                </a:stretch>
              </p:blipFill>
              <p:spPr>
                <a:xfrm>
                  <a:off x="6815193" y="1137788"/>
                  <a:ext cx="205560" cy="49320"/>
                </a:xfrm>
                <a:prstGeom prst="rect">
                  <a:avLst/>
                </a:prstGeom>
              </p:spPr>
            </p:pic>
          </mc:Fallback>
        </mc:AlternateContent>
        <mc:AlternateContent xmlns:mc="http://schemas.openxmlformats.org/markup-compatibility/2006" xmlns:p14="http://schemas.microsoft.com/office/powerpoint/2010/main">
          <mc:Choice Requires="p14">
            <p:contentPart p14:bwMode="auto" r:id="rId131">
              <p14:nvContentPartPr>
                <p14:cNvPr id="12" name="Ink 11">
                  <a:extLst>
                    <a:ext uri="{FF2B5EF4-FFF2-40B4-BE49-F238E27FC236}">
                      <a16:creationId xmlns:a16="http://schemas.microsoft.com/office/drawing/2014/main" id="{F25EE859-3C64-47CB-A4E2-ABA8827C2DE6}"/>
                    </a:ext>
                  </a:extLst>
                </p14:cNvPr>
                <p14:cNvContentPartPr/>
                <p14:nvPr/>
              </p14:nvContentPartPr>
              <p14:xfrm>
                <a:off x="6907353" y="1239668"/>
                <a:ext cx="159480" cy="20160"/>
              </p14:xfrm>
            </p:contentPart>
          </mc:Choice>
          <mc:Fallback xmlns="">
            <p:pic>
              <p:nvPicPr>
                <p:cNvPr id="12" name="Ink 11">
                  <a:extLst>
                    <a:ext uri="{FF2B5EF4-FFF2-40B4-BE49-F238E27FC236}">
                      <a16:creationId xmlns:a16="http://schemas.microsoft.com/office/drawing/2014/main" id="{F25EE859-3C64-47CB-A4E2-ABA8827C2DE6}"/>
                    </a:ext>
                  </a:extLst>
                </p:cNvPr>
                <p:cNvPicPr/>
                <p:nvPr/>
              </p:nvPicPr>
              <p:blipFill>
                <a:blip r:embed="rId132"/>
                <a:stretch>
                  <a:fillRect/>
                </a:stretch>
              </p:blipFill>
              <p:spPr>
                <a:xfrm>
                  <a:off x="6889713" y="1221668"/>
                  <a:ext cx="195120" cy="55800"/>
                </a:xfrm>
                <a:prstGeom prst="rect">
                  <a:avLst/>
                </a:prstGeom>
              </p:spPr>
            </p:pic>
          </mc:Fallback>
        </mc:AlternateContent>
        <mc:AlternateContent xmlns:mc="http://schemas.openxmlformats.org/markup-compatibility/2006" xmlns:p14="http://schemas.microsoft.com/office/powerpoint/2010/main">
          <mc:Choice Requires="p14">
            <p:contentPart p14:bwMode="auto" r:id="rId133">
              <p14:nvContentPartPr>
                <p14:cNvPr id="2" name="Ink 1">
                  <a:extLst>
                    <a:ext uri="{FF2B5EF4-FFF2-40B4-BE49-F238E27FC236}">
                      <a16:creationId xmlns:a16="http://schemas.microsoft.com/office/drawing/2014/main" id="{B73C3E9A-A50F-4DA3-8C09-1C151BC83060}"/>
                    </a:ext>
                  </a:extLst>
                </p14:cNvPr>
                <p14:cNvContentPartPr/>
                <p14:nvPr/>
              </p14:nvContentPartPr>
              <p14:xfrm>
                <a:off x="4986033" y="1171268"/>
                <a:ext cx="129240" cy="181440"/>
              </p14:xfrm>
            </p:contentPart>
          </mc:Choice>
          <mc:Fallback xmlns="">
            <p:pic>
              <p:nvPicPr>
                <p:cNvPr id="2" name="Ink 1">
                  <a:extLst>
                    <a:ext uri="{FF2B5EF4-FFF2-40B4-BE49-F238E27FC236}">
                      <a16:creationId xmlns:a16="http://schemas.microsoft.com/office/drawing/2014/main" id="{B73C3E9A-A50F-4DA3-8C09-1C151BC83060}"/>
                    </a:ext>
                  </a:extLst>
                </p:cNvPr>
                <p:cNvPicPr/>
                <p:nvPr/>
              </p:nvPicPr>
              <p:blipFill>
                <a:blip r:embed="rId134"/>
                <a:stretch>
                  <a:fillRect/>
                </a:stretch>
              </p:blipFill>
              <p:spPr>
                <a:xfrm>
                  <a:off x="4968033" y="1153628"/>
                  <a:ext cx="164880" cy="217080"/>
                </a:xfrm>
                <a:prstGeom prst="rect">
                  <a:avLst/>
                </a:prstGeom>
              </p:spPr>
            </p:pic>
          </mc:Fallback>
        </mc:AlternateContent>
        <mc:AlternateContent xmlns:mc="http://schemas.openxmlformats.org/markup-compatibility/2006" xmlns:p14="http://schemas.microsoft.com/office/powerpoint/2010/main">
          <mc:Choice Requires="p14">
            <p:contentPart p14:bwMode="auto" r:id="rId135">
              <p14:nvContentPartPr>
                <p14:cNvPr id="3" name="Ink 2">
                  <a:extLst>
                    <a:ext uri="{FF2B5EF4-FFF2-40B4-BE49-F238E27FC236}">
                      <a16:creationId xmlns:a16="http://schemas.microsoft.com/office/drawing/2014/main" id="{5FBF2692-044A-44BA-94D9-2E1A2C567519}"/>
                    </a:ext>
                  </a:extLst>
                </p14:cNvPr>
                <p14:cNvContentPartPr/>
                <p14:nvPr/>
              </p14:nvContentPartPr>
              <p14:xfrm>
                <a:off x="5179713" y="1177388"/>
                <a:ext cx="216360" cy="172440"/>
              </p14:xfrm>
            </p:contentPart>
          </mc:Choice>
          <mc:Fallback xmlns="">
            <p:pic>
              <p:nvPicPr>
                <p:cNvPr id="3" name="Ink 2">
                  <a:extLst>
                    <a:ext uri="{FF2B5EF4-FFF2-40B4-BE49-F238E27FC236}">
                      <a16:creationId xmlns:a16="http://schemas.microsoft.com/office/drawing/2014/main" id="{5FBF2692-044A-44BA-94D9-2E1A2C567519}"/>
                    </a:ext>
                  </a:extLst>
                </p:cNvPr>
                <p:cNvPicPr/>
                <p:nvPr/>
              </p:nvPicPr>
              <p:blipFill>
                <a:blip r:embed="rId136"/>
                <a:stretch>
                  <a:fillRect/>
                </a:stretch>
              </p:blipFill>
              <p:spPr>
                <a:xfrm>
                  <a:off x="5161713" y="1159388"/>
                  <a:ext cx="252000" cy="208080"/>
                </a:xfrm>
                <a:prstGeom prst="rect">
                  <a:avLst/>
                </a:prstGeom>
              </p:spPr>
            </p:pic>
          </mc:Fallback>
        </mc:AlternateContent>
        <mc:AlternateContent xmlns:mc="http://schemas.openxmlformats.org/markup-compatibility/2006" xmlns:p14="http://schemas.microsoft.com/office/powerpoint/2010/main">
          <mc:Choice Requires="p14">
            <p:contentPart p14:bwMode="auto" r:id="rId137">
              <p14:nvContentPartPr>
                <p14:cNvPr id="4" name="Ink 3">
                  <a:extLst>
                    <a:ext uri="{FF2B5EF4-FFF2-40B4-BE49-F238E27FC236}">
                      <a16:creationId xmlns:a16="http://schemas.microsoft.com/office/drawing/2014/main" id="{0FCCEE0C-A30E-4754-B40C-606C663B0C2D}"/>
                    </a:ext>
                  </a:extLst>
                </p14:cNvPr>
                <p14:cNvContentPartPr/>
                <p14:nvPr/>
              </p14:nvContentPartPr>
              <p14:xfrm>
                <a:off x="5486793" y="1169108"/>
                <a:ext cx="79560" cy="155880"/>
              </p14:xfrm>
            </p:contentPart>
          </mc:Choice>
          <mc:Fallback xmlns="">
            <p:pic>
              <p:nvPicPr>
                <p:cNvPr id="4" name="Ink 3">
                  <a:extLst>
                    <a:ext uri="{FF2B5EF4-FFF2-40B4-BE49-F238E27FC236}">
                      <a16:creationId xmlns:a16="http://schemas.microsoft.com/office/drawing/2014/main" id="{0FCCEE0C-A30E-4754-B40C-606C663B0C2D}"/>
                    </a:ext>
                  </a:extLst>
                </p:cNvPr>
                <p:cNvPicPr/>
                <p:nvPr/>
              </p:nvPicPr>
              <p:blipFill>
                <a:blip r:embed="rId138"/>
                <a:stretch>
                  <a:fillRect/>
                </a:stretch>
              </p:blipFill>
              <p:spPr>
                <a:xfrm>
                  <a:off x="5469153" y="1151108"/>
                  <a:ext cx="115200" cy="191520"/>
                </a:xfrm>
                <a:prstGeom prst="rect">
                  <a:avLst/>
                </a:prstGeom>
              </p:spPr>
            </p:pic>
          </mc:Fallback>
        </mc:AlternateContent>
        <mc:AlternateContent xmlns:mc="http://schemas.openxmlformats.org/markup-compatibility/2006" xmlns:p14="http://schemas.microsoft.com/office/powerpoint/2010/main">
          <mc:Choice Requires="p14">
            <p:contentPart p14:bwMode="auto" r:id="rId139">
              <p14:nvContentPartPr>
                <p14:cNvPr id="5" name="Ink 4">
                  <a:extLst>
                    <a:ext uri="{FF2B5EF4-FFF2-40B4-BE49-F238E27FC236}">
                      <a16:creationId xmlns:a16="http://schemas.microsoft.com/office/drawing/2014/main" id="{829E6FEB-9F89-4073-BC87-BCA588CFE943}"/>
                    </a:ext>
                  </a:extLst>
                </p14:cNvPr>
                <p14:cNvContentPartPr/>
                <p14:nvPr/>
              </p14:nvContentPartPr>
              <p14:xfrm>
                <a:off x="5752113" y="1231748"/>
                <a:ext cx="18000" cy="12600"/>
              </p14:xfrm>
            </p:contentPart>
          </mc:Choice>
          <mc:Fallback xmlns="">
            <p:pic>
              <p:nvPicPr>
                <p:cNvPr id="5" name="Ink 4">
                  <a:extLst>
                    <a:ext uri="{FF2B5EF4-FFF2-40B4-BE49-F238E27FC236}">
                      <a16:creationId xmlns:a16="http://schemas.microsoft.com/office/drawing/2014/main" id="{829E6FEB-9F89-4073-BC87-BCA588CFE943}"/>
                    </a:ext>
                  </a:extLst>
                </p:cNvPr>
                <p:cNvPicPr/>
                <p:nvPr/>
              </p:nvPicPr>
              <p:blipFill>
                <a:blip r:embed="rId140"/>
                <a:stretch>
                  <a:fillRect/>
                </a:stretch>
              </p:blipFill>
              <p:spPr>
                <a:xfrm>
                  <a:off x="5734113" y="1214108"/>
                  <a:ext cx="53640" cy="48240"/>
                </a:xfrm>
                <a:prstGeom prst="rect">
                  <a:avLst/>
                </a:prstGeom>
              </p:spPr>
            </p:pic>
          </mc:Fallback>
        </mc:AlternateContent>
        <mc:AlternateContent xmlns:mc="http://schemas.openxmlformats.org/markup-compatibility/2006" xmlns:p14="http://schemas.microsoft.com/office/powerpoint/2010/main">
          <mc:Choice Requires="p14">
            <p:contentPart p14:bwMode="auto" r:id="rId141">
              <p14:nvContentPartPr>
                <p14:cNvPr id="13" name="Ink 12">
                  <a:extLst>
                    <a:ext uri="{FF2B5EF4-FFF2-40B4-BE49-F238E27FC236}">
                      <a16:creationId xmlns:a16="http://schemas.microsoft.com/office/drawing/2014/main" id="{09C084A7-7DDE-43A6-8904-2E5679123687}"/>
                    </a:ext>
                  </a:extLst>
                </p14:cNvPr>
                <p14:cNvContentPartPr/>
                <p14:nvPr/>
              </p14:nvContentPartPr>
              <p14:xfrm>
                <a:off x="7351593" y="1128068"/>
                <a:ext cx="147240" cy="226440"/>
              </p14:xfrm>
            </p:contentPart>
          </mc:Choice>
          <mc:Fallback xmlns="">
            <p:pic>
              <p:nvPicPr>
                <p:cNvPr id="13" name="Ink 12">
                  <a:extLst>
                    <a:ext uri="{FF2B5EF4-FFF2-40B4-BE49-F238E27FC236}">
                      <a16:creationId xmlns:a16="http://schemas.microsoft.com/office/drawing/2014/main" id="{09C084A7-7DDE-43A6-8904-2E5679123687}"/>
                    </a:ext>
                  </a:extLst>
                </p:cNvPr>
                <p:cNvPicPr/>
                <p:nvPr/>
              </p:nvPicPr>
              <p:blipFill>
                <a:blip r:embed="rId142"/>
                <a:stretch>
                  <a:fillRect/>
                </a:stretch>
              </p:blipFill>
              <p:spPr>
                <a:xfrm>
                  <a:off x="7333593" y="1110428"/>
                  <a:ext cx="182880" cy="262080"/>
                </a:xfrm>
                <a:prstGeom prst="rect">
                  <a:avLst/>
                </a:prstGeom>
              </p:spPr>
            </p:pic>
          </mc:Fallback>
        </mc:AlternateContent>
        <mc:AlternateContent xmlns:mc="http://schemas.openxmlformats.org/markup-compatibility/2006" xmlns:p14="http://schemas.microsoft.com/office/powerpoint/2010/main">
          <mc:Choice Requires="p14">
            <p:contentPart p14:bwMode="auto" r:id="rId143">
              <p14:nvContentPartPr>
                <p14:cNvPr id="14" name="Ink 13">
                  <a:extLst>
                    <a:ext uri="{FF2B5EF4-FFF2-40B4-BE49-F238E27FC236}">
                      <a16:creationId xmlns:a16="http://schemas.microsoft.com/office/drawing/2014/main" id="{C79FB2D3-1EC0-42F5-810A-82A78B0C7974}"/>
                    </a:ext>
                  </a:extLst>
                </p14:cNvPr>
                <p14:cNvContentPartPr/>
                <p14:nvPr/>
              </p14:nvContentPartPr>
              <p14:xfrm>
                <a:off x="7619073" y="1157588"/>
                <a:ext cx="112320" cy="101880"/>
              </p14:xfrm>
            </p:contentPart>
          </mc:Choice>
          <mc:Fallback xmlns="">
            <p:pic>
              <p:nvPicPr>
                <p:cNvPr id="14" name="Ink 13">
                  <a:extLst>
                    <a:ext uri="{FF2B5EF4-FFF2-40B4-BE49-F238E27FC236}">
                      <a16:creationId xmlns:a16="http://schemas.microsoft.com/office/drawing/2014/main" id="{C79FB2D3-1EC0-42F5-810A-82A78B0C7974}"/>
                    </a:ext>
                  </a:extLst>
                </p:cNvPr>
                <p:cNvPicPr/>
                <p:nvPr/>
              </p:nvPicPr>
              <p:blipFill>
                <a:blip r:embed="rId144"/>
                <a:stretch>
                  <a:fillRect/>
                </a:stretch>
              </p:blipFill>
              <p:spPr>
                <a:xfrm>
                  <a:off x="7601073" y="1139948"/>
                  <a:ext cx="147960" cy="137520"/>
                </a:xfrm>
                <a:prstGeom prst="rect">
                  <a:avLst/>
                </a:prstGeom>
              </p:spPr>
            </p:pic>
          </mc:Fallback>
        </mc:AlternateContent>
        <mc:AlternateContent xmlns:mc="http://schemas.openxmlformats.org/markup-compatibility/2006" xmlns:p14="http://schemas.microsoft.com/office/powerpoint/2010/main">
          <mc:Choice Requires="p14">
            <p:contentPart p14:bwMode="auto" r:id="rId145">
              <p14:nvContentPartPr>
                <p14:cNvPr id="15" name="Ink 14">
                  <a:extLst>
                    <a:ext uri="{FF2B5EF4-FFF2-40B4-BE49-F238E27FC236}">
                      <a16:creationId xmlns:a16="http://schemas.microsoft.com/office/drawing/2014/main" id="{A4FADC93-E2AF-4A32-8160-B5F36215F910}"/>
                    </a:ext>
                  </a:extLst>
                </p14:cNvPr>
                <p14:cNvContentPartPr/>
                <p14:nvPr/>
              </p14:nvContentPartPr>
              <p14:xfrm>
                <a:off x="7623033" y="1141748"/>
                <a:ext cx="195480" cy="154800"/>
              </p14:xfrm>
            </p:contentPart>
          </mc:Choice>
          <mc:Fallback xmlns="">
            <p:pic>
              <p:nvPicPr>
                <p:cNvPr id="15" name="Ink 14">
                  <a:extLst>
                    <a:ext uri="{FF2B5EF4-FFF2-40B4-BE49-F238E27FC236}">
                      <a16:creationId xmlns:a16="http://schemas.microsoft.com/office/drawing/2014/main" id="{A4FADC93-E2AF-4A32-8160-B5F36215F910}"/>
                    </a:ext>
                  </a:extLst>
                </p:cNvPr>
                <p:cNvPicPr/>
                <p:nvPr/>
              </p:nvPicPr>
              <p:blipFill>
                <a:blip r:embed="rId146"/>
                <a:stretch>
                  <a:fillRect/>
                </a:stretch>
              </p:blipFill>
              <p:spPr>
                <a:xfrm>
                  <a:off x="7605393" y="1124108"/>
                  <a:ext cx="231120" cy="190440"/>
                </a:xfrm>
                <a:prstGeom prst="rect">
                  <a:avLst/>
                </a:prstGeom>
              </p:spPr>
            </p:pic>
          </mc:Fallback>
        </mc:AlternateContent>
        <mc:AlternateContent xmlns:mc="http://schemas.openxmlformats.org/markup-compatibility/2006" xmlns:p14="http://schemas.microsoft.com/office/powerpoint/2010/main">
          <mc:Choice Requires="p14">
            <p:contentPart p14:bwMode="auto" r:id="rId147">
              <p14:nvContentPartPr>
                <p14:cNvPr id="114" name="Ink 113">
                  <a:extLst>
                    <a:ext uri="{FF2B5EF4-FFF2-40B4-BE49-F238E27FC236}">
                      <a16:creationId xmlns:a16="http://schemas.microsoft.com/office/drawing/2014/main" id="{D37EAEC6-FBC6-4C3E-AE55-107D84C405CF}"/>
                    </a:ext>
                  </a:extLst>
                </p14:cNvPr>
                <p14:cNvContentPartPr/>
                <p14:nvPr/>
              </p14:nvContentPartPr>
              <p14:xfrm>
                <a:off x="6067473" y="743948"/>
                <a:ext cx="37080" cy="226080"/>
              </p14:xfrm>
            </p:contentPart>
          </mc:Choice>
          <mc:Fallback xmlns="">
            <p:pic>
              <p:nvPicPr>
                <p:cNvPr id="114" name="Ink 113">
                  <a:extLst>
                    <a:ext uri="{FF2B5EF4-FFF2-40B4-BE49-F238E27FC236}">
                      <a16:creationId xmlns:a16="http://schemas.microsoft.com/office/drawing/2014/main" id="{D37EAEC6-FBC6-4C3E-AE55-107D84C405CF}"/>
                    </a:ext>
                  </a:extLst>
                </p:cNvPr>
                <p:cNvPicPr/>
                <p:nvPr/>
              </p:nvPicPr>
              <p:blipFill>
                <a:blip r:embed="rId148"/>
                <a:stretch>
                  <a:fillRect/>
                </a:stretch>
              </p:blipFill>
              <p:spPr>
                <a:xfrm>
                  <a:off x="6049833" y="726308"/>
                  <a:ext cx="72720" cy="261720"/>
                </a:xfrm>
                <a:prstGeom prst="rect">
                  <a:avLst/>
                </a:prstGeom>
              </p:spPr>
            </p:pic>
          </mc:Fallback>
        </mc:AlternateContent>
        <mc:AlternateContent xmlns:mc="http://schemas.openxmlformats.org/markup-compatibility/2006" xmlns:p14="http://schemas.microsoft.com/office/powerpoint/2010/main">
          <mc:Choice Requires="p14">
            <p:contentPart p14:bwMode="auto" r:id="rId149">
              <p14:nvContentPartPr>
                <p14:cNvPr id="115" name="Ink 114">
                  <a:extLst>
                    <a:ext uri="{FF2B5EF4-FFF2-40B4-BE49-F238E27FC236}">
                      <a16:creationId xmlns:a16="http://schemas.microsoft.com/office/drawing/2014/main" id="{53299629-C5A5-4CC8-BBFB-024A9545B81D}"/>
                    </a:ext>
                  </a:extLst>
                </p14:cNvPr>
                <p14:cNvContentPartPr/>
                <p14:nvPr/>
              </p14:nvContentPartPr>
              <p14:xfrm>
                <a:off x="5978553" y="897668"/>
                <a:ext cx="111600" cy="66600"/>
              </p14:xfrm>
            </p:contentPart>
          </mc:Choice>
          <mc:Fallback xmlns="">
            <p:pic>
              <p:nvPicPr>
                <p:cNvPr id="115" name="Ink 114">
                  <a:extLst>
                    <a:ext uri="{FF2B5EF4-FFF2-40B4-BE49-F238E27FC236}">
                      <a16:creationId xmlns:a16="http://schemas.microsoft.com/office/drawing/2014/main" id="{53299629-C5A5-4CC8-BBFB-024A9545B81D}"/>
                    </a:ext>
                  </a:extLst>
                </p:cNvPr>
                <p:cNvPicPr/>
                <p:nvPr/>
              </p:nvPicPr>
              <p:blipFill>
                <a:blip r:embed="rId150"/>
                <a:stretch>
                  <a:fillRect/>
                </a:stretch>
              </p:blipFill>
              <p:spPr>
                <a:xfrm>
                  <a:off x="5960913" y="880028"/>
                  <a:ext cx="147240" cy="102240"/>
                </a:xfrm>
                <a:prstGeom prst="rect">
                  <a:avLst/>
                </a:prstGeom>
              </p:spPr>
            </p:pic>
          </mc:Fallback>
        </mc:AlternateContent>
        <mc:AlternateContent xmlns:mc="http://schemas.openxmlformats.org/markup-compatibility/2006" xmlns:p14="http://schemas.microsoft.com/office/powerpoint/2010/main">
          <mc:Choice Requires="p14">
            <p:contentPart p14:bwMode="auto" r:id="rId151">
              <p14:nvContentPartPr>
                <p14:cNvPr id="117" name="Ink 116">
                  <a:extLst>
                    <a:ext uri="{FF2B5EF4-FFF2-40B4-BE49-F238E27FC236}">
                      <a16:creationId xmlns:a16="http://schemas.microsoft.com/office/drawing/2014/main" id="{6E66DFA2-A00E-411D-A05D-F46201AC5067}"/>
                    </a:ext>
                  </a:extLst>
                </p14:cNvPr>
                <p14:cNvContentPartPr/>
                <p14:nvPr/>
              </p14:nvContentPartPr>
              <p14:xfrm>
                <a:off x="5988633" y="831788"/>
                <a:ext cx="183240" cy="126360"/>
              </p14:xfrm>
            </p:contentPart>
          </mc:Choice>
          <mc:Fallback xmlns="">
            <p:pic>
              <p:nvPicPr>
                <p:cNvPr id="117" name="Ink 116">
                  <a:extLst>
                    <a:ext uri="{FF2B5EF4-FFF2-40B4-BE49-F238E27FC236}">
                      <a16:creationId xmlns:a16="http://schemas.microsoft.com/office/drawing/2014/main" id="{6E66DFA2-A00E-411D-A05D-F46201AC5067}"/>
                    </a:ext>
                  </a:extLst>
                </p:cNvPr>
                <p:cNvPicPr/>
                <p:nvPr/>
              </p:nvPicPr>
              <p:blipFill>
                <a:blip r:embed="rId152"/>
                <a:stretch>
                  <a:fillRect/>
                </a:stretch>
              </p:blipFill>
              <p:spPr>
                <a:xfrm>
                  <a:off x="5970993" y="814148"/>
                  <a:ext cx="218880" cy="162000"/>
                </a:xfrm>
                <a:prstGeom prst="rect">
                  <a:avLst/>
                </a:prstGeom>
              </p:spPr>
            </p:pic>
          </mc:Fallback>
        </mc:AlternateContent>
        <mc:AlternateContent xmlns:mc="http://schemas.openxmlformats.org/markup-compatibility/2006" xmlns:p14="http://schemas.microsoft.com/office/powerpoint/2010/main">
          <mc:Choice Requires="p14">
            <p:contentPart p14:bwMode="auto" r:id="rId153">
              <p14:nvContentPartPr>
                <p14:cNvPr id="118" name="Ink 117">
                  <a:extLst>
                    <a:ext uri="{FF2B5EF4-FFF2-40B4-BE49-F238E27FC236}">
                      <a16:creationId xmlns:a16="http://schemas.microsoft.com/office/drawing/2014/main" id="{B14E4940-D8A3-42AE-AF7A-67E7730B62AB}"/>
                    </a:ext>
                  </a:extLst>
                </p14:cNvPr>
                <p14:cNvContentPartPr/>
                <p14:nvPr/>
              </p14:nvContentPartPr>
              <p14:xfrm>
                <a:off x="5928153" y="378908"/>
                <a:ext cx="79920" cy="198360"/>
              </p14:xfrm>
            </p:contentPart>
          </mc:Choice>
          <mc:Fallback xmlns="">
            <p:pic>
              <p:nvPicPr>
                <p:cNvPr id="118" name="Ink 117">
                  <a:extLst>
                    <a:ext uri="{FF2B5EF4-FFF2-40B4-BE49-F238E27FC236}">
                      <a16:creationId xmlns:a16="http://schemas.microsoft.com/office/drawing/2014/main" id="{B14E4940-D8A3-42AE-AF7A-67E7730B62AB}"/>
                    </a:ext>
                  </a:extLst>
                </p:cNvPr>
                <p:cNvPicPr/>
                <p:nvPr/>
              </p:nvPicPr>
              <p:blipFill>
                <a:blip r:embed="rId154"/>
                <a:stretch>
                  <a:fillRect/>
                </a:stretch>
              </p:blipFill>
              <p:spPr>
                <a:xfrm>
                  <a:off x="5910513" y="361268"/>
                  <a:ext cx="115560" cy="234000"/>
                </a:xfrm>
                <a:prstGeom prst="rect">
                  <a:avLst/>
                </a:prstGeom>
              </p:spPr>
            </p:pic>
          </mc:Fallback>
        </mc:AlternateContent>
        <mc:AlternateContent xmlns:mc="http://schemas.openxmlformats.org/markup-compatibility/2006" xmlns:p14="http://schemas.microsoft.com/office/powerpoint/2010/main">
          <mc:Choice Requires="p14">
            <p:contentPart p14:bwMode="auto" r:id="rId155">
              <p14:nvContentPartPr>
                <p14:cNvPr id="119" name="Ink 118">
                  <a:extLst>
                    <a:ext uri="{FF2B5EF4-FFF2-40B4-BE49-F238E27FC236}">
                      <a16:creationId xmlns:a16="http://schemas.microsoft.com/office/drawing/2014/main" id="{D99F90AE-E224-429C-B1F1-BF4CBAD6F72B}"/>
                    </a:ext>
                  </a:extLst>
                </p14:cNvPr>
                <p14:cNvContentPartPr/>
                <p14:nvPr/>
              </p14:nvContentPartPr>
              <p14:xfrm>
                <a:off x="5893233" y="509948"/>
                <a:ext cx="351360" cy="117000"/>
              </p14:xfrm>
            </p:contentPart>
          </mc:Choice>
          <mc:Fallback xmlns="">
            <p:pic>
              <p:nvPicPr>
                <p:cNvPr id="119" name="Ink 118">
                  <a:extLst>
                    <a:ext uri="{FF2B5EF4-FFF2-40B4-BE49-F238E27FC236}">
                      <a16:creationId xmlns:a16="http://schemas.microsoft.com/office/drawing/2014/main" id="{D99F90AE-E224-429C-B1F1-BF4CBAD6F72B}"/>
                    </a:ext>
                  </a:extLst>
                </p:cNvPr>
                <p:cNvPicPr/>
                <p:nvPr/>
              </p:nvPicPr>
              <p:blipFill>
                <a:blip r:embed="rId156"/>
                <a:stretch>
                  <a:fillRect/>
                </a:stretch>
              </p:blipFill>
              <p:spPr>
                <a:xfrm>
                  <a:off x="5875593" y="491948"/>
                  <a:ext cx="387000" cy="152640"/>
                </a:xfrm>
                <a:prstGeom prst="rect">
                  <a:avLst/>
                </a:prstGeom>
              </p:spPr>
            </p:pic>
          </mc:Fallback>
        </mc:AlternateContent>
        <mc:AlternateContent xmlns:mc="http://schemas.openxmlformats.org/markup-compatibility/2006" xmlns:p14="http://schemas.microsoft.com/office/powerpoint/2010/main">
          <mc:Choice Requires="p14">
            <p:contentPart p14:bwMode="auto" r:id="rId157">
              <p14:nvContentPartPr>
                <p14:cNvPr id="120" name="Ink 119">
                  <a:extLst>
                    <a:ext uri="{FF2B5EF4-FFF2-40B4-BE49-F238E27FC236}">
                      <a16:creationId xmlns:a16="http://schemas.microsoft.com/office/drawing/2014/main" id="{6D688269-490D-47F4-A727-42FCB508C808}"/>
                    </a:ext>
                  </a:extLst>
                </p14:cNvPr>
                <p14:cNvContentPartPr/>
                <p14:nvPr/>
              </p14:nvContentPartPr>
              <p14:xfrm>
                <a:off x="6297513" y="400148"/>
                <a:ext cx="118080" cy="195840"/>
              </p14:xfrm>
            </p:contentPart>
          </mc:Choice>
          <mc:Fallback xmlns="">
            <p:pic>
              <p:nvPicPr>
                <p:cNvPr id="120" name="Ink 119">
                  <a:extLst>
                    <a:ext uri="{FF2B5EF4-FFF2-40B4-BE49-F238E27FC236}">
                      <a16:creationId xmlns:a16="http://schemas.microsoft.com/office/drawing/2014/main" id="{6D688269-490D-47F4-A727-42FCB508C808}"/>
                    </a:ext>
                  </a:extLst>
                </p:cNvPr>
                <p:cNvPicPr/>
                <p:nvPr/>
              </p:nvPicPr>
              <p:blipFill>
                <a:blip r:embed="rId158"/>
                <a:stretch>
                  <a:fillRect/>
                </a:stretch>
              </p:blipFill>
              <p:spPr>
                <a:xfrm>
                  <a:off x="6279873" y="382508"/>
                  <a:ext cx="153720" cy="231480"/>
                </a:xfrm>
                <a:prstGeom prst="rect">
                  <a:avLst/>
                </a:prstGeom>
              </p:spPr>
            </p:pic>
          </mc:Fallback>
        </mc:AlternateContent>
        <mc:AlternateContent xmlns:mc="http://schemas.openxmlformats.org/markup-compatibility/2006" xmlns:p14="http://schemas.microsoft.com/office/powerpoint/2010/main">
          <mc:Choice Requires="p14">
            <p:contentPart p14:bwMode="auto" r:id="rId159">
              <p14:nvContentPartPr>
                <p14:cNvPr id="121" name="Ink 120">
                  <a:extLst>
                    <a:ext uri="{FF2B5EF4-FFF2-40B4-BE49-F238E27FC236}">
                      <a16:creationId xmlns:a16="http://schemas.microsoft.com/office/drawing/2014/main" id="{0695321B-DEE2-4F9A-8650-0C687A62701F}"/>
                    </a:ext>
                  </a:extLst>
                </p14:cNvPr>
                <p14:cNvContentPartPr/>
                <p14:nvPr/>
              </p14:nvContentPartPr>
              <p14:xfrm>
                <a:off x="6406233" y="335708"/>
                <a:ext cx="211680" cy="185040"/>
              </p14:xfrm>
            </p:contentPart>
          </mc:Choice>
          <mc:Fallback xmlns="">
            <p:pic>
              <p:nvPicPr>
                <p:cNvPr id="121" name="Ink 120">
                  <a:extLst>
                    <a:ext uri="{FF2B5EF4-FFF2-40B4-BE49-F238E27FC236}">
                      <a16:creationId xmlns:a16="http://schemas.microsoft.com/office/drawing/2014/main" id="{0695321B-DEE2-4F9A-8650-0C687A62701F}"/>
                    </a:ext>
                  </a:extLst>
                </p:cNvPr>
                <p:cNvPicPr/>
                <p:nvPr/>
              </p:nvPicPr>
              <p:blipFill>
                <a:blip r:embed="rId160"/>
                <a:stretch>
                  <a:fillRect/>
                </a:stretch>
              </p:blipFill>
              <p:spPr>
                <a:xfrm>
                  <a:off x="6388593" y="318068"/>
                  <a:ext cx="247320" cy="220680"/>
                </a:xfrm>
                <a:prstGeom prst="rect">
                  <a:avLst/>
                </a:prstGeom>
              </p:spPr>
            </p:pic>
          </mc:Fallback>
        </mc:AlternateContent>
        <mc:AlternateContent xmlns:mc="http://schemas.openxmlformats.org/markup-compatibility/2006" xmlns:p14="http://schemas.microsoft.com/office/powerpoint/2010/main">
          <mc:Choice Requires="p14">
            <p:contentPart p14:bwMode="auto" r:id="rId161">
              <p14:nvContentPartPr>
                <p14:cNvPr id="122" name="Ink 121">
                  <a:extLst>
                    <a:ext uri="{FF2B5EF4-FFF2-40B4-BE49-F238E27FC236}">
                      <a16:creationId xmlns:a16="http://schemas.microsoft.com/office/drawing/2014/main" id="{536372B8-2DE9-411F-A859-3EC7418F8421}"/>
                    </a:ext>
                  </a:extLst>
                </p14:cNvPr>
                <p14:cNvContentPartPr/>
                <p14:nvPr/>
              </p14:nvContentPartPr>
              <p14:xfrm>
                <a:off x="6612513" y="403748"/>
                <a:ext cx="109440" cy="41040"/>
              </p14:xfrm>
            </p:contentPart>
          </mc:Choice>
          <mc:Fallback xmlns="">
            <p:pic>
              <p:nvPicPr>
                <p:cNvPr id="122" name="Ink 121">
                  <a:extLst>
                    <a:ext uri="{FF2B5EF4-FFF2-40B4-BE49-F238E27FC236}">
                      <a16:creationId xmlns:a16="http://schemas.microsoft.com/office/drawing/2014/main" id="{536372B8-2DE9-411F-A859-3EC7418F8421}"/>
                    </a:ext>
                  </a:extLst>
                </p:cNvPr>
                <p:cNvPicPr/>
                <p:nvPr/>
              </p:nvPicPr>
              <p:blipFill>
                <a:blip r:embed="rId162"/>
                <a:stretch>
                  <a:fillRect/>
                </a:stretch>
              </p:blipFill>
              <p:spPr>
                <a:xfrm>
                  <a:off x="6594513" y="386108"/>
                  <a:ext cx="145080" cy="76680"/>
                </a:xfrm>
                <a:prstGeom prst="rect">
                  <a:avLst/>
                </a:prstGeom>
              </p:spPr>
            </p:pic>
          </mc:Fallback>
        </mc:AlternateContent>
        <mc:AlternateContent xmlns:mc="http://schemas.openxmlformats.org/markup-compatibility/2006" xmlns:p14="http://schemas.microsoft.com/office/powerpoint/2010/main">
          <mc:Choice Requires="p14">
            <p:contentPart p14:bwMode="auto" r:id="rId163">
              <p14:nvContentPartPr>
                <p14:cNvPr id="123" name="Ink 122">
                  <a:extLst>
                    <a:ext uri="{FF2B5EF4-FFF2-40B4-BE49-F238E27FC236}">
                      <a16:creationId xmlns:a16="http://schemas.microsoft.com/office/drawing/2014/main" id="{B3282758-92DE-45F4-BDC1-EDBAF4F11F73}"/>
                    </a:ext>
                  </a:extLst>
                </p14:cNvPr>
                <p14:cNvContentPartPr/>
                <p14:nvPr/>
              </p14:nvContentPartPr>
              <p14:xfrm>
                <a:off x="6497313" y="572228"/>
                <a:ext cx="415800" cy="155160"/>
              </p14:xfrm>
            </p:contentPart>
          </mc:Choice>
          <mc:Fallback xmlns="">
            <p:pic>
              <p:nvPicPr>
                <p:cNvPr id="123" name="Ink 122">
                  <a:extLst>
                    <a:ext uri="{FF2B5EF4-FFF2-40B4-BE49-F238E27FC236}">
                      <a16:creationId xmlns:a16="http://schemas.microsoft.com/office/drawing/2014/main" id="{B3282758-92DE-45F4-BDC1-EDBAF4F11F73}"/>
                    </a:ext>
                  </a:extLst>
                </p:cNvPr>
                <p:cNvPicPr/>
                <p:nvPr/>
              </p:nvPicPr>
              <p:blipFill>
                <a:blip r:embed="rId164"/>
                <a:stretch>
                  <a:fillRect/>
                </a:stretch>
              </p:blipFill>
              <p:spPr>
                <a:xfrm>
                  <a:off x="6479313" y="554228"/>
                  <a:ext cx="451440" cy="190800"/>
                </a:xfrm>
                <a:prstGeom prst="rect">
                  <a:avLst/>
                </a:prstGeom>
              </p:spPr>
            </p:pic>
          </mc:Fallback>
        </mc:AlternateContent>
        <mc:AlternateContent xmlns:mc="http://schemas.openxmlformats.org/markup-compatibility/2006" xmlns:p14="http://schemas.microsoft.com/office/powerpoint/2010/main">
          <mc:Choice Requires="p14">
            <p:contentPart p14:bwMode="auto" r:id="rId165">
              <p14:nvContentPartPr>
                <p14:cNvPr id="124" name="Ink 123">
                  <a:extLst>
                    <a:ext uri="{FF2B5EF4-FFF2-40B4-BE49-F238E27FC236}">
                      <a16:creationId xmlns:a16="http://schemas.microsoft.com/office/drawing/2014/main" id="{1B60C70F-793D-4D75-8296-689FCBD307D2}"/>
                    </a:ext>
                  </a:extLst>
                </p14:cNvPr>
                <p14:cNvContentPartPr/>
                <p14:nvPr/>
              </p14:nvContentPartPr>
              <p14:xfrm>
                <a:off x="6896553" y="561068"/>
                <a:ext cx="124560" cy="107640"/>
              </p14:xfrm>
            </p:contentPart>
          </mc:Choice>
          <mc:Fallback xmlns="">
            <p:pic>
              <p:nvPicPr>
                <p:cNvPr id="124" name="Ink 123">
                  <a:extLst>
                    <a:ext uri="{FF2B5EF4-FFF2-40B4-BE49-F238E27FC236}">
                      <a16:creationId xmlns:a16="http://schemas.microsoft.com/office/drawing/2014/main" id="{1B60C70F-793D-4D75-8296-689FCBD307D2}"/>
                    </a:ext>
                  </a:extLst>
                </p:cNvPr>
                <p:cNvPicPr/>
                <p:nvPr/>
              </p:nvPicPr>
              <p:blipFill>
                <a:blip r:embed="rId166"/>
                <a:stretch>
                  <a:fillRect/>
                </a:stretch>
              </p:blipFill>
              <p:spPr>
                <a:xfrm>
                  <a:off x="6878553" y="543428"/>
                  <a:ext cx="160200" cy="143280"/>
                </a:xfrm>
                <a:prstGeom prst="rect">
                  <a:avLst/>
                </a:prstGeom>
              </p:spPr>
            </p:pic>
          </mc:Fallback>
        </mc:AlternateContent>
        <mc:AlternateContent xmlns:mc="http://schemas.openxmlformats.org/markup-compatibility/2006" xmlns:p14="http://schemas.microsoft.com/office/powerpoint/2010/main">
          <mc:Choice Requires="p14">
            <p:contentPart p14:bwMode="auto" r:id="rId167">
              <p14:nvContentPartPr>
                <p14:cNvPr id="125" name="Ink 124">
                  <a:extLst>
                    <a:ext uri="{FF2B5EF4-FFF2-40B4-BE49-F238E27FC236}">
                      <a16:creationId xmlns:a16="http://schemas.microsoft.com/office/drawing/2014/main" id="{ACB1DB4B-4B3E-41F2-98BA-16418BF249F5}"/>
                    </a:ext>
                  </a:extLst>
                </p14:cNvPr>
                <p14:cNvContentPartPr/>
                <p14:nvPr/>
              </p14:nvContentPartPr>
              <p14:xfrm>
                <a:off x="6991593" y="573308"/>
                <a:ext cx="141840" cy="96120"/>
              </p14:xfrm>
            </p:contentPart>
          </mc:Choice>
          <mc:Fallback xmlns="">
            <p:pic>
              <p:nvPicPr>
                <p:cNvPr id="125" name="Ink 124">
                  <a:extLst>
                    <a:ext uri="{FF2B5EF4-FFF2-40B4-BE49-F238E27FC236}">
                      <a16:creationId xmlns:a16="http://schemas.microsoft.com/office/drawing/2014/main" id="{ACB1DB4B-4B3E-41F2-98BA-16418BF249F5}"/>
                    </a:ext>
                  </a:extLst>
                </p:cNvPr>
                <p:cNvPicPr/>
                <p:nvPr/>
              </p:nvPicPr>
              <p:blipFill>
                <a:blip r:embed="rId168"/>
                <a:stretch>
                  <a:fillRect/>
                </a:stretch>
              </p:blipFill>
              <p:spPr>
                <a:xfrm>
                  <a:off x="6973953" y="555308"/>
                  <a:ext cx="177480" cy="131760"/>
                </a:xfrm>
                <a:prstGeom prst="rect">
                  <a:avLst/>
                </a:prstGeom>
              </p:spPr>
            </p:pic>
          </mc:Fallback>
        </mc:AlternateContent>
        <mc:AlternateContent xmlns:mc="http://schemas.openxmlformats.org/markup-compatibility/2006" xmlns:p14="http://schemas.microsoft.com/office/powerpoint/2010/main">
          <mc:Choice Requires="p14">
            <p:contentPart p14:bwMode="auto" r:id="rId169">
              <p14:nvContentPartPr>
                <p14:cNvPr id="126" name="Ink 125">
                  <a:extLst>
                    <a:ext uri="{FF2B5EF4-FFF2-40B4-BE49-F238E27FC236}">
                      <a16:creationId xmlns:a16="http://schemas.microsoft.com/office/drawing/2014/main" id="{1604FCAE-1AAF-449A-BFA9-E5FBD26C8D46}"/>
                    </a:ext>
                  </a:extLst>
                </p14:cNvPr>
                <p14:cNvContentPartPr/>
                <p14:nvPr/>
              </p14:nvContentPartPr>
              <p14:xfrm>
                <a:off x="7085913" y="514628"/>
                <a:ext cx="217440" cy="163800"/>
              </p14:xfrm>
            </p:contentPart>
          </mc:Choice>
          <mc:Fallback xmlns="">
            <p:pic>
              <p:nvPicPr>
                <p:cNvPr id="126" name="Ink 125">
                  <a:extLst>
                    <a:ext uri="{FF2B5EF4-FFF2-40B4-BE49-F238E27FC236}">
                      <a16:creationId xmlns:a16="http://schemas.microsoft.com/office/drawing/2014/main" id="{1604FCAE-1AAF-449A-BFA9-E5FBD26C8D46}"/>
                    </a:ext>
                  </a:extLst>
                </p:cNvPr>
                <p:cNvPicPr/>
                <p:nvPr/>
              </p:nvPicPr>
              <p:blipFill>
                <a:blip r:embed="rId170"/>
                <a:stretch>
                  <a:fillRect/>
                </a:stretch>
              </p:blipFill>
              <p:spPr>
                <a:xfrm>
                  <a:off x="7067913" y="496988"/>
                  <a:ext cx="253080" cy="199440"/>
                </a:xfrm>
                <a:prstGeom prst="rect">
                  <a:avLst/>
                </a:prstGeom>
              </p:spPr>
            </p:pic>
          </mc:Fallback>
        </mc:AlternateContent>
        <mc:AlternateContent xmlns:mc="http://schemas.openxmlformats.org/markup-compatibility/2006" xmlns:p14="http://schemas.microsoft.com/office/powerpoint/2010/main">
          <mc:Choice Requires="p14">
            <p:contentPart p14:bwMode="auto" r:id="rId171">
              <p14:nvContentPartPr>
                <p14:cNvPr id="127" name="Ink 126">
                  <a:extLst>
                    <a:ext uri="{FF2B5EF4-FFF2-40B4-BE49-F238E27FC236}">
                      <a16:creationId xmlns:a16="http://schemas.microsoft.com/office/drawing/2014/main" id="{2B934596-9A89-403B-B8A4-49B87878297A}"/>
                    </a:ext>
                  </a:extLst>
                </p14:cNvPr>
                <p14:cNvContentPartPr/>
                <p14:nvPr/>
              </p14:nvContentPartPr>
              <p14:xfrm>
                <a:off x="6006273" y="105668"/>
                <a:ext cx="51480" cy="155160"/>
              </p14:xfrm>
            </p:contentPart>
          </mc:Choice>
          <mc:Fallback xmlns="">
            <p:pic>
              <p:nvPicPr>
                <p:cNvPr id="127" name="Ink 126">
                  <a:extLst>
                    <a:ext uri="{FF2B5EF4-FFF2-40B4-BE49-F238E27FC236}">
                      <a16:creationId xmlns:a16="http://schemas.microsoft.com/office/drawing/2014/main" id="{2B934596-9A89-403B-B8A4-49B87878297A}"/>
                    </a:ext>
                  </a:extLst>
                </p:cNvPr>
                <p:cNvPicPr/>
                <p:nvPr/>
              </p:nvPicPr>
              <p:blipFill>
                <a:blip r:embed="rId172"/>
                <a:stretch>
                  <a:fillRect/>
                </a:stretch>
              </p:blipFill>
              <p:spPr>
                <a:xfrm>
                  <a:off x="5988273" y="88028"/>
                  <a:ext cx="87120" cy="190800"/>
                </a:xfrm>
                <a:prstGeom prst="rect">
                  <a:avLst/>
                </a:prstGeom>
              </p:spPr>
            </p:pic>
          </mc:Fallback>
        </mc:AlternateContent>
        <mc:AlternateContent xmlns:mc="http://schemas.openxmlformats.org/markup-compatibility/2006" xmlns:p14="http://schemas.microsoft.com/office/powerpoint/2010/main">
          <mc:Choice Requires="p14">
            <p:contentPart p14:bwMode="auto" r:id="rId173">
              <p14:nvContentPartPr>
                <p14:cNvPr id="128" name="Ink 127">
                  <a:extLst>
                    <a:ext uri="{FF2B5EF4-FFF2-40B4-BE49-F238E27FC236}">
                      <a16:creationId xmlns:a16="http://schemas.microsoft.com/office/drawing/2014/main" id="{A16028C5-E168-42BF-BDC7-319A3ABAE922}"/>
                    </a:ext>
                  </a:extLst>
                </p14:cNvPr>
                <p14:cNvContentPartPr/>
                <p14:nvPr/>
              </p14:nvContentPartPr>
              <p14:xfrm>
                <a:off x="5918793" y="100268"/>
                <a:ext cx="637920" cy="216720"/>
              </p14:xfrm>
            </p:contentPart>
          </mc:Choice>
          <mc:Fallback xmlns="">
            <p:pic>
              <p:nvPicPr>
                <p:cNvPr id="128" name="Ink 127">
                  <a:extLst>
                    <a:ext uri="{FF2B5EF4-FFF2-40B4-BE49-F238E27FC236}">
                      <a16:creationId xmlns:a16="http://schemas.microsoft.com/office/drawing/2014/main" id="{A16028C5-E168-42BF-BDC7-319A3ABAE922}"/>
                    </a:ext>
                  </a:extLst>
                </p:cNvPr>
                <p:cNvPicPr/>
                <p:nvPr/>
              </p:nvPicPr>
              <p:blipFill>
                <a:blip r:embed="rId174"/>
                <a:stretch>
                  <a:fillRect/>
                </a:stretch>
              </p:blipFill>
              <p:spPr>
                <a:xfrm>
                  <a:off x="5900793" y="82628"/>
                  <a:ext cx="673560" cy="252360"/>
                </a:xfrm>
                <a:prstGeom prst="rect">
                  <a:avLst/>
                </a:prstGeom>
              </p:spPr>
            </p:pic>
          </mc:Fallback>
        </mc:AlternateContent>
        <mc:AlternateContent xmlns:mc="http://schemas.openxmlformats.org/markup-compatibility/2006" xmlns:p14="http://schemas.microsoft.com/office/powerpoint/2010/main">
          <mc:Choice Requires="p14">
            <p:contentPart p14:bwMode="auto" r:id="rId175">
              <p14:nvContentPartPr>
                <p14:cNvPr id="130" name="Ink 129">
                  <a:extLst>
                    <a:ext uri="{FF2B5EF4-FFF2-40B4-BE49-F238E27FC236}">
                      <a16:creationId xmlns:a16="http://schemas.microsoft.com/office/drawing/2014/main" id="{69E91FB2-C36F-434D-B55A-CD8661222C4B}"/>
                    </a:ext>
                  </a:extLst>
                </p14:cNvPr>
                <p14:cNvContentPartPr/>
                <p14:nvPr/>
              </p14:nvContentPartPr>
              <p14:xfrm>
                <a:off x="7863513" y="726308"/>
                <a:ext cx="124920" cy="142560"/>
              </p14:xfrm>
            </p:contentPart>
          </mc:Choice>
          <mc:Fallback xmlns="">
            <p:pic>
              <p:nvPicPr>
                <p:cNvPr id="130" name="Ink 129">
                  <a:extLst>
                    <a:ext uri="{FF2B5EF4-FFF2-40B4-BE49-F238E27FC236}">
                      <a16:creationId xmlns:a16="http://schemas.microsoft.com/office/drawing/2014/main" id="{69E91FB2-C36F-434D-B55A-CD8661222C4B}"/>
                    </a:ext>
                  </a:extLst>
                </p:cNvPr>
                <p:cNvPicPr/>
                <p:nvPr/>
              </p:nvPicPr>
              <p:blipFill>
                <a:blip r:embed="rId176"/>
                <a:stretch>
                  <a:fillRect/>
                </a:stretch>
              </p:blipFill>
              <p:spPr>
                <a:xfrm>
                  <a:off x="7845873" y="708668"/>
                  <a:ext cx="160560" cy="178200"/>
                </a:xfrm>
                <a:prstGeom prst="rect">
                  <a:avLst/>
                </a:prstGeom>
              </p:spPr>
            </p:pic>
          </mc:Fallback>
        </mc:AlternateContent>
        <mc:AlternateContent xmlns:mc="http://schemas.openxmlformats.org/markup-compatibility/2006" xmlns:p14="http://schemas.microsoft.com/office/powerpoint/2010/main">
          <mc:Choice Requires="p14">
            <p:contentPart p14:bwMode="auto" r:id="rId177">
              <p14:nvContentPartPr>
                <p14:cNvPr id="131" name="Ink 130">
                  <a:extLst>
                    <a:ext uri="{FF2B5EF4-FFF2-40B4-BE49-F238E27FC236}">
                      <a16:creationId xmlns:a16="http://schemas.microsoft.com/office/drawing/2014/main" id="{FB5B4F21-E3E5-402D-A5B6-7B08E88A45DF}"/>
                    </a:ext>
                  </a:extLst>
                </p14:cNvPr>
                <p14:cNvContentPartPr/>
                <p14:nvPr/>
              </p14:nvContentPartPr>
              <p14:xfrm>
                <a:off x="8049993" y="681308"/>
                <a:ext cx="198360" cy="144360"/>
              </p14:xfrm>
            </p:contentPart>
          </mc:Choice>
          <mc:Fallback xmlns="">
            <p:pic>
              <p:nvPicPr>
                <p:cNvPr id="131" name="Ink 130">
                  <a:extLst>
                    <a:ext uri="{FF2B5EF4-FFF2-40B4-BE49-F238E27FC236}">
                      <a16:creationId xmlns:a16="http://schemas.microsoft.com/office/drawing/2014/main" id="{FB5B4F21-E3E5-402D-A5B6-7B08E88A45DF}"/>
                    </a:ext>
                  </a:extLst>
                </p:cNvPr>
                <p:cNvPicPr/>
                <p:nvPr/>
              </p:nvPicPr>
              <p:blipFill>
                <a:blip r:embed="rId178"/>
                <a:stretch>
                  <a:fillRect/>
                </a:stretch>
              </p:blipFill>
              <p:spPr>
                <a:xfrm>
                  <a:off x="8031993" y="663308"/>
                  <a:ext cx="234000" cy="180000"/>
                </a:xfrm>
                <a:prstGeom prst="rect">
                  <a:avLst/>
                </a:prstGeom>
              </p:spPr>
            </p:pic>
          </mc:Fallback>
        </mc:AlternateContent>
        <mc:AlternateContent xmlns:mc="http://schemas.openxmlformats.org/markup-compatibility/2006" xmlns:p14="http://schemas.microsoft.com/office/powerpoint/2010/main">
          <mc:Choice Requires="p14">
            <p:contentPart p14:bwMode="auto" r:id="rId179">
              <p14:nvContentPartPr>
                <p14:cNvPr id="132" name="Ink 131">
                  <a:extLst>
                    <a:ext uri="{FF2B5EF4-FFF2-40B4-BE49-F238E27FC236}">
                      <a16:creationId xmlns:a16="http://schemas.microsoft.com/office/drawing/2014/main" id="{C0F4A91A-787D-4846-980F-479A219859AA}"/>
                    </a:ext>
                  </a:extLst>
                </p14:cNvPr>
                <p14:cNvContentPartPr/>
                <p14:nvPr/>
              </p14:nvContentPartPr>
              <p14:xfrm>
                <a:off x="8218833" y="693548"/>
                <a:ext cx="187920" cy="177120"/>
              </p14:xfrm>
            </p:contentPart>
          </mc:Choice>
          <mc:Fallback xmlns="">
            <p:pic>
              <p:nvPicPr>
                <p:cNvPr id="132" name="Ink 131">
                  <a:extLst>
                    <a:ext uri="{FF2B5EF4-FFF2-40B4-BE49-F238E27FC236}">
                      <a16:creationId xmlns:a16="http://schemas.microsoft.com/office/drawing/2014/main" id="{C0F4A91A-787D-4846-980F-479A219859AA}"/>
                    </a:ext>
                  </a:extLst>
                </p:cNvPr>
                <p:cNvPicPr/>
                <p:nvPr/>
              </p:nvPicPr>
              <p:blipFill>
                <a:blip r:embed="rId180"/>
                <a:stretch>
                  <a:fillRect/>
                </a:stretch>
              </p:blipFill>
              <p:spPr>
                <a:xfrm>
                  <a:off x="8201193" y="675908"/>
                  <a:ext cx="223560" cy="212760"/>
                </a:xfrm>
                <a:prstGeom prst="rect">
                  <a:avLst/>
                </a:prstGeom>
              </p:spPr>
            </p:pic>
          </mc:Fallback>
        </mc:AlternateContent>
        <mc:AlternateContent xmlns:mc="http://schemas.openxmlformats.org/markup-compatibility/2006" xmlns:p14="http://schemas.microsoft.com/office/powerpoint/2010/main">
          <mc:Choice Requires="p14">
            <p:contentPart p14:bwMode="auto" r:id="rId181">
              <p14:nvContentPartPr>
                <p14:cNvPr id="133" name="Ink 132">
                  <a:extLst>
                    <a:ext uri="{FF2B5EF4-FFF2-40B4-BE49-F238E27FC236}">
                      <a16:creationId xmlns:a16="http://schemas.microsoft.com/office/drawing/2014/main" id="{3CC52470-18E8-43FC-B38B-C57279B43B3A}"/>
                    </a:ext>
                  </a:extLst>
                </p14:cNvPr>
                <p14:cNvContentPartPr/>
                <p14:nvPr/>
              </p14:nvContentPartPr>
              <p14:xfrm>
                <a:off x="8468673" y="689228"/>
                <a:ext cx="145080" cy="172440"/>
              </p14:xfrm>
            </p:contentPart>
          </mc:Choice>
          <mc:Fallback xmlns="">
            <p:pic>
              <p:nvPicPr>
                <p:cNvPr id="133" name="Ink 132">
                  <a:extLst>
                    <a:ext uri="{FF2B5EF4-FFF2-40B4-BE49-F238E27FC236}">
                      <a16:creationId xmlns:a16="http://schemas.microsoft.com/office/drawing/2014/main" id="{3CC52470-18E8-43FC-B38B-C57279B43B3A}"/>
                    </a:ext>
                  </a:extLst>
                </p:cNvPr>
                <p:cNvPicPr/>
                <p:nvPr/>
              </p:nvPicPr>
              <p:blipFill>
                <a:blip r:embed="rId182"/>
                <a:stretch>
                  <a:fillRect/>
                </a:stretch>
              </p:blipFill>
              <p:spPr>
                <a:xfrm>
                  <a:off x="8451033" y="671228"/>
                  <a:ext cx="180720" cy="208080"/>
                </a:xfrm>
                <a:prstGeom prst="rect">
                  <a:avLst/>
                </a:prstGeom>
              </p:spPr>
            </p:pic>
          </mc:Fallback>
        </mc:AlternateContent>
        <mc:AlternateContent xmlns:mc="http://schemas.openxmlformats.org/markup-compatibility/2006" xmlns:p14="http://schemas.microsoft.com/office/powerpoint/2010/main">
          <mc:Choice Requires="p14">
            <p:contentPart p14:bwMode="auto" r:id="rId183">
              <p14:nvContentPartPr>
                <p14:cNvPr id="134" name="Ink 133">
                  <a:extLst>
                    <a:ext uri="{FF2B5EF4-FFF2-40B4-BE49-F238E27FC236}">
                      <a16:creationId xmlns:a16="http://schemas.microsoft.com/office/drawing/2014/main" id="{FFFF423F-BB87-4EA0-863C-E3DB5CE9A2AB}"/>
                    </a:ext>
                  </a:extLst>
                </p14:cNvPr>
                <p14:cNvContentPartPr/>
                <p14:nvPr/>
              </p14:nvContentPartPr>
              <p14:xfrm>
                <a:off x="8606913" y="754028"/>
                <a:ext cx="96840" cy="37080"/>
              </p14:xfrm>
            </p:contentPart>
          </mc:Choice>
          <mc:Fallback xmlns="">
            <p:pic>
              <p:nvPicPr>
                <p:cNvPr id="134" name="Ink 133">
                  <a:extLst>
                    <a:ext uri="{FF2B5EF4-FFF2-40B4-BE49-F238E27FC236}">
                      <a16:creationId xmlns:a16="http://schemas.microsoft.com/office/drawing/2014/main" id="{FFFF423F-BB87-4EA0-863C-E3DB5CE9A2AB}"/>
                    </a:ext>
                  </a:extLst>
                </p:cNvPr>
                <p:cNvPicPr/>
                <p:nvPr/>
              </p:nvPicPr>
              <p:blipFill>
                <a:blip r:embed="rId184"/>
                <a:stretch>
                  <a:fillRect/>
                </a:stretch>
              </p:blipFill>
              <p:spPr>
                <a:xfrm>
                  <a:off x="8589273" y="736388"/>
                  <a:ext cx="132480" cy="72720"/>
                </a:xfrm>
                <a:prstGeom prst="rect">
                  <a:avLst/>
                </a:prstGeom>
              </p:spPr>
            </p:pic>
          </mc:Fallback>
        </mc:AlternateContent>
        <mc:AlternateContent xmlns:mc="http://schemas.openxmlformats.org/markup-compatibility/2006" xmlns:p14="http://schemas.microsoft.com/office/powerpoint/2010/main">
          <mc:Choice Requires="p14">
            <p:contentPart p14:bwMode="auto" r:id="rId185">
              <p14:nvContentPartPr>
                <p14:cNvPr id="162" name="Ink 161">
                  <a:extLst>
                    <a:ext uri="{FF2B5EF4-FFF2-40B4-BE49-F238E27FC236}">
                      <a16:creationId xmlns:a16="http://schemas.microsoft.com/office/drawing/2014/main" id="{8EE61CE6-D070-473A-83D1-C0D701708380}"/>
                    </a:ext>
                  </a:extLst>
                </p14:cNvPr>
                <p14:cNvContentPartPr/>
                <p14:nvPr/>
              </p14:nvContentPartPr>
              <p14:xfrm>
                <a:off x="4878753" y="726308"/>
                <a:ext cx="29160" cy="198360"/>
              </p14:xfrm>
            </p:contentPart>
          </mc:Choice>
          <mc:Fallback xmlns="">
            <p:pic>
              <p:nvPicPr>
                <p:cNvPr id="162" name="Ink 161">
                  <a:extLst>
                    <a:ext uri="{FF2B5EF4-FFF2-40B4-BE49-F238E27FC236}">
                      <a16:creationId xmlns:a16="http://schemas.microsoft.com/office/drawing/2014/main" id="{8EE61CE6-D070-473A-83D1-C0D701708380}"/>
                    </a:ext>
                  </a:extLst>
                </p:cNvPr>
                <p:cNvPicPr/>
                <p:nvPr/>
              </p:nvPicPr>
              <p:blipFill>
                <a:blip r:embed="rId186"/>
                <a:stretch>
                  <a:fillRect/>
                </a:stretch>
              </p:blipFill>
              <p:spPr>
                <a:xfrm>
                  <a:off x="4861113" y="708668"/>
                  <a:ext cx="64800" cy="234000"/>
                </a:xfrm>
                <a:prstGeom prst="rect">
                  <a:avLst/>
                </a:prstGeom>
              </p:spPr>
            </p:pic>
          </mc:Fallback>
        </mc:AlternateContent>
        <mc:AlternateContent xmlns:mc="http://schemas.openxmlformats.org/markup-compatibility/2006" xmlns:p14="http://schemas.microsoft.com/office/powerpoint/2010/main">
          <mc:Choice Requires="p14">
            <p:contentPart p14:bwMode="auto" r:id="rId187">
              <p14:nvContentPartPr>
                <p14:cNvPr id="163" name="Ink 162">
                  <a:extLst>
                    <a:ext uri="{FF2B5EF4-FFF2-40B4-BE49-F238E27FC236}">
                      <a16:creationId xmlns:a16="http://schemas.microsoft.com/office/drawing/2014/main" id="{19CF967C-63D1-45C1-AB65-4E99CDE9112B}"/>
                    </a:ext>
                  </a:extLst>
                </p14:cNvPr>
                <p14:cNvContentPartPr/>
                <p14:nvPr/>
              </p14:nvContentPartPr>
              <p14:xfrm>
                <a:off x="4832673" y="882188"/>
                <a:ext cx="131040" cy="78480"/>
              </p14:xfrm>
            </p:contentPart>
          </mc:Choice>
          <mc:Fallback xmlns="">
            <p:pic>
              <p:nvPicPr>
                <p:cNvPr id="163" name="Ink 162">
                  <a:extLst>
                    <a:ext uri="{FF2B5EF4-FFF2-40B4-BE49-F238E27FC236}">
                      <a16:creationId xmlns:a16="http://schemas.microsoft.com/office/drawing/2014/main" id="{19CF967C-63D1-45C1-AB65-4E99CDE9112B}"/>
                    </a:ext>
                  </a:extLst>
                </p:cNvPr>
                <p:cNvPicPr/>
                <p:nvPr/>
              </p:nvPicPr>
              <p:blipFill>
                <a:blip r:embed="rId188"/>
                <a:stretch>
                  <a:fillRect/>
                </a:stretch>
              </p:blipFill>
              <p:spPr>
                <a:xfrm>
                  <a:off x="4815033" y="864188"/>
                  <a:ext cx="166680" cy="114120"/>
                </a:xfrm>
                <a:prstGeom prst="rect">
                  <a:avLst/>
                </a:prstGeom>
              </p:spPr>
            </p:pic>
          </mc:Fallback>
        </mc:AlternateContent>
        <mc:AlternateContent xmlns:mc="http://schemas.openxmlformats.org/markup-compatibility/2006" xmlns:p14="http://schemas.microsoft.com/office/powerpoint/2010/main">
          <mc:Choice Requires="p14">
            <p:contentPart p14:bwMode="auto" r:id="rId189">
              <p14:nvContentPartPr>
                <p14:cNvPr id="164" name="Ink 163">
                  <a:extLst>
                    <a:ext uri="{FF2B5EF4-FFF2-40B4-BE49-F238E27FC236}">
                      <a16:creationId xmlns:a16="http://schemas.microsoft.com/office/drawing/2014/main" id="{62C3EE2C-DBF0-444B-8C01-C825FCBD5C59}"/>
                    </a:ext>
                  </a:extLst>
                </p14:cNvPr>
                <p14:cNvContentPartPr/>
                <p14:nvPr/>
              </p14:nvContentPartPr>
              <p14:xfrm>
                <a:off x="4348473" y="519308"/>
                <a:ext cx="193320" cy="179640"/>
              </p14:xfrm>
            </p:contentPart>
          </mc:Choice>
          <mc:Fallback xmlns="">
            <p:pic>
              <p:nvPicPr>
                <p:cNvPr id="164" name="Ink 163">
                  <a:extLst>
                    <a:ext uri="{FF2B5EF4-FFF2-40B4-BE49-F238E27FC236}">
                      <a16:creationId xmlns:a16="http://schemas.microsoft.com/office/drawing/2014/main" id="{62C3EE2C-DBF0-444B-8C01-C825FCBD5C59}"/>
                    </a:ext>
                  </a:extLst>
                </p:cNvPr>
                <p:cNvPicPr/>
                <p:nvPr/>
              </p:nvPicPr>
              <p:blipFill>
                <a:blip r:embed="rId190"/>
                <a:stretch>
                  <a:fillRect/>
                </a:stretch>
              </p:blipFill>
              <p:spPr>
                <a:xfrm>
                  <a:off x="4330473" y="501668"/>
                  <a:ext cx="228960" cy="215280"/>
                </a:xfrm>
                <a:prstGeom prst="rect">
                  <a:avLst/>
                </a:prstGeom>
              </p:spPr>
            </p:pic>
          </mc:Fallback>
        </mc:AlternateContent>
        <mc:AlternateContent xmlns:mc="http://schemas.openxmlformats.org/markup-compatibility/2006" xmlns:p14="http://schemas.microsoft.com/office/powerpoint/2010/main">
          <mc:Choice Requires="p14">
            <p:contentPart p14:bwMode="auto" r:id="rId191">
              <p14:nvContentPartPr>
                <p14:cNvPr id="165" name="Ink 164">
                  <a:extLst>
                    <a:ext uri="{FF2B5EF4-FFF2-40B4-BE49-F238E27FC236}">
                      <a16:creationId xmlns:a16="http://schemas.microsoft.com/office/drawing/2014/main" id="{941B49D1-3B31-484C-BDFF-13303DD82E65}"/>
                    </a:ext>
                  </a:extLst>
                </p14:cNvPr>
                <p14:cNvContentPartPr/>
                <p14:nvPr/>
              </p14:nvContentPartPr>
              <p14:xfrm>
                <a:off x="4576713" y="576908"/>
                <a:ext cx="142920" cy="102600"/>
              </p14:xfrm>
            </p:contentPart>
          </mc:Choice>
          <mc:Fallback xmlns="">
            <p:pic>
              <p:nvPicPr>
                <p:cNvPr id="165" name="Ink 164">
                  <a:extLst>
                    <a:ext uri="{FF2B5EF4-FFF2-40B4-BE49-F238E27FC236}">
                      <a16:creationId xmlns:a16="http://schemas.microsoft.com/office/drawing/2014/main" id="{941B49D1-3B31-484C-BDFF-13303DD82E65}"/>
                    </a:ext>
                  </a:extLst>
                </p:cNvPr>
                <p:cNvPicPr/>
                <p:nvPr/>
              </p:nvPicPr>
              <p:blipFill>
                <a:blip r:embed="rId192"/>
                <a:stretch>
                  <a:fillRect/>
                </a:stretch>
              </p:blipFill>
              <p:spPr>
                <a:xfrm>
                  <a:off x="4558713" y="558908"/>
                  <a:ext cx="178560" cy="138240"/>
                </a:xfrm>
                <a:prstGeom prst="rect">
                  <a:avLst/>
                </a:prstGeom>
              </p:spPr>
            </p:pic>
          </mc:Fallback>
        </mc:AlternateContent>
        <mc:AlternateContent xmlns:mc="http://schemas.openxmlformats.org/markup-compatibility/2006" xmlns:p14="http://schemas.microsoft.com/office/powerpoint/2010/main">
          <mc:Choice Requires="p14">
            <p:contentPart p14:bwMode="auto" r:id="rId193">
              <p14:nvContentPartPr>
                <p14:cNvPr id="166" name="Ink 165">
                  <a:extLst>
                    <a:ext uri="{FF2B5EF4-FFF2-40B4-BE49-F238E27FC236}">
                      <a16:creationId xmlns:a16="http://schemas.microsoft.com/office/drawing/2014/main" id="{754A1B81-F84E-4942-A0E7-CF7B2C52A2A1}"/>
                    </a:ext>
                  </a:extLst>
                </p14:cNvPr>
                <p14:cNvContentPartPr/>
                <p14:nvPr/>
              </p14:nvContentPartPr>
              <p14:xfrm>
                <a:off x="4783353" y="539828"/>
                <a:ext cx="106560" cy="103320"/>
              </p14:xfrm>
            </p:contentPart>
          </mc:Choice>
          <mc:Fallback xmlns="">
            <p:pic>
              <p:nvPicPr>
                <p:cNvPr id="166" name="Ink 165">
                  <a:extLst>
                    <a:ext uri="{FF2B5EF4-FFF2-40B4-BE49-F238E27FC236}">
                      <a16:creationId xmlns:a16="http://schemas.microsoft.com/office/drawing/2014/main" id="{754A1B81-F84E-4942-A0E7-CF7B2C52A2A1}"/>
                    </a:ext>
                  </a:extLst>
                </p:cNvPr>
                <p:cNvPicPr/>
                <p:nvPr/>
              </p:nvPicPr>
              <p:blipFill>
                <a:blip r:embed="rId194"/>
                <a:stretch>
                  <a:fillRect/>
                </a:stretch>
              </p:blipFill>
              <p:spPr>
                <a:xfrm>
                  <a:off x="4765713" y="521828"/>
                  <a:ext cx="142200" cy="138960"/>
                </a:xfrm>
                <a:prstGeom prst="rect">
                  <a:avLst/>
                </a:prstGeom>
              </p:spPr>
            </p:pic>
          </mc:Fallback>
        </mc:AlternateContent>
        <mc:AlternateContent xmlns:mc="http://schemas.openxmlformats.org/markup-compatibility/2006" xmlns:p14="http://schemas.microsoft.com/office/powerpoint/2010/main">
          <mc:Choice Requires="p14">
            <p:contentPart p14:bwMode="auto" r:id="rId195">
              <p14:nvContentPartPr>
                <p14:cNvPr id="167" name="Ink 166">
                  <a:extLst>
                    <a:ext uri="{FF2B5EF4-FFF2-40B4-BE49-F238E27FC236}">
                      <a16:creationId xmlns:a16="http://schemas.microsoft.com/office/drawing/2014/main" id="{62B81DEB-8ADD-40AE-9BE3-C4FCFF052464}"/>
                    </a:ext>
                  </a:extLst>
                </p14:cNvPr>
                <p14:cNvContentPartPr/>
                <p14:nvPr/>
              </p14:nvContentPartPr>
              <p14:xfrm>
                <a:off x="4940313" y="505268"/>
                <a:ext cx="58680" cy="98280"/>
              </p14:xfrm>
            </p:contentPart>
          </mc:Choice>
          <mc:Fallback xmlns="">
            <p:pic>
              <p:nvPicPr>
                <p:cNvPr id="167" name="Ink 166">
                  <a:extLst>
                    <a:ext uri="{FF2B5EF4-FFF2-40B4-BE49-F238E27FC236}">
                      <a16:creationId xmlns:a16="http://schemas.microsoft.com/office/drawing/2014/main" id="{62B81DEB-8ADD-40AE-9BE3-C4FCFF052464}"/>
                    </a:ext>
                  </a:extLst>
                </p:cNvPr>
                <p:cNvPicPr/>
                <p:nvPr/>
              </p:nvPicPr>
              <p:blipFill>
                <a:blip r:embed="rId196"/>
                <a:stretch>
                  <a:fillRect/>
                </a:stretch>
              </p:blipFill>
              <p:spPr>
                <a:xfrm>
                  <a:off x="4922313" y="487268"/>
                  <a:ext cx="94320" cy="133920"/>
                </a:xfrm>
                <a:prstGeom prst="rect">
                  <a:avLst/>
                </a:prstGeom>
              </p:spPr>
            </p:pic>
          </mc:Fallback>
        </mc:AlternateContent>
        <mc:AlternateContent xmlns:mc="http://schemas.openxmlformats.org/markup-compatibility/2006" xmlns:p14="http://schemas.microsoft.com/office/powerpoint/2010/main">
          <mc:Choice Requires="p14">
            <p:contentPart p14:bwMode="auto" r:id="rId197">
              <p14:nvContentPartPr>
                <p14:cNvPr id="168" name="Ink 167">
                  <a:extLst>
                    <a:ext uri="{FF2B5EF4-FFF2-40B4-BE49-F238E27FC236}">
                      <a16:creationId xmlns:a16="http://schemas.microsoft.com/office/drawing/2014/main" id="{628024AE-3104-40B3-BD42-85974FAAFEAB}"/>
                    </a:ext>
                  </a:extLst>
                </p14:cNvPr>
                <p14:cNvContentPartPr/>
                <p14:nvPr/>
              </p14:nvContentPartPr>
              <p14:xfrm>
                <a:off x="5076033" y="415988"/>
                <a:ext cx="16560" cy="228960"/>
              </p14:xfrm>
            </p:contentPart>
          </mc:Choice>
          <mc:Fallback xmlns="">
            <p:pic>
              <p:nvPicPr>
                <p:cNvPr id="168" name="Ink 167">
                  <a:extLst>
                    <a:ext uri="{FF2B5EF4-FFF2-40B4-BE49-F238E27FC236}">
                      <a16:creationId xmlns:a16="http://schemas.microsoft.com/office/drawing/2014/main" id="{628024AE-3104-40B3-BD42-85974FAAFEAB}"/>
                    </a:ext>
                  </a:extLst>
                </p:cNvPr>
                <p:cNvPicPr/>
                <p:nvPr/>
              </p:nvPicPr>
              <p:blipFill>
                <a:blip r:embed="rId198"/>
                <a:stretch>
                  <a:fillRect/>
                </a:stretch>
              </p:blipFill>
              <p:spPr>
                <a:xfrm>
                  <a:off x="5058393" y="397988"/>
                  <a:ext cx="52200" cy="264600"/>
                </a:xfrm>
                <a:prstGeom prst="rect">
                  <a:avLst/>
                </a:prstGeom>
              </p:spPr>
            </p:pic>
          </mc:Fallback>
        </mc:AlternateContent>
        <mc:AlternateContent xmlns:mc="http://schemas.openxmlformats.org/markup-compatibility/2006" xmlns:p14="http://schemas.microsoft.com/office/powerpoint/2010/main">
          <mc:Choice Requires="p14">
            <p:contentPart p14:bwMode="auto" r:id="rId199">
              <p14:nvContentPartPr>
                <p14:cNvPr id="169" name="Ink 168">
                  <a:extLst>
                    <a:ext uri="{FF2B5EF4-FFF2-40B4-BE49-F238E27FC236}">
                      <a16:creationId xmlns:a16="http://schemas.microsoft.com/office/drawing/2014/main" id="{2035C45A-2623-4BB2-A8AE-7C19081CAFAA}"/>
                    </a:ext>
                  </a:extLst>
                </p14:cNvPr>
                <p14:cNvContentPartPr/>
                <p14:nvPr/>
              </p14:nvContentPartPr>
              <p14:xfrm>
                <a:off x="5172153" y="505628"/>
                <a:ext cx="232200" cy="140400"/>
              </p14:xfrm>
            </p:contentPart>
          </mc:Choice>
          <mc:Fallback xmlns="">
            <p:pic>
              <p:nvPicPr>
                <p:cNvPr id="169" name="Ink 168">
                  <a:extLst>
                    <a:ext uri="{FF2B5EF4-FFF2-40B4-BE49-F238E27FC236}">
                      <a16:creationId xmlns:a16="http://schemas.microsoft.com/office/drawing/2014/main" id="{2035C45A-2623-4BB2-A8AE-7C19081CAFAA}"/>
                    </a:ext>
                  </a:extLst>
                </p:cNvPr>
                <p:cNvPicPr/>
                <p:nvPr/>
              </p:nvPicPr>
              <p:blipFill>
                <a:blip r:embed="rId200"/>
                <a:stretch>
                  <a:fillRect/>
                </a:stretch>
              </p:blipFill>
              <p:spPr>
                <a:xfrm>
                  <a:off x="5154513" y="487988"/>
                  <a:ext cx="267840" cy="176040"/>
                </a:xfrm>
                <a:prstGeom prst="rect">
                  <a:avLst/>
                </a:prstGeom>
              </p:spPr>
            </p:pic>
          </mc:Fallback>
        </mc:AlternateContent>
        <mc:AlternateContent xmlns:mc="http://schemas.openxmlformats.org/markup-compatibility/2006" xmlns:p14="http://schemas.microsoft.com/office/powerpoint/2010/main">
          <mc:Choice Requires="p14">
            <p:contentPart p14:bwMode="auto" r:id="rId201">
              <p14:nvContentPartPr>
                <p14:cNvPr id="170" name="Ink 169">
                  <a:extLst>
                    <a:ext uri="{FF2B5EF4-FFF2-40B4-BE49-F238E27FC236}">
                      <a16:creationId xmlns:a16="http://schemas.microsoft.com/office/drawing/2014/main" id="{811F9C47-393E-46C8-96B5-88D16D442B49}"/>
                    </a:ext>
                  </a:extLst>
                </p14:cNvPr>
                <p14:cNvContentPartPr/>
                <p14:nvPr/>
              </p14:nvContentPartPr>
              <p14:xfrm>
                <a:off x="5405073" y="451988"/>
                <a:ext cx="15840" cy="50040"/>
              </p14:xfrm>
            </p:contentPart>
          </mc:Choice>
          <mc:Fallback xmlns="">
            <p:pic>
              <p:nvPicPr>
                <p:cNvPr id="170" name="Ink 169">
                  <a:extLst>
                    <a:ext uri="{FF2B5EF4-FFF2-40B4-BE49-F238E27FC236}">
                      <a16:creationId xmlns:a16="http://schemas.microsoft.com/office/drawing/2014/main" id="{811F9C47-393E-46C8-96B5-88D16D442B49}"/>
                    </a:ext>
                  </a:extLst>
                </p:cNvPr>
                <p:cNvPicPr/>
                <p:nvPr/>
              </p:nvPicPr>
              <p:blipFill>
                <a:blip r:embed="rId202"/>
                <a:stretch>
                  <a:fillRect/>
                </a:stretch>
              </p:blipFill>
              <p:spPr>
                <a:xfrm>
                  <a:off x="5387433" y="433988"/>
                  <a:ext cx="51480" cy="85680"/>
                </a:xfrm>
                <a:prstGeom prst="rect">
                  <a:avLst/>
                </a:prstGeom>
              </p:spPr>
            </p:pic>
          </mc:Fallback>
        </mc:AlternateContent>
        <mc:AlternateContent xmlns:mc="http://schemas.openxmlformats.org/markup-compatibility/2006" xmlns:p14="http://schemas.microsoft.com/office/powerpoint/2010/main">
          <mc:Choice Requires="p14">
            <p:contentPart p14:bwMode="auto" r:id="rId203">
              <p14:nvContentPartPr>
                <p14:cNvPr id="171" name="Ink 170">
                  <a:extLst>
                    <a:ext uri="{FF2B5EF4-FFF2-40B4-BE49-F238E27FC236}">
                      <a16:creationId xmlns:a16="http://schemas.microsoft.com/office/drawing/2014/main" id="{5003C8C0-E2BE-4854-A61A-B02CB97ADBC9}"/>
                    </a:ext>
                  </a:extLst>
                </p14:cNvPr>
                <p14:cNvContentPartPr/>
                <p14:nvPr/>
              </p14:nvContentPartPr>
              <p14:xfrm>
                <a:off x="5446833" y="466028"/>
                <a:ext cx="178920" cy="115560"/>
              </p14:xfrm>
            </p:contentPart>
          </mc:Choice>
          <mc:Fallback xmlns="">
            <p:pic>
              <p:nvPicPr>
                <p:cNvPr id="171" name="Ink 170">
                  <a:extLst>
                    <a:ext uri="{FF2B5EF4-FFF2-40B4-BE49-F238E27FC236}">
                      <a16:creationId xmlns:a16="http://schemas.microsoft.com/office/drawing/2014/main" id="{5003C8C0-E2BE-4854-A61A-B02CB97ADBC9}"/>
                    </a:ext>
                  </a:extLst>
                </p:cNvPr>
                <p:cNvPicPr/>
                <p:nvPr/>
              </p:nvPicPr>
              <p:blipFill>
                <a:blip r:embed="rId204"/>
                <a:stretch>
                  <a:fillRect/>
                </a:stretch>
              </p:blipFill>
              <p:spPr>
                <a:xfrm>
                  <a:off x="5428833" y="448388"/>
                  <a:ext cx="214560" cy="151200"/>
                </a:xfrm>
                <a:prstGeom prst="rect">
                  <a:avLst/>
                </a:prstGeom>
              </p:spPr>
            </p:pic>
          </mc:Fallback>
        </mc:AlternateContent>
        <mc:AlternateContent xmlns:mc="http://schemas.openxmlformats.org/markup-compatibility/2006" xmlns:p14="http://schemas.microsoft.com/office/powerpoint/2010/main">
          <mc:Choice Requires="p14">
            <p:contentPart p14:bwMode="auto" r:id="rId205">
              <p14:nvContentPartPr>
                <p14:cNvPr id="172" name="Ink 171">
                  <a:extLst>
                    <a:ext uri="{FF2B5EF4-FFF2-40B4-BE49-F238E27FC236}">
                      <a16:creationId xmlns:a16="http://schemas.microsoft.com/office/drawing/2014/main" id="{60A1A971-9F7B-4C2B-855B-E815E17B34EC}"/>
                    </a:ext>
                  </a:extLst>
                </p14:cNvPr>
                <p14:cNvContentPartPr/>
                <p14:nvPr/>
              </p14:nvContentPartPr>
              <p14:xfrm>
                <a:off x="4071993" y="934748"/>
                <a:ext cx="146880" cy="323280"/>
              </p14:xfrm>
            </p:contentPart>
          </mc:Choice>
          <mc:Fallback xmlns="">
            <p:pic>
              <p:nvPicPr>
                <p:cNvPr id="172" name="Ink 171">
                  <a:extLst>
                    <a:ext uri="{FF2B5EF4-FFF2-40B4-BE49-F238E27FC236}">
                      <a16:creationId xmlns:a16="http://schemas.microsoft.com/office/drawing/2014/main" id="{60A1A971-9F7B-4C2B-855B-E815E17B34EC}"/>
                    </a:ext>
                  </a:extLst>
                </p:cNvPr>
                <p:cNvPicPr/>
                <p:nvPr/>
              </p:nvPicPr>
              <p:blipFill>
                <a:blip r:embed="rId206"/>
                <a:stretch>
                  <a:fillRect/>
                </a:stretch>
              </p:blipFill>
              <p:spPr>
                <a:xfrm>
                  <a:off x="4053993" y="917108"/>
                  <a:ext cx="182520" cy="358920"/>
                </a:xfrm>
                <a:prstGeom prst="rect">
                  <a:avLst/>
                </a:prstGeom>
              </p:spPr>
            </p:pic>
          </mc:Fallback>
        </mc:AlternateContent>
        <mc:AlternateContent xmlns:mc="http://schemas.openxmlformats.org/markup-compatibility/2006" xmlns:p14="http://schemas.microsoft.com/office/powerpoint/2010/main">
          <mc:Choice Requires="p14">
            <p:contentPart p14:bwMode="auto" r:id="rId207">
              <p14:nvContentPartPr>
                <p14:cNvPr id="173" name="Ink 172">
                  <a:extLst>
                    <a:ext uri="{FF2B5EF4-FFF2-40B4-BE49-F238E27FC236}">
                      <a16:creationId xmlns:a16="http://schemas.microsoft.com/office/drawing/2014/main" id="{66B89CF5-0B33-4CD2-956D-A27D3534218E}"/>
                    </a:ext>
                  </a:extLst>
                </p14:cNvPr>
                <p14:cNvContentPartPr/>
                <p14:nvPr/>
              </p14:nvContentPartPr>
              <p14:xfrm>
                <a:off x="4005753" y="1101788"/>
                <a:ext cx="174240" cy="185400"/>
              </p14:xfrm>
            </p:contentPart>
          </mc:Choice>
          <mc:Fallback xmlns="">
            <p:pic>
              <p:nvPicPr>
                <p:cNvPr id="173" name="Ink 172">
                  <a:extLst>
                    <a:ext uri="{FF2B5EF4-FFF2-40B4-BE49-F238E27FC236}">
                      <a16:creationId xmlns:a16="http://schemas.microsoft.com/office/drawing/2014/main" id="{66B89CF5-0B33-4CD2-956D-A27D3534218E}"/>
                    </a:ext>
                  </a:extLst>
                </p:cNvPr>
                <p:cNvPicPr/>
                <p:nvPr/>
              </p:nvPicPr>
              <p:blipFill>
                <a:blip r:embed="rId208"/>
                <a:stretch>
                  <a:fillRect/>
                </a:stretch>
              </p:blipFill>
              <p:spPr>
                <a:xfrm>
                  <a:off x="3988113" y="1083788"/>
                  <a:ext cx="209880" cy="221040"/>
                </a:xfrm>
                <a:prstGeom prst="rect">
                  <a:avLst/>
                </a:prstGeom>
              </p:spPr>
            </p:pic>
          </mc:Fallback>
        </mc:AlternateContent>
      </p:grpSp>
      <p:grpSp>
        <p:nvGrpSpPr>
          <p:cNvPr id="183" name="Group 182">
            <a:extLst>
              <a:ext uri="{FF2B5EF4-FFF2-40B4-BE49-F238E27FC236}">
                <a16:creationId xmlns:a16="http://schemas.microsoft.com/office/drawing/2014/main" id="{5191A609-1CFA-49B8-86EA-CE9E1DAFF176}"/>
              </a:ext>
            </a:extLst>
          </p:cNvPr>
          <p:cNvGrpSpPr/>
          <p:nvPr/>
        </p:nvGrpSpPr>
        <p:grpSpPr>
          <a:xfrm>
            <a:off x="3415353" y="1507868"/>
            <a:ext cx="1938240" cy="1504800"/>
            <a:chOff x="3415353" y="1507868"/>
            <a:chExt cx="1938240" cy="1504800"/>
          </a:xfrm>
        </p:grpSpPr>
        <mc:AlternateContent xmlns:mc="http://schemas.openxmlformats.org/markup-compatibility/2006" xmlns:p14="http://schemas.microsoft.com/office/powerpoint/2010/main">
          <mc:Choice Requires="p14">
            <p:contentPart p14:bwMode="auto" r:id="rId209">
              <p14:nvContentPartPr>
                <p14:cNvPr id="107" name="Ink 106">
                  <a:extLst>
                    <a:ext uri="{FF2B5EF4-FFF2-40B4-BE49-F238E27FC236}">
                      <a16:creationId xmlns:a16="http://schemas.microsoft.com/office/drawing/2014/main" id="{9A99D725-8165-4683-855B-D70435184579}"/>
                    </a:ext>
                  </a:extLst>
                </p14:cNvPr>
                <p14:cNvContentPartPr/>
                <p14:nvPr/>
              </p14:nvContentPartPr>
              <p14:xfrm>
                <a:off x="4091073" y="2819348"/>
                <a:ext cx="11880" cy="193320"/>
              </p14:xfrm>
            </p:contentPart>
          </mc:Choice>
          <mc:Fallback xmlns="">
            <p:pic>
              <p:nvPicPr>
                <p:cNvPr id="107" name="Ink 106">
                  <a:extLst>
                    <a:ext uri="{FF2B5EF4-FFF2-40B4-BE49-F238E27FC236}">
                      <a16:creationId xmlns:a16="http://schemas.microsoft.com/office/drawing/2014/main" id="{9A99D725-8165-4683-855B-D70435184579}"/>
                    </a:ext>
                  </a:extLst>
                </p:cNvPr>
                <p:cNvPicPr/>
                <p:nvPr/>
              </p:nvPicPr>
              <p:blipFill>
                <a:blip r:embed="rId210"/>
                <a:stretch>
                  <a:fillRect/>
                </a:stretch>
              </p:blipFill>
              <p:spPr>
                <a:xfrm>
                  <a:off x="4073433" y="2801348"/>
                  <a:ext cx="47520" cy="228960"/>
                </a:xfrm>
                <a:prstGeom prst="rect">
                  <a:avLst/>
                </a:prstGeom>
              </p:spPr>
            </p:pic>
          </mc:Fallback>
        </mc:AlternateContent>
        <mc:AlternateContent xmlns:mc="http://schemas.openxmlformats.org/markup-compatibility/2006" xmlns:p14="http://schemas.microsoft.com/office/powerpoint/2010/main">
          <mc:Choice Requires="p14">
            <p:contentPart p14:bwMode="auto" r:id="rId211">
              <p14:nvContentPartPr>
                <p14:cNvPr id="108" name="Ink 107">
                  <a:extLst>
                    <a:ext uri="{FF2B5EF4-FFF2-40B4-BE49-F238E27FC236}">
                      <a16:creationId xmlns:a16="http://schemas.microsoft.com/office/drawing/2014/main" id="{624C8713-EA71-4422-BEC7-D907C4183EE3}"/>
                    </a:ext>
                  </a:extLst>
                </p14:cNvPr>
                <p14:cNvContentPartPr/>
                <p14:nvPr/>
              </p14:nvContentPartPr>
              <p14:xfrm>
                <a:off x="3903153" y="2790188"/>
                <a:ext cx="334440" cy="88560"/>
              </p14:xfrm>
            </p:contentPart>
          </mc:Choice>
          <mc:Fallback xmlns="">
            <p:pic>
              <p:nvPicPr>
                <p:cNvPr id="108" name="Ink 107">
                  <a:extLst>
                    <a:ext uri="{FF2B5EF4-FFF2-40B4-BE49-F238E27FC236}">
                      <a16:creationId xmlns:a16="http://schemas.microsoft.com/office/drawing/2014/main" id="{624C8713-EA71-4422-BEC7-D907C4183EE3}"/>
                    </a:ext>
                  </a:extLst>
                </p:cNvPr>
                <p:cNvPicPr/>
                <p:nvPr/>
              </p:nvPicPr>
              <p:blipFill>
                <a:blip r:embed="rId212"/>
                <a:stretch>
                  <a:fillRect/>
                </a:stretch>
              </p:blipFill>
              <p:spPr>
                <a:xfrm>
                  <a:off x="3885153" y="2772188"/>
                  <a:ext cx="370080" cy="124200"/>
                </a:xfrm>
                <a:prstGeom prst="rect">
                  <a:avLst/>
                </a:prstGeom>
              </p:spPr>
            </p:pic>
          </mc:Fallback>
        </mc:AlternateContent>
        <mc:AlternateContent xmlns:mc="http://schemas.openxmlformats.org/markup-compatibility/2006" xmlns:p14="http://schemas.microsoft.com/office/powerpoint/2010/main">
          <mc:Choice Requires="p14">
            <p:contentPart p14:bwMode="auto" r:id="rId213">
              <p14:nvContentPartPr>
                <p14:cNvPr id="110" name="Ink 109">
                  <a:extLst>
                    <a:ext uri="{FF2B5EF4-FFF2-40B4-BE49-F238E27FC236}">
                      <a16:creationId xmlns:a16="http://schemas.microsoft.com/office/drawing/2014/main" id="{A6CB5472-991D-4762-BAFE-EA62EDF6CFBF}"/>
                    </a:ext>
                  </a:extLst>
                </p14:cNvPr>
                <p14:cNvContentPartPr/>
                <p14:nvPr/>
              </p14:nvContentPartPr>
              <p14:xfrm>
                <a:off x="5086833" y="1532708"/>
                <a:ext cx="55440" cy="1202400"/>
              </p14:xfrm>
            </p:contentPart>
          </mc:Choice>
          <mc:Fallback xmlns="">
            <p:pic>
              <p:nvPicPr>
                <p:cNvPr id="110" name="Ink 109">
                  <a:extLst>
                    <a:ext uri="{FF2B5EF4-FFF2-40B4-BE49-F238E27FC236}">
                      <a16:creationId xmlns:a16="http://schemas.microsoft.com/office/drawing/2014/main" id="{A6CB5472-991D-4762-BAFE-EA62EDF6CFBF}"/>
                    </a:ext>
                  </a:extLst>
                </p:cNvPr>
                <p:cNvPicPr/>
                <p:nvPr/>
              </p:nvPicPr>
              <p:blipFill>
                <a:blip r:embed="rId214"/>
                <a:stretch>
                  <a:fillRect/>
                </a:stretch>
              </p:blipFill>
              <p:spPr>
                <a:xfrm>
                  <a:off x="5068833" y="1515068"/>
                  <a:ext cx="91080" cy="1238040"/>
                </a:xfrm>
                <a:prstGeom prst="rect">
                  <a:avLst/>
                </a:prstGeom>
              </p:spPr>
            </p:pic>
          </mc:Fallback>
        </mc:AlternateContent>
        <mc:AlternateContent xmlns:mc="http://schemas.openxmlformats.org/markup-compatibility/2006" xmlns:p14="http://schemas.microsoft.com/office/powerpoint/2010/main">
          <mc:Choice Requires="p14">
            <p:contentPart p14:bwMode="auto" r:id="rId215">
              <p14:nvContentPartPr>
                <p14:cNvPr id="111" name="Ink 110">
                  <a:extLst>
                    <a:ext uri="{FF2B5EF4-FFF2-40B4-BE49-F238E27FC236}">
                      <a16:creationId xmlns:a16="http://schemas.microsoft.com/office/drawing/2014/main" id="{33E65950-7A80-4FB6-AA02-0E0D498972E0}"/>
                    </a:ext>
                  </a:extLst>
                </p14:cNvPr>
                <p14:cNvContentPartPr/>
                <p14:nvPr/>
              </p14:nvContentPartPr>
              <p14:xfrm>
                <a:off x="5270793" y="1653668"/>
                <a:ext cx="82800" cy="1009800"/>
              </p14:xfrm>
            </p:contentPart>
          </mc:Choice>
          <mc:Fallback xmlns="">
            <p:pic>
              <p:nvPicPr>
                <p:cNvPr id="111" name="Ink 110">
                  <a:extLst>
                    <a:ext uri="{FF2B5EF4-FFF2-40B4-BE49-F238E27FC236}">
                      <a16:creationId xmlns:a16="http://schemas.microsoft.com/office/drawing/2014/main" id="{33E65950-7A80-4FB6-AA02-0E0D498972E0}"/>
                    </a:ext>
                  </a:extLst>
                </p:cNvPr>
                <p:cNvPicPr/>
                <p:nvPr/>
              </p:nvPicPr>
              <p:blipFill>
                <a:blip r:embed="rId216"/>
                <a:stretch>
                  <a:fillRect/>
                </a:stretch>
              </p:blipFill>
              <p:spPr>
                <a:xfrm>
                  <a:off x="5253153" y="1635668"/>
                  <a:ext cx="118440" cy="1045440"/>
                </a:xfrm>
                <a:prstGeom prst="rect">
                  <a:avLst/>
                </a:prstGeom>
              </p:spPr>
            </p:pic>
          </mc:Fallback>
        </mc:AlternateContent>
        <mc:AlternateContent xmlns:mc="http://schemas.openxmlformats.org/markup-compatibility/2006" xmlns:p14="http://schemas.microsoft.com/office/powerpoint/2010/main">
          <mc:Choice Requires="p14">
            <p:contentPart p14:bwMode="auto" r:id="rId217">
              <p14:nvContentPartPr>
                <p14:cNvPr id="112" name="Ink 111">
                  <a:extLst>
                    <a:ext uri="{FF2B5EF4-FFF2-40B4-BE49-F238E27FC236}">
                      <a16:creationId xmlns:a16="http://schemas.microsoft.com/office/drawing/2014/main" id="{4F256B3B-79E5-4E48-894E-CBAE39E3FB31}"/>
                    </a:ext>
                  </a:extLst>
                </p14:cNvPr>
                <p14:cNvContentPartPr/>
                <p14:nvPr/>
              </p14:nvContentPartPr>
              <p14:xfrm>
                <a:off x="4855713" y="2375468"/>
                <a:ext cx="496440" cy="368640"/>
              </p14:xfrm>
            </p:contentPart>
          </mc:Choice>
          <mc:Fallback xmlns="">
            <p:pic>
              <p:nvPicPr>
                <p:cNvPr id="112" name="Ink 111">
                  <a:extLst>
                    <a:ext uri="{FF2B5EF4-FFF2-40B4-BE49-F238E27FC236}">
                      <a16:creationId xmlns:a16="http://schemas.microsoft.com/office/drawing/2014/main" id="{4F256B3B-79E5-4E48-894E-CBAE39E3FB31}"/>
                    </a:ext>
                  </a:extLst>
                </p:cNvPr>
                <p:cNvPicPr/>
                <p:nvPr/>
              </p:nvPicPr>
              <p:blipFill>
                <a:blip r:embed="rId218"/>
                <a:stretch>
                  <a:fillRect/>
                </a:stretch>
              </p:blipFill>
              <p:spPr>
                <a:xfrm>
                  <a:off x="4838073" y="2357828"/>
                  <a:ext cx="532080" cy="404280"/>
                </a:xfrm>
                <a:prstGeom prst="rect">
                  <a:avLst/>
                </a:prstGeom>
              </p:spPr>
            </p:pic>
          </mc:Fallback>
        </mc:AlternateContent>
        <mc:AlternateContent xmlns:mc="http://schemas.openxmlformats.org/markup-compatibility/2006" xmlns:p14="http://schemas.microsoft.com/office/powerpoint/2010/main">
          <mc:Choice Requires="p14">
            <p:contentPart p14:bwMode="auto" r:id="rId219">
              <p14:nvContentPartPr>
                <p14:cNvPr id="174" name="Ink 173">
                  <a:extLst>
                    <a:ext uri="{FF2B5EF4-FFF2-40B4-BE49-F238E27FC236}">
                      <a16:creationId xmlns:a16="http://schemas.microsoft.com/office/drawing/2014/main" id="{9C14728A-EA44-4F88-A085-2F6C824CB424}"/>
                    </a:ext>
                  </a:extLst>
                </p14:cNvPr>
                <p14:cNvContentPartPr/>
                <p14:nvPr/>
              </p14:nvContentPartPr>
              <p14:xfrm>
                <a:off x="3415353" y="1507868"/>
                <a:ext cx="29520" cy="213480"/>
              </p14:xfrm>
            </p:contentPart>
          </mc:Choice>
          <mc:Fallback xmlns="">
            <p:pic>
              <p:nvPicPr>
                <p:cNvPr id="174" name="Ink 173">
                  <a:extLst>
                    <a:ext uri="{FF2B5EF4-FFF2-40B4-BE49-F238E27FC236}">
                      <a16:creationId xmlns:a16="http://schemas.microsoft.com/office/drawing/2014/main" id="{9C14728A-EA44-4F88-A085-2F6C824CB424}"/>
                    </a:ext>
                  </a:extLst>
                </p:cNvPr>
                <p:cNvPicPr/>
                <p:nvPr/>
              </p:nvPicPr>
              <p:blipFill>
                <a:blip r:embed="rId220"/>
                <a:stretch>
                  <a:fillRect/>
                </a:stretch>
              </p:blipFill>
              <p:spPr>
                <a:xfrm>
                  <a:off x="3397713" y="1489868"/>
                  <a:ext cx="65160" cy="249120"/>
                </a:xfrm>
                <a:prstGeom prst="rect">
                  <a:avLst/>
                </a:prstGeom>
              </p:spPr>
            </p:pic>
          </mc:Fallback>
        </mc:AlternateContent>
        <mc:AlternateContent xmlns:mc="http://schemas.openxmlformats.org/markup-compatibility/2006" xmlns:p14="http://schemas.microsoft.com/office/powerpoint/2010/main">
          <mc:Choice Requires="p14">
            <p:contentPart p14:bwMode="auto" r:id="rId221">
              <p14:nvContentPartPr>
                <p14:cNvPr id="175" name="Ink 174">
                  <a:extLst>
                    <a:ext uri="{FF2B5EF4-FFF2-40B4-BE49-F238E27FC236}">
                      <a16:creationId xmlns:a16="http://schemas.microsoft.com/office/drawing/2014/main" id="{02B0D400-FCD9-4E2D-B5E9-2021742C16FD}"/>
                    </a:ext>
                  </a:extLst>
                </p14:cNvPr>
                <p14:cNvContentPartPr/>
                <p14:nvPr/>
              </p14:nvContentPartPr>
              <p14:xfrm>
                <a:off x="3440913" y="1589948"/>
                <a:ext cx="201960" cy="131760"/>
              </p14:xfrm>
            </p:contentPart>
          </mc:Choice>
          <mc:Fallback xmlns="">
            <p:pic>
              <p:nvPicPr>
                <p:cNvPr id="175" name="Ink 174">
                  <a:extLst>
                    <a:ext uri="{FF2B5EF4-FFF2-40B4-BE49-F238E27FC236}">
                      <a16:creationId xmlns:a16="http://schemas.microsoft.com/office/drawing/2014/main" id="{02B0D400-FCD9-4E2D-B5E9-2021742C16FD}"/>
                    </a:ext>
                  </a:extLst>
                </p:cNvPr>
                <p:cNvPicPr/>
                <p:nvPr/>
              </p:nvPicPr>
              <p:blipFill>
                <a:blip r:embed="rId222"/>
                <a:stretch>
                  <a:fillRect/>
                </a:stretch>
              </p:blipFill>
              <p:spPr>
                <a:xfrm>
                  <a:off x="3423273" y="1571948"/>
                  <a:ext cx="237600" cy="167400"/>
                </a:xfrm>
                <a:prstGeom prst="rect">
                  <a:avLst/>
                </a:prstGeom>
              </p:spPr>
            </p:pic>
          </mc:Fallback>
        </mc:AlternateContent>
        <mc:AlternateContent xmlns:mc="http://schemas.openxmlformats.org/markup-compatibility/2006" xmlns:p14="http://schemas.microsoft.com/office/powerpoint/2010/main">
          <mc:Choice Requires="p14">
            <p:contentPart p14:bwMode="auto" r:id="rId223">
              <p14:nvContentPartPr>
                <p14:cNvPr id="176" name="Ink 175">
                  <a:extLst>
                    <a:ext uri="{FF2B5EF4-FFF2-40B4-BE49-F238E27FC236}">
                      <a16:creationId xmlns:a16="http://schemas.microsoft.com/office/drawing/2014/main" id="{6604130E-5E89-423A-BD4D-1A4DCFC46E28}"/>
                    </a:ext>
                  </a:extLst>
                </p14:cNvPr>
                <p14:cNvContentPartPr/>
                <p14:nvPr/>
              </p14:nvContentPartPr>
              <p14:xfrm>
                <a:off x="3679233" y="1548908"/>
                <a:ext cx="529200" cy="171000"/>
              </p14:xfrm>
            </p:contentPart>
          </mc:Choice>
          <mc:Fallback xmlns="">
            <p:pic>
              <p:nvPicPr>
                <p:cNvPr id="176" name="Ink 175">
                  <a:extLst>
                    <a:ext uri="{FF2B5EF4-FFF2-40B4-BE49-F238E27FC236}">
                      <a16:creationId xmlns:a16="http://schemas.microsoft.com/office/drawing/2014/main" id="{6604130E-5E89-423A-BD4D-1A4DCFC46E28}"/>
                    </a:ext>
                  </a:extLst>
                </p:cNvPr>
                <p:cNvPicPr/>
                <p:nvPr/>
              </p:nvPicPr>
              <p:blipFill>
                <a:blip r:embed="rId224"/>
                <a:stretch>
                  <a:fillRect/>
                </a:stretch>
              </p:blipFill>
              <p:spPr>
                <a:xfrm>
                  <a:off x="3661593" y="1530908"/>
                  <a:ext cx="564840" cy="206640"/>
                </a:xfrm>
                <a:prstGeom prst="rect">
                  <a:avLst/>
                </a:prstGeom>
              </p:spPr>
            </p:pic>
          </mc:Fallback>
        </mc:AlternateContent>
        <mc:AlternateContent xmlns:mc="http://schemas.openxmlformats.org/markup-compatibility/2006" xmlns:p14="http://schemas.microsoft.com/office/powerpoint/2010/main">
          <mc:Choice Requires="p14">
            <p:contentPart p14:bwMode="auto" r:id="rId225">
              <p14:nvContentPartPr>
                <p14:cNvPr id="177" name="Ink 176">
                  <a:extLst>
                    <a:ext uri="{FF2B5EF4-FFF2-40B4-BE49-F238E27FC236}">
                      <a16:creationId xmlns:a16="http://schemas.microsoft.com/office/drawing/2014/main" id="{553BFF7D-258E-4EA0-8ADC-FC960D904210}"/>
                    </a:ext>
                  </a:extLst>
                </p14:cNvPr>
                <p14:cNvContentPartPr/>
                <p14:nvPr/>
              </p14:nvContentPartPr>
              <p14:xfrm>
                <a:off x="4164153" y="1685708"/>
                <a:ext cx="107280" cy="28080"/>
              </p14:xfrm>
            </p:contentPart>
          </mc:Choice>
          <mc:Fallback xmlns="">
            <p:pic>
              <p:nvPicPr>
                <p:cNvPr id="177" name="Ink 176">
                  <a:extLst>
                    <a:ext uri="{FF2B5EF4-FFF2-40B4-BE49-F238E27FC236}">
                      <a16:creationId xmlns:a16="http://schemas.microsoft.com/office/drawing/2014/main" id="{553BFF7D-258E-4EA0-8ADC-FC960D904210}"/>
                    </a:ext>
                  </a:extLst>
                </p:cNvPr>
                <p:cNvPicPr/>
                <p:nvPr/>
              </p:nvPicPr>
              <p:blipFill>
                <a:blip r:embed="rId226"/>
                <a:stretch>
                  <a:fillRect/>
                </a:stretch>
              </p:blipFill>
              <p:spPr>
                <a:xfrm>
                  <a:off x="4146513" y="1667708"/>
                  <a:ext cx="142920" cy="63720"/>
                </a:xfrm>
                <a:prstGeom prst="rect">
                  <a:avLst/>
                </a:prstGeom>
              </p:spPr>
            </p:pic>
          </mc:Fallback>
        </mc:AlternateContent>
        <mc:AlternateContent xmlns:mc="http://schemas.openxmlformats.org/markup-compatibility/2006" xmlns:p14="http://schemas.microsoft.com/office/powerpoint/2010/main">
          <mc:Choice Requires="p14">
            <p:contentPart p14:bwMode="auto" r:id="rId227">
              <p14:nvContentPartPr>
                <p14:cNvPr id="178" name="Ink 177">
                  <a:extLst>
                    <a:ext uri="{FF2B5EF4-FFF2-40B4-BE49-F238E27FC236}">
                      <a16:creationId xmlns:a16="http://schemas.microsoft.com/office/drawing/2014/main" id="{8CE3C5E3-E4F7-425C-B1F1-E91EF8087B82}"/>
                    </a:ext>
                  </a:extLst>
                </p14:cNvPr>
                <p14:cNvContentPartPr/>
                <p14:nvPr/>
              </p14:nvContentPartPr>
              <p14:xfrm>
                <a:off x="4446393" y="1579148"/>
                <a:ext cx="88920" cy="270360"/>
              </p14:xfrm>
            </p:contentPart>
          </mc:Choice>
          <mc:Fallback xmlns="">
            <p:pic>
              <p:nvPicPr>
                <p:cNvPr id="178" name="Ink 177">
                  <a:extLst>
                    <a:ext uri="{FF2B5EF4-FFF2-40B4-BE49-F238E27FC236}">
                      <a16:creationId xmlns:a16="http://schemas.microsoft.com/office/drawing/2014/main" id="{8CE3C5E3-E4F7-425C-B1F1-E91EF8087B82}"/>
                    </a:ext>
                  </a:extLst>
                </p:cNvPr>
                <p:cNvPicPr/>
                <p:nvPr/>
              </p:nvPicPr>
              <p:blipFill>
                <a:blip r:embed="rId228"/>
                <a:stretch>
                  <a:fillRect/>
                </a:stretch>
              </p:blipFill>
              <p:spPr>
                <a:xfrm>
                  <a:off x="4428753" y="1561148"/>
                  <a:ext cx="124560" cy="306000"/>
                </a:xfrm>
                <a:prstGeom prst="rect">
                  <a:avLst/>
                </a:prstGeom>
              </p:spPr>
            </p:pic>
          </mc:Fallback>
        </mc:AlternateContent>
        <mc:AlternateContent xmlns:mc="http://schemas.openxmlformats.org/markup-compatibility/2006" xmlns:p14="http://schemas.microsoft.com/office/powerpoint/2010/main">
          <mc:Choice Requires="p14">
            <p:contentPart p14:bwMode="auto" r:id="rId229">
              <p14:nvContentPartPr>
                <p14:cNvPr id="179" name="Ink 178">
                  <a:extLst>
                    <a:ext uri="{FF2B5EF4-FFF2-40B4-BE49-F238E27FC236}">
                      <a16:creationId xmlns:a16="http://schemas.microsoft.com/office/drawing/2014/main" id="{30113618-A74B-4865-AD8E-4F1D94DB126B}"/>
                    </a:ext>
                  </a:extLst>
                </p14:cNvPr>
                <p14:cNvContentPartPr/>
                <p14:nvPr/>
              </p14:nvContentPartPr>
              <p14:xfrm>
                <a:off x="4539993" y="1655468"/>
                <a:ext cx="388080" cy="184320"/>
              </p14:xfrm>
            </p:contentPart>
          </mc:Choice>
          <mc:Fallback xmlns="">
            <p:pic>
              <p:nvPicPr>
                <p:cNvPr id="179" name="Ink 178">
                  <a:extLst>
                    <a:ext uri="{FF2B5EF4-FFF2-40B4-BE49-F238E27FC236}">
                      <a16:creationId xmlns:a16="http://schemas.microsoft.com/office/drawing/2014/main" id="{30113618-A74B-4865-AD8E-4F1D94DB126B}"/>
                    </a:ext>
                  </a:extLst>
                </p:cNvPr>
                <p:cNvPicPr/>
                <p:nvPr/>
              </p:nvPicPr>
              <p:blipFill>
                <a:blip r:embed="rId230"/>
                <a:stretch>
                  <a:fillRect/>
                </a:stretch>
              </p:blipFill>
              <p:spPr>
                <a:xfrm>
                  <a:off x="4522353" y="1637828"/>
                  <a:ext cx="423720" cy="219960"/>
                </a:xfrm>
                <a:prstGeom prst="rect">
                  <a:avLst/>
                </a:prstGeom>
              </p:spPr>
            </p:pic>
          </mc:Fallback>
        </mc:AlternateContent>
        <mc:AlternateContent xmlns:mc="http://schemas.openxmlformats.org/markup-compatibility/2006" xmlns:p14="http://schemas.microsoft.com/office/powerpoint/2010/main">
          <mc:Choice Requires="p14">
            <p:contentPart p14:bwMode="auto" r:id="rId231">
              <p14:nvContentPartPr>
                <p14:cNvPr id="180" name="Ink 179">
                  <a:extLst>
                    <a:ext uri="{FF2B5EF4-FFF2-40B4-BE49-F238E27FC236}">
                      <a16:creationId xmlns:a16="http://schemas.microsoft.com/office/drawing/2014/main" id="{E07AD66E-35A3-4B07-AE39-07B996EB6356}"/>
                    </a:ext>
                  </a:extLst>
                </p14:cNvPr>
                <p14:cNvContentPartPr/>
                <p14:nvPr/>
              </p14:nvContentPartPr>
              <p14:xfrm>
                <a:off x="4957953" y="1675988"/>
                <a:ext cx="1080" cy="43200"/>
              </p14:xfrm>
            </p:contentPart>
          </mc:Choice>
          <mc:Fallback xmlns="">
            <p:pic>
              <p:nvPicPr>
                <p:cNvPr id="180" name="Ink 179">
                  <a:extLst>
                    <a:ext uri="{FF2B5EF4-FFF2-40B4-BE49-F238E27FC236}">
                      <a16:creationId xmlns:a16="http://schemas.microsoft.com/office/drawing/2014/main" id="{E07AD66E-35A3-4B07-AE39-07B996EB6356}"/>
                    </a:ext>
                  </a:extLst>
                </p:cNvPr>
                <p:cNvPicPr/>
                <p:nvPr/>
              </p:nvPicPr>
              <p:blipFill>
                <a:blip r:embed="rId232"/>
                <a:stretch>
                  <a:fillRect/>
                </a:stretch>
              </p:blipFill>
              <p:spPr>
                <a:xfrm>
                  <a:off x="4940313" y="1658348"/>
                  <a:ext cx="36720" cy="78840"/>
                </a:xfrm>
                <a:prstGeom prst="rect">
                  <a:avLst/>
                </a:prstGeom>
              </p:spPr>
            </p:pic>
          </mc:Fallback>
        </mc:AlternateContent>
        <mc:AlternateContent xmlns:mc="http://schemas.openxmlformats.org/markup-compatibility/2006" xmlns:p14="http://schemas.microsoft.com/office/powerpoint/2010/main">
          <mc:Choice Requires="p14">
            <p:contentPart p14:bwMode="auto" r:id="rId233">
              <p14:nvContentPartPr>
                <p14:cNvPr id="181" name="Ink 180">
                  <a:extLst>
                    <a:ext uri="{FF2B5EF4-FFF2-40B4-BE49-F238E27FC236}">
                      <a16:creationId xmlns:a16="http://schemas.microsoft.com/office/drawing/2014/main" id="{76F4AA9F-265F-4604-B551-A173632585C7}"/>
                    </a:ext>
                  </a:extLst>
                </p14:cNvPr>
                <p14:cNvContentPartPr/>
                <p14:nvPr/>
              </p14:nvContentPartPr>
              <p14:xfrm>
                <a:off x="5005473" y="1713428"/>
                <a:ext cx="181440" cy="174600"/>
              </p14:xfrm>
            </p:contentPart>
          </mc:Choice>
          <mc:Fallback xmlns="">
            <p:pic>
              <p:nvPicPr>
                <p:cNvPr id="181" name="Ink 180">
                  <a:extLst>
                    <a:ext uri="{FF2B5EF4-FFF2-40B4-BE49-F238E27FC236}">
                      <a16:creationId xmlns:a16="http://schemas.microsoft.com/office/drawing/2014/main" id="{76F4AA9F-265F-4604-B551-A173632585C7}"/>
                    </a:ext>
                  </a:extLst>
                </p:cNvPr>
                <p:cNvPicPr/>
                <p:nvPr/>
              </p:nvPicPr>
              <p:blipFill>
                <a:blip r:embed="rId234"/>
                <a:stretch>
                  <a:fillRect/>
                </a:stretch>
              </p:blipFill>
              <p:spPr>
                <a:xfrm>
                  <a:off x="4987473" y="1695428"/>
                  <a:ext cx="217080" cy="210240"/>
                </a:xfrm>
                <a:prstGeom prst="rect">
                  <a:avLst/>
                </a:prstGeom>
              </p:spPr>
            </p:pic>
          </mc:Fallback>
        </mc:AlternateContent>
        <mc:AlternateContent xmlns:mc="http://schemas.openxmlformats.org/markup-compatibility/2006" xmlns:p14="http://schemas.microsoft.com/office/powerpoint/2010/main">
          <mc:Choice Requires="p14">
            <p:contentPart p14:bwMode="auto" r:id="rId235">
              <p14:nvContentPartPr>
                <p14:cNvPr id="182" name="Ink 181">
                  <a:extLst>
                    <a:ext uri="{FF2B5EF4-FFF2-40B4-BE49-F238E27FC236}">
                      <a16:creationId xmlns:a16="http://schemas.microsoft.com/office/drawing/2014/main" id="{072881E3-542C-4EF4-B01C-C280D00880AF}"/>
                    </a:ext>
                  </a:extLst>
                </p14:cNvPr>
                <p14:cNvContentPartPr/>
                <p14:nvPr/>
              </p14:nvContentPartPr>
              <p14:xfrm>
                <a:off x="5160273" y="1740788"/>
                <a:ext cx="21960" cy="9360"/>
              </p14:xfrm>
            </p:contentPart>
          </mc:Choice>
          <mc:Fallback xmlns="">
            <p:pic>
              <p:nvPicPr>
                <p:cNvPr id="182" name="Ink 181">
                  <a:extLst>
                    <a:ext uri="{FF2B5EF4-FFF2-40B4-BE49-F238E27FC236}">
                      <a16:creationId xmlns:a16="http://schemas.microsoft.com/office/drawing/2014/main" id="{072881E3-542C-4EF4-B01C-C280D00880AF}"/>
                    </a:ext>
                  </a:extLst>
                </p:cNvPr>
                <p:cNvPicPr/>
                <p:nvPr/>
              </p:nvPicPr>
              <p:blipFill>
                <a:blip r:embed="rId236"/>
                <a:stretch>
                  <a:fillRect/>
                </a:stretch>
              </p:blipFill>
              <p:spPr>
                <a:xfrm>
                  <a:off x="5142633" y="1723148"/>
                  <a:ext cx="57600" cy="45000"/>
                </a:xfrm>
                <a:prstGeom prst="rect">
                  <a:avLst/>
                </a:prstGeom>
              </p:spPr>
            </p:pic>
          </mc:Fallback>
        </mc:AlternateContent>
      </p:gr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80"/>
        <p:cNvGrpSpPr/>
        <p:nvPr/>
      </p:nvGrpSpPr>
      <p:grpSpPr>
        <a:xfrm>
          <a:off x="0" y="0"/>
          <a:ext cx="0" cy="0"/>
          <a:chOff x="0" y="0"/>
          <a:chExt cx="0" cy="0"/>
        </a:xfrm>
      </p:grpSpPr>
      <p:sp>
        <p:nvSpPr>
          <p:cNvPr id="81" name="Google Shape;81;p4"/>
          <p:cNvSpPr txBox="1">
            <a:spLocks noGrp="1"/>
          </p:cNvSpPr>
          <p:nvPr>
            <p:ph type="title"/>
          </p:nvPr>
        </p:nvSpPr>
        <p:spPr>
          <a:xfrm>
            <a:off x="311700" y="2285400"/>
            <a:ext cx="8520600" cy="572700"/>
          </a:xfrm>
          <a:prstGeom prst="rect">
            <a:avLst/>
          </a:prstGeom>
          <a:noFill/>
          <a:ln>
            <a:noFill/>
          </a:ln>
        </p:spPr>
        <p:txBody>
          <a:bodyPr spcFirstLastPara="1" wrap="square" lIns="91425" tIns="91425" rIns="91425" bIns="91425" anchor="t" anchorCtr="0">
            <a:noAutofit/>
          </a:bodyPr>
          <a:lstStyle/>
          <a:p>
            <a:pPr marL="0" lvl="0" indent="0" algn="ctr" rtl="0">
              <a:lnSpc>
                <a:spcPct val="100000"/>
              </a:lnSpc>
              <a:spcBef>
                <a:spcPts val="0"/>
              </a:spcBef>
              <a:spcAft>
                <a:spcPts val="0"/>
              </a:spcAft>
              <a:buSzPts val="2800"/>
              <a:buNone/>
            </a:pPr>
            <a:r>
              <a:rPr lang="en" sz="3600" b="1">
                <a:solidFill>
                  <a:srgbClr val="0B5394"/>
                </a:solidFill>
              </a:rPr>
              <a:t>Semantic</a:t>
            </a:r>
            <a:r>
              <a:rPr lang="en" sz="3600"/>
              <a:t> </a:t>
            </a:r>
            <a:r>
              <a:rPr lang="en" sz="3600">
                <a:solidFill>
                  <a:srgbClr val="3D85C6"/>
                </a:solidFill>
              </a:rPr>
              <a:t>Segmentation</a:t>
            </a:r>
            <a:endParaRPr sz="3600">
              <a:solidFill>
                <a:srgbClr val="3D85C6"/>
              </a:solidFill>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85"/>
        <p:cNvGrpSpPr/>
        <p:nvPr/>
      </p:nvGrpSpPr>
      <p:grpSpPr>
        <a:xfrm>
          <a:off x="0" y="0"/>
          <a:ext cx="0" cy="0"/>
          <a:chOff x="0" y="0"/>
          <a:chExt cx="0" cy="0"/>
        </a:xfrm>
      </p:grpSpPr>
      <p:sp>
        <p:nvSpPr>
          <p:cNvPr id="86" name="Google Shape;86;p5"/>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2800"/>
              <a:buNone/>
            </a:pPr>
            <a:r>
              <a:rPr lang="en"/>
              <a:t>Example</a:t>
            </a:r>
            <a:endParaRPr/>
          </a:p>
        </p:txBody>
      </p:sp>
      <p:sp>
        <p:nvSpPr>
          <p:cNvPr id="87" name="Google Shape;87;p5"/>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0"/>
              </a:spcBef>
              <a:spcAft>
                <a:spcPts val="0"/>
              </a:spcAft>
              <a:buSzPts val="1800"/>
              <a:buNone/>
            </a:pPr>
            <a:br>
              <a:rPr lang="en"/>
            </a:br>
            <a:endParaRPr/>
          </a:p>
          <a:p>
            <a:pPr marL="0" lvl="0" indent="0" algn="l" rtl="0">
              <a:lnSpc>
                <a:spcPct val="115000"/>
              </a:lnSpc>
              <a:spcBef>
                <a:spcPts val="1600"/>
              </a:spcBef>
              <a:spcAft>
                <a:spcPts val="0"/>
              </a:spcAft>
              <a:buSzPts val="1800"/>
              <a:buNone/>
            </a:pPr>
            <a:endParaRPr/>
          </a:p>
          <a:p>
            <a:pPr marL="0" lvl="0" indent="0" algn="l" rtl="0">
              <a:lnSpc>
                <a:spcPct val="115000"/>
              </a:lnSpc>
              <a:spcBef>
                <a:spcPts val="1600"/>
              </a:spcBef>
              <a:spcAft>
                <a:spcPts val="0"/>
              </a:spcAft>
              <a:buSzPts val="1800"/>
              <a:buNone/>
            </a:pPr>
            <a:endParaRPr/>
          </a:p>
          <a:p>
            <a:pPr marL="0" lvl="0" indent="0" algn="l" rtl="0">
              <a:lnSpc>
                <a:spcPct val="115000"/>
              </a:lnSpc>
              <a:spcBef>
                <a:spcPts val="1600"/>
              </a:spcBef>
              <a:spcAft>
                <a:spcPts val="0"/>
              </a:spcAft>
              <a:buSzPts val="1800"/>
              <a:buNone/>
            </a:pPr>
            <a:endParaRPr/>
          </a:p>
          <a:p>
            <a:pPr marL="0" lvl="0" indent="0" algn="l" rtl="0">
              <a:lnSpc>
                <a:spcPct val="115000"/>
              </a:lnSpc>
              <a:spcBef>
                <a:spcPts val="1600"/>
              </a:spcBef>
              <a:spcAft>
                <a:spcPts val="0"/>
              </a:spcAft>
              <a:buSzPts val="1800"/>
              <a:buNone/>
            </a:pPr>
            <a:endParaRPr/>
          </a:p>
          <a:p>
            <a:pPr marL="0" lvl="0" indent="0" algn="l" rtl="0">
              <a:lnSpc>
                <a:spcPct val="115000"/>
              </a:lnSpc>
              <a:spcBef>
                <a:spcPts val="1600"/>
              </a:spcBef>
              <a:spcAft>
                <a:spcPts val="0"/>
              </a:spcAft>
              <a:buSzPts val="1800"/>
              <a:buNone/>
            </a:pPr>
            <a:endParaRPr/>
          </a:p>
          <a:p>
            <a:pPr marL="0" lvl="0" indent="0" algn="l" rtl="0">
              <a:lnSpc>
                <a:spcPct val="115000"/>
              </a:lnSpc>
              <a:spcBef>
                <a:spcPts val="1600"/>
              </a:spcBef>
              <a:spcAft>
                <a:spcPts val="1600"/>
              </a:spcAft>
              <a:buSzPts val="1800"/>
              <a:buNone/>
            </a:pPr>
            <a:r>
              <a:rPr lang="en" sz="1200">
                <a:solidFill>
                  <a:schemeClr val="dk1"/>
                </a:solidFill>
                <a:highlight>
                  <a:srgbClr val="FFFFFF"/>
                </a:highlight>
                <a:latin typeface="Arial"/>
                <a:ea typeface="Arial"/>
                <a:cs typeface="Arial"/>
                <a:sym typeface="Arial"/>
              </a:rPr>
              <a:t>An example of semantic segmentation</a:t>
            </a:r>
            <a:endParaRPr/>
          </a:p>
        </p:txBody>
      </p:sp>
      <p:pic>
        <p:nvPicPr>
          <p:cNvPr id="88" name="Google Shape;88;p5"/>
          <p:cNvPicPr preferRelativeResize="0"/>
          <p:nvPr/>
        </p:nvPicPr>
        <p:blipFill rotWithShape="1">
          <a:blip r:embed="rId3">
            <a:alphaModFix/>
          </a:blip>
          <a:srcRect l="4966" r="8062"/>
          <a:stretch/>
        </p:blipFill>
        <p:spPr>
          <a:xfrm>
            <a:off x="454450" y="880425"/>
            <a:ext cx="7952800" cy="3876574"/>
          </a:xfrm>
          <a:prstGeom prst="rect">
            <a:avLst/>
          </a:prstGeom>
          <a:noFill/>
          <a:ln>
            <a:noFill/>
          </a:ln>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92"/>
        <p:cNvGrpSpPr/>
        <p:nvPr/>
      </p:nvGrpSpPr>
      <p:grpSpPr>
        <a:xfrm>
          <a:off x="0" y="0"/>
          <a:ext cx="0" cy="0"/>
          <a:chOff x="0" y="0"/>
          <a:chExt cx="0" cy="0"/>
        </a:xfrm>
      </p:grpSpPr>
      <p:sp>
        <p:nvSpPr>
          <p:cNvPr id="93" name="Google Shape;93;p6"/>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2800"/>
              <a:buNone/>
            </a:pPr>
            <a:r>
              <a:rPr lang="en"/>
              <a:t>Instance Segmentation</a:t>
            </a:r>
            <a:endParaRPr/>
          </a:p>
        </p:txBody>
      </p:sp>
      <p:sp>
        <p:nvSpPr>
          <p:cNvPr id="94" name="Google Shape;94;p6"/>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0"/>
              </a:spcBef>
              <a:spcAft>
                <a:spcPts val="0"/>
              </a:spcAft>
              <a:buSzPts val="1800"/>
              <a:buNone/>
            </a:pPr>
            <a:endParaRPr/>
          </a:p>
          <a:p>
            <a:pPr marL="0" lvl="0" indent="0" algn="l" rtl="0">
              <a:lnSpc>
                <a:spcPct val="115000"/>
              </a:lnSpc>
              <a:spcBef>
                <a:spcPts val="1600"/>
              </a:spcBef>
              <a:spcAft>
                <a:spcPts val="0"/>
              </a:spcAft>
              <a:buSzPts val="1800"/>
              <a:buNone/>
            </a:pPr>
            <a:endParaRPr/>
          </a:p>
          <a:p>
            <a:pPr marL="0" lvl="0" indent="0" algn="l" rtl="0">
              <a:lnSpc>
                <a:spcPct val="115000"/>
              </a:lnSpc>
              <a:spcBef>
                <a:spcPts val="1600"/>
              </a:spcBef>
              <a:spcAft>
                <a:spcPts val="0"/>
              </a:spcAft>
              <a:buSzPts val="1800"/>
              <a:buNone/>
            </a:pPr>
            <a:endParaRPr/>
          </a:p>
          <a:p>
            <a:pPr marL="0" lvl="0" indent="0" algn="l" rtl="0">
              <a:lnSpc>
                <a:spcPct val="115000"/>
              </a:lnSpc>
              <a:spcBef>
                <a:spcPts val="1600"/>
              </a:spcBef>
              <a:spcAft>
                <a:spcPts val="0"/>
              </a:spcAft>
              <a:buSzPts val="1800"/>
              <a:buNone/>
            </a:pPr>
            <a:endParaRPr/>
          </a:p>
          <a:p>
            <a:pPr marL="0" lvl="0" indent="0" algn="l" rtl="0">
              <a:lnSpc>
                <a:spcPct val="115000"/>
              </a:lnSpc>
              <a:spcBef>
                <a:spcPts val="1600"/>
              </a:spcBef>
              <a:spcAft>
                <a:spcPts val="0"/>
              </a:spcAft>
              <a:buSzPts val="1800"/>
              <a:buNone/>
            </a:pPr>
            <a:endParaRPr/>
          </a:p>
          <a:p>
            <a:pPr marL="0" lvl="0" indent="0" algn="l" rtl="0">
              <a:lnSpc>
                <a:spcPct val="115000"/>
              </a:lnSpc>
              <a:spcBef>
                <a:spcPts val="1600"/>
              </a:spcBef>
              <a:spcAft>
                <a:spcPts val="0"/>
              </a:spcAft>
              <a:buSzPts val="1800"/>
              <a:buNone/>
            </a:pPr>
            <a:r>
              <a:rPr lang="en" sz="1100">
                <a:solidFill>
                  <a:srgbClr val="41555F"/>
                </a:solidFill>
                <a:highlight>
                  <a:srgbClr val="FFFFFF"/>
                </a:highlight>
              </a:rPr>
              <a:t>Difference between Semantic Segmentation and Instance Segmentation. (middle) Although they are the same object (bus) they are classified as different objects. (Right) Same object, equal category.</a:t>
            </a:r>
            <a:endParaRPr/>
          </a:p>
          <a:p>
            <a:pPr marL="0" lvl="0" indent="0" algn="l" rtl="0">
              <a:lnSpc>
                <a:spcPct val="115000"/>
              </a:lnSpc>
              <a:spcBef>
                <a:spcPts val="1600"/>
              </a:spcBef>
              <a:spcAft>
                <a:spcPts val="1600"/>
              </a:spcAft>
              <a:buSzPts val="1800"/>
              <a:buNone/>
            </a:pPr>
            <a:endParaRPr/>
          </a:p>
        </p:txBody>
      </p:sp>
      <p:pic>
        <p:nvPicPr>
          <p:cNvPr id="95" name="Google Shape;95;p6"/>
          <p:cNvPicPr preferRelativeResize="0"/>
          <p:nvPr/>
        </p:nvPicPr>
        <p:blipFill rotWithShape="1">
          <a:blip r:embed="rId3">
            <a:alphaModFix/>
          </a:blip>
          <a:srcRect/>
          <a:stretch/>
        </p:blipFill>
        <p:spPr>
          <a:xfrm>
            <a:off x="311700" y="1519300"/>
            <a:ext cx="8520599" cy="2104898"/>
          </a:xfrm>
          <a:prstGeom prst="rect">
            <a:avLst/>
          </a:prstGeom>
          <a:noFill/>
          <a:ln>
            <a:noFill/>
          </a:ln>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99"/>
        <p:cNvGrpSpPr/>
        <p:nvPr/>
      </p:nvGrpSpPr>
      <p:grpSpPr>
        <a:xfrm>
          <a:off x="0" y="0"/>
          <a:ext cx="0" cy="0"/>
          <a:chOff x="0" y="0"/>
          <a:chExt cx="0" cy="0"/>
        </a:xfrm>
      </p:grpSpPr>
      <p:sp>
        <p:nvSpPr>
          <p:cNvPr id="100" name="Google Shape;100;p7"/>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2800"/>
              <a:buNone/>
            </a:pPr>
            <a:r>
              <a:rPr lang="en"/>
              <a:t>Atrous/Dilated Convolutions</a:t>
            </a:r>
            <a:endParaRPr/>
          </a:p>
        </p:txBody>
      </p:sp>
      <p:sp>
        <p:nvSpPr>
          <p:cNvPr id="101" name="Google Shape;101;p7"/>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0"/>
              </a:spcBef>
              <a:spcAft>
                <a:spcPts val="0"/>
              </a:spcAft>
              <a:buClr>
                <a:schemeClr val="dk1"/>
              </a:buClr>
              <a:buSzPts val="1100"/>
              <a:buFont typeface="Arial"/>
              <a:buNone/>
            </a:pPr>
            <a:r>
              <a:rPr lang="en" sz="1200">
                <a:solidFill>
                  <a:srgbClr val="41555F"/>
                </a:solidFill>
              </a:rPr>
              <a:t>Atrous (or dilated) convolutions are regular convolutions with a factor that allows us to expand the filter’s field of view.</a:t>
            </a:r>
            <a:endParaRPr sz="1200">
              <a:solidFill>
                <a:srgbClr val="41555F"/>
              </a:solidFill>
            </a:endParaRPr>
          </a:p>
          <a:p>
            <a:pPr marL="0" lvl="0" indent="0" algn="l" rtl="0">
              <a:lnSpc>
                <a:spcPct val="115000"/>
              </a:lnSpc>
              <a:spcBef>
                <a:spcPts val="1100"/>
              </a:spcBef>
              <a:spcAft>
                <a:spcPts val="0"/>
              </a:spcAft>
              <a:buSzPts val="1800"/>
              <a:buNone/>
            </a:pPr>
            <a:r>
              <a:rPr lang="en" sz="1200">
                <a:solidFill>
                  <a:srgbClr val="41555F"/>
                </a:solidFill>
              </a:rPr>
              <a:t>Consider a </a:t>
            </a:r>
            <a:r>
              <a:rPr lang="en" sz="1200" i="1">
                <a:solidFill>
                  <a:srgbClr val="41555F"/>
                </a:solidFill>
              </a:rPr>
              <a:t>3x3</a:t>
            </a:r>
            <a:r>
              <a:rPr lang="en" sz="1200">
                <a:solidFill>
                  <a:srgbClr val="41555F"/>
                </a:solidFill>
              </a:rPr>
              <a:t> convolution filter for instance. When the dilation rate is equal to 1, it behaves like a standard convolution. But, if we set the dilation factor to 2, it has the effect of enlarging the convolution kernel.</a:t>
            </a:r>
            <a:endParaRPr sz="1200">
              <a:solidFill>
                <a:srgbClr val="41555F"/>
              </a:solidFill>
            </a:endParaRPr>
          </a:p>
          <a:p>
            <a:pPr marL="0" lvl="0" indent="0" algn="l" rtl="0">
              <a:lnSpc>
                <a:spcPct val="115000"/>
              </a:lnSpc>
              <a:spcBef>
                <a:spcPts val="1100"/>
              </a:spcBef>
              <a:spcAft>
                <a:spcPts val="0"/>
              </a:spcAft>
              <a:buClr>
                <a:schemeClr val="dk1"/>
              </a:buClr>
              <a:buSzPts val="1100"/>
              <a:buFont typeface="Arial"/>
              <a:buNone/>
            </a:pPr>
            <a:endParaRPr sz="1200">
              <a:solidFill>
                <a:srgbClr val="41555F"/>
              </a:solidFill>
            </a:endParaRPr>
          </a:p>
          <a:p>
            <a:pPr marL="0" lvl="0" indent="0" algn="l" rtl="0">
              <a:lnSpc>
                <a:spcPct val="115000"/>
              </a:lnSpc>
              <a:spcBef>
                <a:spcPts val="1100"/>
              </a:spcBef>
              <a:spcAft>
                <a:spcPts val="1600"/>
              </a:spcAft>
              <a:buSzPts val="1800"/>
              <a:buNone/>
            </a:pPr>
            <a:endParaRPr sz="1200"/>
          </a:p>
        </p:txBody>
      </p:sp>
      <p:pic>
        <p:nvPicPr>
          <p:cNvPr id="102" name="Google Shape;102;p7"/>
          <p:cNvPicPr preferRelativeResize="0"/>
          <p:nvPr/>
        </p:nvPicPr>
        <p:blipFill rotWithShape="1">
          <a:blip r:embed="rId3">
            <a:alphaModFix/>
          </a:blip>
          <a:srcRect/>
          <a:stretch/>
        </p:blipFill>
        <p:spPr>
          <a:xfrm>
            <a:off x="867575" y="2364724"/>
            <a:ext cx="7408852" cy="2347950"/>
          </a:xfrm>
          <a:prstGeom prst="rect">
            <a:avLst/>
          </a:prstGeom>
          <a:noFill/>
          <a:ln>
            <a:noFill/>
          </a:ln>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06"/>
        <p:cNvGrpSpPr/>
        <p:nvPr/>
      </p:nvGrpSpPr>
      <p:grpSpPr>
        <a:xfrm>
          <a:off x="0" y="0"/>
          <a:ext cx="0" cy="0"/>
          <a:chOff x="0" y="0"/>
          <a:chExt cx="0" cy="0"/>
        </a:xfrm>
      </p:grpSpPr>
      <p:sp>
        <p:nvSpPr>
          <p:cNvPr id="107" name="Google Shape;107;p8"/>
          <p:cNvSpPr txBox="1">
            <a:spLocks noGrp="1"/>
          </p:cNvSpPr>
          <p:nvPr>
            <p:ph type="title"/>
          </p:nvPr>
        </p:nvSpPr>
        <p:spPr>
          <a:xfrm>
            <a:off x="311700" y="2285400"/>
            <a:ext cx="8520600" cy="572700"/>
          </a:xfrm>
          <a:prstGeom prst="rect">
            <a:avLst/>
          </a:prstGeom>
          <a:noFill/>
          <a:ln>
            <a:noFill/>
          </a:ln>
        </p:spPr>
        <p:txBody>
          <a:bodyPr spcFirstLastPara="1" wrap="square" lIns="91425" tIns="91425" rIns="91425" bIns="91425" anchor="t" anchorCtr="0">
            <a:noAutofit/>
          </a:bodyPr>
          <a:lstStyle/>
          <a:p>
            <a:pPr marL="0" lvl="0" indent="0" algn="ctr" rtl="0">
              <a:lnSpc>
                <a:spcPct val="100000"/>
              </a:lnSpc>
              <a:spcBef>
                <a:spcPts val="0"/>
              </a:spcBef>
              <a:spcAft>
                <a:spcPts val="0"/>
              </a:spcAft>
              <a:buSzPts val="2800"/>
              <a:buNone/>
            </a:pPr>
            <a:r>
              <a:rPr lang="en" sz="3600" b="1">
                <a:solidFill>
                  <a:srgbClr val="0B5394"/>
                </a:solidFill>
              </a:rPr>
              <a:t>U</a:t>
            </a:r>
            <a:r>
              <a:rPr lang="en" sz="3600"/>
              <a:t>-</a:t>
            </a:r>
            <a:r>
              <a:rPr lang="en" sz="3600">
                <a:solidFill>
                  <a:srgbClr val="3D85C6"/>
                </a:solidFill>
              </a:rPr>
              <a:t>Net</a:t>
            </a:r>
            <a:endParaRPr sz="3600">
              <a:solidFill>
                <a:srgbClr val="3D85C6"/>
              </a:solidFill>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11"/>
        <p:cNvGrpSpPr/>
        <p:nvPr/>
      </p:nvGrpSpPr>
      <p:grpSpPr>
        <a:xfrm>
          <a:off x="0" y="0"/>
          <a:ext cx="0" cy="0"/>
          <a:chOff x="0" y="0"/>
          <a:chExt cx="0" cy="0"/>
        </a:xfrm>
      </p:grpSpPr>
      <p:sp>
        <p:nvSpPr>
          <p:cNvPr id="112" name="Google Shape;112;p9"/>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2800"/>
              <a:buNone/>
            </a:pPr>
            <a:r>
              <a:rPr lang="en"/>
              <a:t>U-Net</a:t>
            </a:r>
            <a:endParaRPr/>
          </a:p>
        </p:txBody>
      </p:sp>
      <p:sp>
        <p:nvSpPr>
          <p:cNvPr id="113" name="Google Shape;113;p9"/>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p>
            <a:pPr marL="5029200" lvl="0" indent="457200" algn="l" rtl="0">
              <a:lnSpc>
                <a:spcPct val="100000"/>
              </a:lnSpc>
              <a:spcBef>
                <a:spcPts val="0"/>
              </a:spcBef>
              <a:spcAft>
                <a:spcPts val="0"/>
              </a:spcAft>
              <a:buSzPts val="1800"/>
              <a:buNone/>
            </a:pPr>
            <a:r>
              <a:rPr lang="en" sz="1200"/>
              <a:t>						</a:t>
            </a:r>
            <a:r>
              <a:rPr lang="en" sz="1200">
                <a:solidFill>
                  <a:schemeClr val="dk1"/>
                </a:solidFill>
                <a:highlight>
                  <a:srgbClr val="FFFFFF"/>
                </a:highlight>
              </a:rPr>
              <a:t>The architecture contains two paths.</a:t>
            </a:r>
            <a:endParaRPr sz="1200">
              <a:solidFill>
                <a:schemeClr val="dk1"/>
              </a:solidFill>
              <a:highlight>
                <a:srgbClr val="FFFFFF"/>
              </a:highlight>
            </a:endParaRPr>
          </a:p>
          <a:p>
            <a:pPr marL="5029200" lvl="0" indent="457200" algn="l" rtl="0">
              <a:lnSpc>
                <a:spcPct val="100000"/>
              </a:lnSpc>
              <a:spcBef>
                <a:spcPts val="0"/>
              </a:spcBef>
              <a:spcAft>
                <a:spcPts val="0"/>
              </a:spcAft>
              <a:buSzPts val="1800"/>
              <a:buNone/>
            </a:pPr>
            <a:endParaRPr sz="1200">
              <a:solidFill>
                <a:schemeClr val="dk1"/>
              </a:solidFill>
              <a:highlight>
                <a:srgbClr val="FFFFFF"/>
              </a:highlight>
            </a:endParaRPr>
          </a:p>
          <a:p>
            <a:pPr marL="5029200" lvl="0" indent="0" algn="l" rtl="0">
              <a:lnSpc>
                <a:spcPct val="100000"/>
              </a:lnSpc>
              <a:spcBef>
                <a:spcPts val="0"/>
              </a:spcBef>
              <a:spcAft>
                <a:spcPts val="0"/>
              </a:spcAft>
              <a:buSzPts val="1800"/>
              <a:buNone/>
            </a:pPr>
            <a:r>
              <a:rPr lang="en" sz="1200">
                <a:solidFill>
                  <a:schemeClr val="dk1"/>
                </a:solidFill>
                <a:highlight>
                  <a:srgbClr val="FFFFFF"/>
                </a:highlight>
              </a:rPr>
              <a:t>First path is the contraction path (also called as the encoder) which is used to capture the context in the image. </a:t>
            </a:r>
            <a:endParaRPr sz="1200">
              <a:solidFill>
                <a:schemeClr val="dk1"/>
              </a:solidFill>
              <a:highlight>
                <a:srgbClr val="FFFFFF"/>
              </a:highlight>
            </a:endParaRPr>
          </a:p>
          <a:p>
            <a:pPr marL="5029200" lvl="0" indent="0" algn="l" rtl="0">
              <a:lnSpc>
                <a:spcPct val="100000"/>
              </a:lnSpc>
              <a:spcBef>
                <a:spcPts val="0"/>
              </a:spcBef>
              <a:spcAft>
                <a:spcPts val="0"/>
              </a:spcAft>
              <a:buSzPts val="1800"/>
              <a:buNone/>
            </a:pPr>
            <a:endParaRPr sz="1200">
              <a:solidFill>
                <a:schemeClr val="dk1"/>
              </a:solidFill>
              <a:highlight>
                <a:srgbClr val="FFFFFF"/>
              </a:highlight>
            </a:endParaRPr>
          </a:p>
          <a:p>
            <a:pPr marL="5029200" lvl="0" indent="0" algn="l" rtl="0">
              <a:lnSpc>
                <a:spcPct val="100000"/>
              </a:lnSpc>
              <a:spcBef>
                <a:spcPts val="0"/>
              </a:spcBef>
              <a:spcAft>
                <a:spcPts val="0"/>
              </a:spcAft>
              <a:buSzPts val="1800"/>
              <a:buNone/>
            </a:pPr>
            <a:r>
              <a:rPr lang="en" sz="1200">
                <a:solidFill>
                  <a:schemeClr val="dk1"/>
                </a:solidFill>
                <a:highlight>
                  <a:srgbClr val="FFFFFF"/>
                </a:highlight>
              </a:rPr>
              <a:t>The encoder is just a traditional stack of convolutional and max pooling layers. </a:t>
            </a:r>
            <a:endParaRPr sz="1200">
              <a:solidFill>
                <a:schemeClr val="dk1"/>
              </a:solidFill>
              <a:highlight>
                <a:srgbClr val="FFFFFF"/>
              </a:highlight>
            </a:endParaRPr>
          </a:p>
          <a:p>
            <a:pPr marL="5029200" lvl="0" indent="0" algn="l" rtl="0">
              <a:lnSpc>
                <a:spcPct val="100000"/>
              </a:lnSpc>
              <a:spcBef>
                <a:spcPts val="0"/>
              </a:spcBef>
              <a:spcAft>
                <a:spcPts val="0"/>
              </a:spcAft>
              <a:buSzPts val="1800"/>
              <a:buNone/>
            </a:pPr>
            <a:endParaRPr sz="1200">
              <a:solidFill>
                <a:schemeClr val="dk1"/>
              </a:solidFill>
              <a:highlight>
                <a:srgbClr val="FFFFFF"/>
              </a:highlight>
            </a:endParaRPr>
          </a:p>
          <a:p>
            <a:pPr marL="5029200" lvl="0" indent="0" algn="l" rtl="0">
              <a:lnSpc>
                <a:spcPct val="100000"/>
              </a:lnSpc>
              <a:spcBef>
                <a:spcPts val="0"/>
              </a:spcBef>
              <a:spcAft>
                <a:spcPts val="0"/>
              </a:spcAft>
              <a:buSzPts val="1800"/>
              <a:buNone/>
            </a:pPr>
            <a:r>
              <a:rPr lang="en" sz="1200">
                <a:solidFill>
                  <a:schemeClr val="dk1"/>
                </a:solidFill>
                <a:highlight>
                  <a:srgbClr val="FFFFFF"/>
                </a:highlight>
              </a:rPr>
              <a:t>The second path is the symmetric expanding path (also called as the decoder) which is used to enable precise localization using transposed convolutions. </a:t>
            </a:r>
            <a:endParaRPr sz="1200">
              <a:solidFill>
                <a:schemeClr val="dk1"/>
              </a:solidFill>
              <a:highlight>
                <a:srgbClr val="FFFFFF"/>
              </a:highlight>
            </a:endParaRPr>
          </a:p>
          <a:p>
            <a:pPr marL="5029200" lvl="0" indent="0" algn="l" rtl="0">
              <a:lnSpc>
                <a:spcPct val="100000"/>
              </a:lnSpc>
              <a:spcBef>
                <a:spcPts val="0"/>
              </a:spcBef>
              <a:spcAft>
                <a:spcPts val="0"/>
              </a:spcAft>
              <a:buSzPts val="1800"/>
              <a:buNone/>
            </a:pPr>
            <a:endParaRPr sz="1200">
              <a:solidFill>
                <a:schemeClr val="dk1"/>
              </a:solidFill>
              <a:highlight>
                <a:srgbClr val="FFFFFF"/>
              </a:highlight>
            </a:endParaRPr>
          </a:p>
          <a:p>
            <a:pPr marL="5029200" lvl="0" indent="0" algn="l" rtl="0">
              <a:lnSpc>
                <a:spcPct val="100000"/>
              </a:lnSpc>
              <a:spcBef>
                <a:spcPts val="0"/>
              </a:spcBef>
              <a:spcAft>
                <a:spcPts val="0"/>
              </a:spcAft>
              <a:buSzPts val="1800"/>
              <a:buNone/>
            </a:pPr>
            <a:r>
              <a:rPr lang="en" sz="1200">
                <a:solidFill>
                  <a:schemeClr val="dk1"/>
                </a:solidFill>
                <a:highlight>
                  <a:srgbClr val="FFFFFF"/>
                </a:highlight>
              </a:rPr>
              <a:t>Thus it is an end-to-end fully convolutional network (FCN), i.e. it only contains Convolutional layers and does not contain any Dense layer because of which it can accept image of any size.</a:t>
            </a:r>
            <a:endParaRPr sz="1200"/>
          </a:p>
        </p:txBody>
      </p:sp>
      <p:pic>
        <p:nvPicPr>
          <p:cNvPr id="114" name="Google Shape;114;p9"/>
          <p:cNvPicPr preferRelativeResize="0"/>
          <p:nvPr/>
        </p:nvPicPr>
        <p:blipFill rotWithShape="1">
          <a:blip r:embed="rId3">
            <a:alphaModFix/>
          </a:blip>
          <a:srcRect/>
          <a:stretch/>
        </p:blipFill>
        <p:spPr>
          <a:xfrm>
            <a:off x="311700" y="1152475"/>
            <a:ext cx="4748500" cy="3774126"/>
          </a:xfrm>
          <a:prstGeom prst="rect">
            <a:avLst/>
          </a:prstGeom>
          <a:noFill/>
          <a:ln>
            <a:noFill/>
          </a:ln>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Just Logo">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70</TotalTime>
  <Words>594</Words>
  <Application>Microsoft Macintosh PowerPoint</Application>
  <PresentationFormat>On-screen Show (16:9)</PresentationFormat>
  <Paragraphs>91</Paragraphs>
  <Slides>26</Slides>
  <Notes>2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3" baseType="lpstr">
      <vt:lpstr>Helvetica Neue Light</vt:lpstr>
      <vt:lpstr>Arial</vt:lpstr>
      <vt:lpstr>Georgia</vt:lpstr>
      <vt:lpstr>Helvetica Neue</vt:lpstr>
      <vt:lpstr>Montserrat</vt:lpstr>
      <vt:lpstr>Just Logo</vt:lpstr>
      <vt:lpstr>think-cell Slide</vt:lpstr>
      <vt:lpstr>Week 5</vt:lpstr>
      <vt:lpstr>What we have learnt in this week’s videos?</vt:lpstr>
      <vt:lpstr>Session Agenda</vt:lpstr>
      <vt:lpstr>Semantic Segmentation</vt:lpstr>
      <vt:lpstr>Example</vt:lpstr>
      <vt:lpstr>Instance Segmentation</vt:lpstr>
      <vt:lpstr>Atrous/Dilated Convolutions</vt:lpstr>
      <vt:lpstr>U-Net</vt:lpstr>
      <vt:lpstr>U-Net</vt:lpstr>
      <vt:lpstr>MobileNet</vt:lpstr>
      <vt:lpstr>Standard Convolutions</vt:lpstr>
      <vt:lpstr>Depthwise</vt:lpstr>
      <vt:lpstr>Pointwise</vt:lpstr>
      <vt:lpstr>Step 1</vt:lpstr>
      <vt:lpstr>Step 2</vt:lpstr>
      <vt:lpstr>Comparison</vt:lpstr>
      <vt:lpstr>PowerPoint Presentation</vt:lpstr>
      <vt:lpstr>Mobilenet Architecture</vt:lpstr>
      <vt:lpstr>PowerPoint Presentation</vt:lpstr>
      <vt:lpstr>Faster RCNN</vt:lpstr>
      <vt:lpstr>Region Proposal Network (RPN) </vt:lpstr>
      <vt:lpstr>Faster RCNN</vt:lpstr>
      <vt:lpstr>PowerPoint Presentation</vt:lpstr>
      <vt:lpstr>Summary</vt:lpstr>
      <vt:lpstr>Summary</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ek 5</dc:title>
  <dc:creator>Durgesh</dc:creator>
  <cp:lastModifiedBy>Aniket Chhabra</cp:lastModifiedBy>
  <cp:revision>3</cp:revision>
  <dcterms:modified xsi:type="dcterms:W3CDTF">2023-02-12T06:04:16Z</dcterms:modified>
</cp:coreProperties>
</file>